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4.xml" ContentType="application/vnd.openxmlformats-officedocument.presentationml.slide+xml"/>
  <Override PartName="/ppt/presentation.xml" ContentType="application/vnd.openxmlformats-officedocument.presentationml.presentation.main+xml"/>
  <Override PartName="/ppt/slides/slide32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31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0.xml" ContentType="application/vnd.openxmlformats-officedocument.presentationml.notesSlid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21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16.xml" ContentType="application/vnd.openxmlformats-officedocument.theme+xml"/>
  <Override PartName="/ppt/theme/theme4.xml" ContentType="application/vnd.openxmlformats-officedocument.theme+xml"/>
  <Override PartName="/ppt/theme/theme17.xml" ContentType="application/vnd.openxmlformats-officedocument.theme+xml"/>
  <Override PartName="/ppt/theme/theme14.xml" ContentType="application/vnd.openxmlformats-officedocument.theme+xml"/>
  <Override PartName="/ppt/theme/theme3.xml" ContentType="application/vnd.openxmlformats-officedocument.theme+xml"/>
  <Override PartName="/ppt/theme/theme15.xml" ContentType="application/vnd.openxmlformats-officedocument.theme+xml"/>
  <Override PartName="/ppt/theme/theme5.xml" ContentType="application/vnd.openxmlformats-officedocument.theme+xml"/>
  <Override PartName="/ppt/theme/theme10.xml" ContentType="application/vnd.openxmlformats-officedocument.theme+xml"/>
  <Override PartName="/ppt/theme/theme7.xml" ContentType="application/vnd.openxmlformats-officedocument.theme+xml"/>
  <Override PartName="/ppt/theme/theme11.xml" ContentType="application/vnd.openxmlformats-officedocument.theme+xml"/>
  <Override PartName="/ppt/theme/theme8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9.xml" ContentType="application/vnd.openxmlformats-officedocument.theme+xml"/>
  <Override PartName="/ppt/theme/theme2.xml" ContentType="application/vnd.openxmlformats-officedocument.theme+xml"/>
  <Override PartName="/ppt/theme/theme13.xml" ContentType="application/vnd.openxmlformats-officedocument.theme+xml"/>
  <Override PartName="/ppt/theme/theme1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531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6.xml" ContentType="application/vnd.openxmlformats-officedocument.presentationml.tags+xml"/>
  <Override PartName="/ppt/tags/tag508.xml" ContentType="application/vnd.openxmlformats-officedocument.presentationml.tags+xml"/>
  <Override PartName="/ppt/tags/tag514.xml" ContentType="application/vnd.openxmlformats-officedocument.presentationml.tags+xml"/>
  <Override PartName="/ppt/tags/tag485.xml" ContentType="application/vnd.openxmlformats-officedocument.presentationml.tags+xml"/>
  <Override PartName="/ppt/tags/tag505.xml" ContentType="application/vnd.openxmlformats-officedocument.presentationml.tags+xml"/>
  <Override PartName="/ppt/tags/tag527.xml" ContentType="application/vnd.openxmlformats-officedocument.presentationml.tags+xml"/>
  <Override PartName="/ppt/tags/tag124.xml" ContentType="application/vnd.openxmlformats-officedocument.presentationml.tags+xml"/>
  <Override PartName="/ppt/tags/tag474.xml" ContentType="application/vnd.openxmlformats-officedocument.presentationml.tags+xml"/>
  <Override PartName="/ppt/tags/tag510.xml" ContentType="application/vnd.openxmlformats-officedocument.presentationml.tags+xml"/>
  <Override PartName="/ppt/tags/tag528.xml" ContentType="application/vnd.openxmlformats-officedocument.presentationml.tags+xml"/>
  <Override PartName="/ppt/tags/tag512.xml" ContentType="application/vnd.openxmlformats-officedocument.presentationml.tags+xml"/>
  <Override PartName="/ppt/tags/tag511.xml" ContentType="application/vnd.openxmlformats-officedocument.presentationml.tags+xml"/>
  <Override PartName="/ppt/tags/tag491.xml" ContentType="application/vnd.openxmlformats-officedocument.presentationml.tags+xml"/>
  <Override PartName="/ppt/tags/tag534.xml" ContentType="application/vnd.openxmlformats-officedocument.presentationml.tags+xml"/>
  <Override PartName="/ppt/tags/tag490.xml" ContentType="application/vnd.openxmlformats-officedocument.presentationml.tags+xml"/>
  <Override PartName="/ppt/tags/tag535.xml" ContentType="application/vnd.openxmlformats-officedocument.presentationml.tags+xml"/>
  <Override PartName="/ppt/tags/tag507.xml" ContentType="application/vnd.openxmlformats-officedocument.presentationml.tags+xml"/>
  <Override PartName="/ppt/tags/tag91.xml" ContentType="application/vnd.openxmlformats-officedocument.presentationml.tags+xml"/>
  <Override PartName="/ppt/tags/tag513.xml" ContentType="application/vnd.openxmlformats-officedocument.presentationml.tags+xml"/>
  <Override PartName="/ppt/tags/tag506.xml" ContentType="application/vnd.openxmlformats-officedocument.presentationml.tags+xml"/>
  <Override PartName="/ppt/tags/tag509.xml" ContentType="application/vnd.openxmlformats-officedocument.presentationml.tags+xml"/>
  <Override PartName="/ppt/tags/tag473.xml" ContentType="application/vnd.openxmlformats-officedocument.presentationml.tags+xml"/>
  <Override PartName="/ppt/tags/tag533.xml" ContentType="application/vnd.openxmlformats-officedocument.presentationml.tags+xml"/>
  <Override PartName="/ppt/tags/tag88.xml" ContentType="application/vnd.openxmlformats-officedocument.presentationml.tags+xml"/>
  <Override PartName="/ppt/tags/tag532.xml" ContentType="application/vnd.openxmlformats-officedocument.presentationml.tags+xml"/>
  <Override PartName="/ppt/tags/tag526.xml" ContentType="application/vnd.openxmlformats-officedocument.presentationml.tags+xml"/>
  <Override PartName="/ppt/tags/tag89.xml" ContentType="application/vnd.openxmlformats-officedocument.presentationml.tags+xml"/>
  <Override PartName="/ppt/tags/tag93.xml" ContentType="application/vnd.openxmlformats-officedocument.presentationml.tags+xml"/>
  <Override PartName="/ppt/tags/tag92.xml" ContentType="application/vnd.openxmlformats-officedocument.presentationml.tags+xml"/>
  <Override PartName="/ppt/tags/tag482.xml" ContentType="application/vnd.openxmlformats-officedocument.presentationml.tags+xml"/>
  <Override PartName="/ppt/tags/tag487.xml" ContentType="application/vnd.openxmlformats-officedocument.presentationml.tags+xml"/>
  <Override PartName="/ppt/tags/tag481.xml" ContentType="application/vnd.openxmlformats-officedocument.presentationml.tags+xml"/>
  <Override PartName="/ppt/tags/tag498.xml" ContentType="application/vnd.openxmlformats-officedocument.presentationml.tags+xml"/>
  <Override PartName="/ppt/tags/tag480.xml" ContentType="application/vnd.openxmlformats-officedocument.presentationml.tags+xml"/>
  <Override PartName="/ppt/tags/tag518.xml" ContentType="application/vnd.openxmlformats-officedocument.presentationml.tags+xml"/>
  <Override PartName="/ppt/tags/tag486.xml" ContentType="application/vnd.openxmlformats-officedocument.presentationml.tags+xml"/>
  <Override PartName="/ppt/tags/tag504.xml" ContentType="application/vnd.openxmlformats-officedocument.presentationml.tags+xml"/>
  <Override PartName="/ppt/tags/tag516.xml" ContentType="application/vnd.openxmlformats-officedocument.presentationml.tags+xml"/>
  <Override PartName="/ppt/tags/tag90.xml" ContentType="application/vnd.openxmlformats-officedocument.presentationml.tags+xml"/>
  <Override PartName="/ppt/tags/tag517.xml" ContentType="application/vnd.openxmlformats-officedocument.presentationml.tags+xml"/>
  <Override PartName="/ppt/tags/tag484.xml" ContentType="application/vnd.openxmlformats-officedocument.presentationml.tags+xml"/>
  <Override PartName="/ppt/tags/tag502.xml" ContentType="application/vnd.openxmlformats-officedocument.presentationml.tags+xml"/>
  <Override PartName="/ppt/tags/tag501.xml" ContentType="application/vnd.openxmlformats-officedocument.presentationml.tags+xml"/>
  <Override PartName="/ppt/tags/tag500.xml" ContentType="application/vnd.openxmlformats-officedocument.presentationml.tags+xml"/>
  <Override PartName="/ppt/tags/tag499.xml" ContentType="application/vnd.openxmlformats-officedocument.presentationml.tags+xml"/>
  <Override PartName="/ppt/tags/tag483.xml" ContentType="application/vnd.openxmlformats-officedocument.presentationml.tags+xml"/>
  <Override PartName="/ppt/tags/tag488.xml" ContentType="application/vnd.openxmlformats-officedocument.presentationml.tags+xml"/>
  <Override PartName="/ppt/tags/tag479.xml" ContentType="application/vnd.openxmlformats-officedocument.presentationml.tags+xml"/>
  <Override PartName="/ppt/tags/tag515.xml" ContentType="application/vnd.openxmlformats-officedocument.presentationml.tags+xml"/>
  <Override PartName="/ppt/tags/tag523.xml" ContentType="application/vnd.openxmlformats-officedocument.presentationml.tags+xml"/>
  <Override PartName="/ppt/tags/tag475.xml" ContentType="application/vnd.openxmlformats-officedocument.presentationml.tags+xml"/>
  <Override PartName="/ppt/tags/tag495.xml" ContentType="application/vnd.openxmlformats-officedocument.presentationml.tags+xml"/>
  <Override PartName="/ppt/tags/tag494.xml" ContentType="application/vnd.openxmlformats-officedocument.presentationml.tags+xml"/>
  <Override PartName="/ppt/tags/tag49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03.xml" ContentType="application/vnd.openxmlformats-officedocument.presentationml.tags+xml"/>
  <Override PartName="/ppt/tags/tag522.xml" ContentType="application/vnd.openxmlformats-officedocument.presentationml.tags+xml"/>
  <Override PartName="/ppt/tags/tag521.xml" ContentType="application/vnd.openxmlformats-officedocument.presentationml.tags+xml"/>
  <Override PartName="/ppt/tags/tag476.xml" ContentType="application/vnd.openxmlformats-officedocument.presentationml.tags+xml"/>
  <Override PartName="/ppt/tags/tag478.xml" ContentType="application/vnd.openxmlformats-officedocument.presentationml.tags+xml"/>
  <Override PartName="/ppt/tags/tag519.xml" ContentType="application/vnd.openxmlformats-officedocument.presentationml.tags+xml"/>
  <Override PartName="/ppt/tags/tag497.xml" ContentType="application/vnd.openxmlformats-officedocument.presentationml.tags+xml"/>
  <Override PartName="/ppt/tags/tag520.xml" ContentType="application/vnd.openxmlformats-officedocument.presentationml.tags+xml"/>
  <Override PartName="/ppt/tags/tag477.xml" ContentType="application/vnd.openxmlformats-officedocument.presentationml.tags+xml"/>
  <Override PartName="/ppt/tags/tag489.xml" ContentType="application/vnd.openxmlformats-officedocument.presentationml.tags+xml"/>
  <Override PartName="/ppt/tags/tag496.xml" ContentType="application/vnd.openxmlformats-officedocument.presentationml.tags+xml"/>
  <Override PartName="/ppt/tags/tag492.xml" ContentType="application/vnd.openxmlformats-officedocument.presentationml.tags+xml"/>
  <Override PartName="/ppt/tags/tag64.xml" ContentType="application/vnd.openxmlformats-officedocument.presentationml.tags+xml"/>
  <Override PartName="/ppt/tags/tag538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472.xml" ContentType="application/vnd.openxmlformats-officedocument.presentationml.tags+xml"/>
  <Override PartName="/ppt/tags/tag557.xml" ContentType="application/vnd.openxmlformats-officedocument.presentationml.tags+xml"/>
  <Override PartName="/ppt/tags/tag556.xml" ContentType="application/vnd.openxmlformats-officedocument.presentationml.tags+xml"/>
  <Override PartName="/ppt/tags/tag555.xml" ContentType="application/vnd.openxmlformats-officedocument.presentationml.tags+xml"/>
  <Override PartName="/ppt/tags/tag554.xml" ContentType="application/vnd.openxmlformats-officedocument.presentationml.tags+xml"/>
  <Override PartName="/ppt/tags/tag553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85.xml" ContentType="application/vnd.openxmlformats-officedocument.presentationml.tags+xml"/>
  <Override PartName="/ppt/tags/tag564.xml" ContentType="application/vnd.openxmlformats-officedocument.presentationml.tags+xml"/>
  <Override PartName="/ppt/tags/tag563.xml" ContentType="application/vnd.openxmlformats-officedocument.presentationml.tags+xml"/>
  <Override PartName="/ppt/tags/tag562.xml" ContentType="application/vnd.openxmlformats-officedocument.presentationml.tags+xml"/>
  <Override PartName="/ppt/tags/tag561.xml" ContentType="application/vnd.openxmlformats-officedocument.presentationml.tags+xml"/>
  <Override PartName="/ppt/tags/tag560.xml" ContentType="application/vnd.openxmlformats-officedocument.presentationml.tags+xml"/>
  <Override PartName="/ppt/tags/tag552.xml" ContentType="application/vnd.openxmlformats-officedocument.presentationml.tags+xml"/>
  <Override PartName="/ppt/tags/tag86.xml" ContentType="application/vnd.openxmlformats-officedocument.presentationml.tags+xml"/>
  <Override PartName="/ppt/tags/tag551.xml" ContentType="application/vnd.openxmlformats-officedocument.presentationml.tags+xml"/>
  <Override PartName="/ppt/tags/tag543.xml" ContentType="application/vnd.openxmlformats-officedocument.presentationml.tags+xml"/>
  <Override PartName="/ppt/tags/tag542.xml" ContentType="application/vnd.openxmlformats-officedocument.presentationml.tags+xml"/>
  <Override PartName="/ppt/tags/tag541.xml" ContentType="application/vnd.openxmlformats-officedocument.presentationml.tags+xml"/>
  <Override PartName="/ppt/tags/tag540.xml" ContentType="application/vnd.openxmlformats-officedocument.presentationml.tags+xml"/>
  <Override PartName="/ppt/tags/tag539.xml" ContentType="application/vnd.openxmlformats-officedocument.presentationml.tags+xml"/>
  <Override PartName="/ppt/tags/tag87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50.xml" ContentType="application/vnd.openxmlformats-officedocument.presentationml.tags+xml"/>
  <Override PartName="/ppt/tags/tag549.xml" ContentType="application/vnd.openxmlformats-officedocument.presentationml.tags+xml"/>
  <Override PartName="/ppt/tags/tag548.xml" ContentType="application/vnd.openxmlformats-officedocument.presentationml.tags+xml"/>
  <Override PartName="/ppt/tags/tag547.xml" ContentType="application/vnd.openxmlformats-officedocument.presentationml.tags+xml"/>
  <Override PartName="/ppt/tags/tag546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78.xml" ContentType="application/vnd.openxmlformats-officedocument.presentationml.tags+xml"/>
  <Override PartName="/ppt/tags/tag570.xml" ContentType="application/vnd.openxmlformats-officedocument.presentationml.tags+xml"/>
  <Override PartName="/ppt/tags/tag83.xml" ContentType="application/vnd.openxmlformats-officedocument.presentationml.tags+xml"/>
  <Override PartName="/ppt/tags/tag569.xml" ContentType="application/vnd.openxmlformats-officedocument.presentationml.tags+xml"/>
  <Override PartName="/ppt/tags/tag568.xml" ContentType="application/vnd.openxmlformats-officedocument.presentationml.tags+xml"/>
  <Override PartName="/ppt/tags/tag84.xml" ContentType="application/vnd.openxmlformats-officedocument.presentationml.tags+xml"/>
  <Override PartName="/ppt/tags/tag82.xml" ContentType="application/vnd.openxmlformats-officedocument.presentationml.tags+xml"/>
  <Override PartName="/ppt/tags/tag571.xml" ContentType="application/vnd.openxmlformats-officedocument.presentationml.tags+xml"/>
  <Override PartName="/ppt/tags/tag81.xml" ContentType="application/vnd.openxmlformats-officedocument.presentationml.tags+xml"/>
  <Override PartName="/ppt/tags/tag574.xml" ContentType="application/vnd.openxmlformats-officedocument.presentationml.tags+xml"/>
  <Override PartName="/ppt/tags/tag79.xml" ContentType="application/vnd.openxmlformats-officedocument.presentationml.tags+xml"/>
  <Override PartName="/ppt/tags/tag573.xml" ContentType="application/vnd.openxmlformats-officedocument.presentationml.tags+xml"/>
  <Override PartName="/ppt/tags/tag80.xml" ContentType="application/vnd.openxmlformats-officedocument.presentationml.tags+xml"/>
  <Override PartName="/ppt/tags/tag572.xml" ContentType="application/vnd.openxmlformats-officedocument.presentationml.tags+xml"/>
  <Override PartName="/ppt/tags/tag537.xml" ContentType="application/vnd.openxmlformats-officedocument.presentationml.tags+xml"/>
  <Override PartName="/ppt/tags/tag428.xml" ContentType="application/vnd.openxmlformats-officedocument.presentationml.tags+xml"/>
  <Override PartName="/ppt/tags/tag470.xml" ContentType="application/vnd.openxmlformats-officedocument.presentationml.tags+xml"/>
  <Override PartName="/ppt/tags/tag241.xml" ContentType="application/vnd.openxmlformats-officedocument.presentationml.tags+xml"/>
  <Override PartName="/ppt/tags/tag240.xml" ContentType="application/vnd.openxmlformats-officedocument.presentationml.tags+xml"/>
  <Override PartName="/ppt/tags/tag239.xml" ContentType="application/vnd.openxmlformats-officedocument.presentationml.tags+xml"/>
  <Override PartName="/ppt/tags/tag238.xml" ContentType="application/vnd.openxmlformats-officedocument.presentationml.tags+xml"/>
  <Override PartName="/ppt/tags/tag237.xml" ContentType="application/vnd.openxmlformats-officedocument.presentationml.tags+xml"/>
  <Override PartName="/ppt/tags/tag236.xml" ContentType="application/vnd.openxmlformats-officedocument.presentationml.tags+xml"/>
  <Override PartName="/ppt/tags/tag235.xml" ContentType="application/vnd.openxmlformats-officedocument.presentationml.tags+xml"/>
  <Override PartName="/ppt/tags/tag234.xml" ContentType="application/vnd.openxmlformats-officedocument.presentationml.tags+xml"/>
  <Override PartName="/ppt/tags/tag233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50.xml" ContentType="application/vnd.openxmlformats-officedocument.presentationml.tags+xml"/>
  <Override PartName="/ppt/tags/tag249.xml" ContentType="application/vnd.openxmlformats-officedocument.presentationml.tags+xml"/>
  <Override PartName="/ppt/tags/tag248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247.xml" ContentType="application/vnd.openxmlformats-officedocument.presentationml.tags+xml"/>
  <Override PartName="/ppt/tags/tag246.xml" ContentType="application/vnd.openxmlformats-officedocument.presentationml.tags+xml"/>
  <Override PartName="/ppt/tags/tag245.xml" ContentType="application/vnd.openxmlformats-officedocument.presentationml.tags+xml"/>
  <Override PartName="/ppt/tags/tag232.xml" ContentType="application/vnd.openxmlformats-officedocument.presentationml.tags+xml"/>
  <Override PartName="/ppt/tags/tag231.xml" ContentType="application/vnd.openxmlformats-officedocument.presentationml.tags+xml"/>
  <Override PartName="/ppt/tags/tag230.xml" ContentType="application/vnd.openxmlformats-officedocument.presentationml.tags+xml"/>
  <Override PartName="/ppt/tags/tag218.xml" ContentType="application/vnd.openxmlformats-officedocument.presentationml.tags+xml"/>
  <Override PartName="/ppt/tags/tag217.xml" ContentType="application/vnd.openxmlformats-officedocument.presentationml.tags+xml"/>
  <Override PartName="/ppt/tags/tag216.xml" ContentType="application/vnd.openxmlformats-officedocument.presentationml.tags+xml"/>
  <Override PartName="/ppt/tags/tag215.xml" ContentType="application/vnd.openxmlformats-officedocument.presentationml.tags+xml"/>
  <Override PartName="/ppt/tags/tag214.xml" ContentType="application/vnd.openxmlformats-officedocument.presentationml.tags+xml"/>
  <Override PartName="/ppt/tags/tag213.xml" ContentType="application/vnd.openxmlformats-officedocument.presentationml.tags+xml"/>
  <Override PartName="/ppt/tags/tag212.xml" ContentType="application/vnd.openxmlformats-officedocument.presentationml.tags+xml"/>
  <Override PartName="/ppt/tags/tag211.xml" ContentType="application/vnd.openxmlformats-officedocument.presentationml.tags+xml"/>
  <Override PartName="/ppt/tags/tag210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9.xml" ContentType="application/vnd.openxmlformats-officedocument.presentationml.tags+xml"/>
  <Override PartName="/ppt/tags/tag113.xml" ContentType="application/vnd.openxmlformats-officedocument.presentationml.tags+xml"/>
  <Override PartName="/ppt/tags/tag228.xml" ContentType="application/vnd.openxmlformats-officedocument.presentationml.tags+xml"/>
  <Override PartName="/ppt/tags/tag227.xml" ContentType="application/vnd.openxmlformats-officedocument.presentationml.tags+xml"/>
  <Override PartName="/ppt/tags/tag226.xml" ContentType="application/vnd.openxmlformats-officedocument.presentationml.tags+xml"/>
  <Override PartName="/ppt/tags/tag225.xml" ContentType="application/vnd.openxmlformats-officedocument.presentationml.tags+xml"/>
  <Override PartName="/ppt/tags/tag224.xml" ContentType="application/vnd.openxmlformats-officedocument.presentationml.tags+xml"/>
  <Override PartName="/ppt/tags/tag223.xml" ContentType="application/vnd.openxmlformats-officedocument.presentationml.tags+xml"/>
  <Override PartName="/ppt/tags/tag222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83.xml" ContentType="application/vnd.openxmlformats-officedocument.presentationml.tags+xml"/>
  <Override PartName="/ppt/tags/tag282.xml" ContentType="application/vnd.openxmlformats-officedocument.presentationml.tags+xml"/>
  <Override PartName="/ppt/tags/tag281.xml" ContentType="application/vnd.openxmlformats-officedocument.presentationml.tags+xml"/>
  <Override PartName="/ppt/tags/tag280.xml" ContentType="application/vnd.openxmlformats-officedocument.presentationml.tags+xml"/>
  <Override PartName="/ppt/tags/tag279.xml" ContentType="application/vnd.openxmlformats-officedocument.presentationml.tags+xml"/>
  <Override PartName="/ppt/tags/tag278.xml" ContentType="application/vnd.openxmlformats-officedocument.presentationml.tags+xml"/>
  <Override PartName="/ppt/tags/tag277.xml" ContentType="application/vnd.openxmlformats-officedocument.presentationml.tags+xml"/>
  <Override PartName="/ppt/tags/tag276.xml" ContentType="application/vnd.openxmlformats-officedocument.presentationml.tags+xml"/>
  <Override PartName="/ppt/tags/tag275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93.xml" ContentType="application/vnd.openxmlformats-officedocument.presentationml.tags+xml"/>
  <Override PartName="/ppt/tags/tag292.xml" ContentType="application/vnd.openxmlformats-officedocument.presentationml.tags+xml"/>
  <Override PartName="/ppt/tags/tag291.xml" ContentType="application/vnd.openxmlformats-officedocument.presentationml.tags+xml"/>
  <Override PartName="/ppt/tags/tag290.xml" ContentType="application/vnd.openxmlformats-officedocument.presentationml.tags+xml"/>
  <Override PartName="/ppt/tags/tag106.xml" ContentType="application/vnd.openxmlformats-officedocument.presentationml.tags+xml"/>
  <Override PartName="/ppt/tags/tag289.xml" ContentType="application/vnd.openxmlformats-officedocument.presentationml.tags+xml"/>
  <Override PartName="/ppt/tags/tag107.xml" ContentType="application/vnd.openxmlformats-officedocument.presentationml.tags+xml"/>
  <Override PartName="/ppt/tags/tag288.xml" ContentType="application/vnd.openxmlformats-officedocument.presentationml.tags+xml"/>
  <Override PartName="/ppt/tags/tag287.xml" ContentType="application/vnd.openxmlformats-officedocument.presentationml.tags+xml"/>
  <Override PartName="/ppt/tags/tag274.xml" ContentType="application/vnd.openxmlformats-officedocument.presentationml.tags+xml"/>
  <Override PartName="/ppt/tags/tag273.xml" ContentType="application/vnd.openxmlformats-officedocument.presentationml.tags+xml"/>
  <Override PartName="/ppt/tags/tag272.xml" ContentType="application/vnd.openxmlformats-officedocument.presentationml.tags+xml"/>
  <Override PartName="/ppt/tags/tag262.xml" ContentType="application/vnd.openxmlformats-officedocument.presentationml.tags+xml"/>
  <Override PartName="/ppt/tags/tag261.xml" ContentType="application/vnd.openxmlformats-officedocument.presentationml.tags+xml"/>
  <Override PartName="/ppt/tags/tag260.xml" ContentType="application/vnd.openxmlformats-officedocument.presentationml.tags+xml"/>
  <Override PartName="/ppt/tags/tag259.xml" ContentType="application/vnd.openxmlformats-officedocument.presentationml.tags+xml"/>
  <Override PartName="/ppt/tags/tag258.xml" ContentType="application/vnd.openxmlformats-officedocument.presentationml.tags+xml"/>
  <Override PartName="/ppt/tags/tag257.xml" ContentType="application/vnd.openxmlformats-officedocument.presentationml.tags+xml"/>
  <Override PartName="/ppt/tags/tag256.xml" ContentType="application/vnd.openxmlformats-officedocument.presentationml.tags+xml"/>
  <Override PartName="/ppt/tags/tag255.xml" ContentType="application/vnd.openxmlformats-officedocument.presentationml.tags+xml"/>
  <Override PartName="/ppt/tags/tag254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71.xml" ContentType="application/vnd.openxmlformats-officedocument.presentationml.tags+xml"/>
  <Override PartName="/ppt/tags/tag270.xml" ContentType="application/vnd.openxmlformats-officedocument.presentationml.tags+xml"/>
  <Override PartName="/ppt/tags/tag269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268.xml" ContentType="application/vnd.openxmlformats-officedocument.presentationml.tags+xml"/>
  <Override PartName="/ppt/tags/tag267.xml" ContentType="application/vnd.openxmlformats-officedocument.presentationml.tags+xml"/>
  <Override PartName="/ppt/tags/tag266.xml" ContentType="application/vnd.openxmlformats-officedocument.presentationml.tags+xml"/>
  <Override PartName="/ppt/tags/tag114.xml" ContentType="application/vnd.openxmlformats-officedocument.presentationml.tags+xml"/>
  <Override PartName="/ppt/tags/tag209.xml" ContentType="application/vnd.openxmlformats-officedocument.presentationml.tags+xml"/>
  <Override PartName="/ppt/tags/tag208.xml" ContentType="application/vnd.openxmlformats-officedocument.presentationml.tags+xml"/>
  <Override PartName="/ppt/tags/tag119.xml" ContentType="application/vnd.openxmlformats-officedocument.presentationml.tags+xml"/>
  <Override PartName="/ppt/tags/tag152.xml" ContentType="application/vnd.openxmlformats-officedocument.presentationml.tags+xml"/>
  <Override PartName="/ppt/tags/tag151.xml" ContentType="application/vnd.openxmlformats-officedocument.presentationml.tags+xml"/>
  <Override PartName="/ppt/tags/tag150.xml" ContentType="application/vnd.openxmlformats-officedocument.presentationml.tags+xml"/>
  <Override PartName="/ppt/tags/tag149.xml" ContentType="application/vnd.openxmlformats-officedocument.presentationml.tags+xml"/>
  <Override PartName="/ppt/tags/tag148.xml" ContentType="application/vnd.openxmlformats-officedocument.presentationml.tags+xml"/>
  <Override PartName="/ppt/tags/tag147.xml" ContentType="application/vnd.openxmlformats-officedocument.presentationml.tags+xml"/>
  <Override PartName="/ppt/tags/tag146.xml" ContentType="application/vnd.openxmlformats-officedocument.presentationml.tags+xml"/>
  <Override PartName="/ppt/tags/tag145.xml" ContentType="application/vnd.openxmlformats-officedocument.presentationml.tags+xml"/>
  <Override PartName="/ppt/tags/tag118.xml" ContentType="application/vnd.openxmlformats-officedocument.presentationml.tags+xml"/>
  <Override PartName="/ppt/tags/tag117.xml" ContentType="application/vnd.openxmlformats-officedocument.presentationml.tags+xml"/>
  <Override PartName="/ppt/tags/tag153.xml" ContentType="application/vnd.openxmlformats-officedocument.presentationml.tags+xml"/>
  <Override PartName="/ppt/tags/tag162.xml" ContentType="application/vnd.openxmlformats-officedocument.presentationml.tags+xml"/>
  <Override PartName="/ppt/tags/tag161.xml" ContentType="application/vnd.openxmlformats-officedocument.presentationml.tags+xml"/>
  <Override PartName="/ppt/tags/tag160.xml" ContentType="application/vnd.openxmlformats-officedocument.presentationml.tags+xml"/>
  <Override PartName="/ppt/tags/tag159.xml" ContentType="application/vnd.openxmlformats-officedocument.presentationml.tags+xml"/>
  <Override PartName="/ppt/tags/tag158.xml" ContentType="application/vnd.openxmlformats-officedocument.presentationml.tags+xml"/>
  <Override PartName="/ppt/tags/tag157.xml" ContentType="application/vnd.openxmlformats-officedocument.presentationml.tags+xml"/>
  <Override PartName="/ppt/tags/tag156.xml" ContentType="application/vnd.openxmlformats-officedocument.presentationml.tags+xml"/>
  <Override PartName="/ppt/tags/tag155.xml" ContentType="application/vnd.openxmlformats-officedocument.presentationml.tags+xml"/>
  <Override PartName="/ppt/tags/tag154.xml" ContentType="application/vnd.openxmlformats-officedocument.presentationml.tags+xml"/>
  <Override PartName="/ppt/tags/tag144.xml" ContentType="application/vnd.openxmlformats-officedocument.presentationml.tags+xml"/>
  <Override PartName="/ppt/tags/tag143.xml" ContentType="application/vnd.openxmlformats-officedocument.presentationml.tags+xml"/>
  <Override PartName="/ppt/tags/tag142.xml" ContentType="application/vnd.openxmlformats-officedocument.presentationml.tags+xml"/>
  <Override PartName="/ppt/tags/tag133.xml" ContentType="application/vnd.openxmlformats-officedocument.presentationml.tags+xml"/>
  <Override PartName="/ppt/tags/tag132.xml" ContentType="application/vnd.openxmlformats-officedocument.presentationml.tags+xml"/>
  <Override PartName="/ppt/tags/tag131.xml" ContentType="application/vnd.openxmlformats-officedocument.presentationml.tags+xml"/>
  <Override PartName="/ppt/tags/tag130.xml" ContentType="application/vnd.openxmlformats-officedocument.presentationml.tags+xml"/>
  <Override PartName="/ppt/tags/tag129.xml" ContentType="application/vnd.openxmlformats-officedocument.presentationml.tags+xml"/>
  <Override PartName="/ppt/tags/tag128.xml" ContentType="application/vnd.openxmlformats-officedocument.presentationml.tags+xml"/>
  <Override PartName="/ppt/tags/tag127.xml" ContentType="application/vnd.openxmlformats-officedocument.presentationml.tags+xml"/>
  <Override PartName="/ppt/tags/tag126.xml" ContentType="application/vnd.openxmlformats-officedocument.presentationml.tags+xml"/>
  <Override PartName="/ppt/tags/tag125.xml" ContentType="application/vnd.openxmlformats-officedocument.presentationml.tags+xml"/>
  <Override PartName="/ppt/tags/tag122.xml" ContentType="application/vnd.openxmlformats-officedocument.presentationml.tags+xml"/>
  <Override PartName="/ppt/tags/tag121.xml" ContentType="application/vnd.openxmlformats-officedocument.presentationml.tags+xml"/>
  <Override PartName="/ppt/tags/tag120.xml" ContentType="application/vnd.openxmlformats-officedocument.presentationml.tags+xml"/>
  <Override PartName="/ppt/tags/tag141.xml" ContentType="application/vnd.openxmlformats-officedocument.presentationml.tags+xml"/>
  <Override PartName="/ppt/tags/tag140.xml" ContentType="application/vnd.openxmlformats-officedocument.presentationml.tags+xml"/>
  <Override PartName="/ppt/tags/tag139.xml" ContentType="application/vnd.openxmlformats-officedocument.presentationml.tags+xml"/>
  <Override PartName="/ppt/tags/tag138.xml" ContentType="application/vnd.openxmlformats-officedocument.presentationml.tags+xml"/>
  <Override PartName="/ppt/tags/tag137.xml" ContentType="application/vnd.openxmlformats-officedocument.presentationml.tags+xml"/>
  <Override PartName="/ppt/tags/tag136.xml" ContentType="application/vnd.openxmlformats-officedocument.presentationml.tags+xml"/>
  <Override PartName="/ppt/tags/tag135.xml" ContentType="application/vnd.openxmlformats-officedocument.presentationml.tags+xml"/>
  <Override PartName="/ppt/tags/tag134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95.xml" ContentType="application/vnd.openxmlformats-officedocument.presentationml.tags+xml"/>
  <Override PartName="/ppt/tags/tag194.xml" ContentType="application/vnd.openxmlformats-officedocument.presentationml.tags+xml"/>
  <Override PartName="/ppt/tags/tag193.xml" ContentType="application/vnd.openxmlformats-officedocument.presentationml.tags+xml"/>
  <Override PartName="/ppt/tags/tag192.xml" ContentType="application/vnd.openxmlformats-officedocument.presentationml.tags+xml"/>
  <Override PartName="/ppt/tags/tag191.xml" ContentType="application/vnd.openxmlformats-officedocument.presentationml.tags+xml"/>
  <Override PartName="/ppt/tags/tag190.xml" ContentType="application/vnd.openxmlformats-officedocument.presentationml.tags+xml"/>
  <Override PartName="/ppt/tags/tag189.xml" ContentType="application/vnd.openxmlformats-officedocument.presentationml.tags+xml"/>
  <Override PartName="/ppt/tags/tag188.xml" ContentType="application/vnd.openxmlformats-officedocument.presentationml.tags+xml"/>
  <Override PartName="/ppt/tags/tag187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207.xml" ContentType="application/vnd.openxmlformats-officedocument.presentationml.tags+xml"/>
  <Override PartName="/ppt/tags/tag206.xml" ContentType="application/vnd.openxmlformats-officedocument.presentationml.tags+xml"/>
  <Override PartName="/ppt/tags/tag205.xml" ContentType="application/vnd.openxmlformats-officedocument.presentationml.tags+xml"/>
  <Override PartName="/ppt/tags/tag204.xml" ContentType="application/vnd.openxmlformats-officedocument.presentationml.tags+xml"/>
  <Override PartName="/ppt/tags/tag203.xml" ContentType="application/vnd.openxmlformats-officedocument.presentationml.tags+xml"/>
  <Override PartName="/ppt/tags/tag202.xml" ContentType="application/vnd.openxmlformats-officedocument.presentationml.tags+xml"/>
  <Override PartName="/ppt/tags/tag201.xml" ContentType="application/vnd.openxmlformats-officedocument.presentationml.tags+xml"/>
  <Override PartName="/ppt/tags/tag200.xml" ContentType="application/vnd.openxmlformats-officedocument.presentationml.tags+xml"/>
  <Override PartName="/ppt/tags/tag199.xml" ContentType="application/vnd.openxmlformats-officedocument.presentationml.tags+xml"/>
  <Override PartName="/ppt/tags/tag186.xml" ContentType="application/vnd.openxmlformats-officedocument.presentationml.tags+xml"/>
  <Override PartName="/ppt/tags/tag185.xml" ContentType="application/vnd.openxmlformats-officedocument.presentationml.tags+xml"/>
  <Override PartName="/ppt/tags/tag184.xml" ContentType="application/vnd.openxmlformats-officedocument.presentationml.tags+xml"/>
  <Override PartName="/ppt/tags/tag172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71.xml" ContentType="application/vnd.openxmlformats-officedocument.presentationml.tags+xml"/>
  <Override PartName="/ppt/tags/tag170.xml" ContentType="application/vnd.openxmlformats-officedocument.presentationml.tags+xml"/>
  <Override PartName="/ppt/tags/tag169.xml" ContentType="application/vnd.openxmlformats-officedocument.presentationml.tags+xml"/>
  <Override PartName="/ppt/tags/tag168.xml" ContentType="application/vnd.openxmlformats-officedocument.presentationml.tags+xml"/>
  <Override PartName="/ppt/tags/tag167.xml" ContentType="application/vnd.openxmlformats-officedocument.presentationml.tags+xml"/>
  <Override PartName="/ppt/tags/tag166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83.xml" ContentType="application/vnd.openxmlformats-officedocument.presentationml.tags+xml"/>
  <Override PartName="/ppt/tags/tag182.xml" ContentType="application/vnd.openxmlformats-officedocument.presentationml.tags+xml"/>
  <Override PartName="/ppt/tags/tag181.xml" ContentType="application/vnd.openxmlformats-officedocument.presentationml.tags+xml"/>
  <Override PartName="/ppt/tags/tag180.xml" ContentType="application/vnd.openxmlformats-officedocument.presentationml.tags+xml"/>
  <Override PartName="/ppt/tags/tag179.xml" ContentType="application/vnd.openxmlformats-officedocument.presentationml.tags+xml"/>
  <Override PartName="/ppt/tags/tag178.xml" ContentType="application/vnd.openxmlformats-officedocument.presentationml.tags+xml"/>
  <Override PartName="/ppt/tags/tag177.xml" ContentType="application/vnd.openxmlformats-officedocument.presentationml.tags+xml"/>
  <Override PartName="/ppt/tags/tag176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412.xml" ContentType="application/vnd.openxmlformats-officedocument.presentationml.tags+xml"/>
  <Override PartName="/ppt/tags/tag411.xml" ContentType="application/vnd.openxmlformats-officedocument.presentationml.tags+xml"/>
  <Override PartName="/ppt/tags/tag410.xml" ContentType="application/vnd.openxmlformats-officedocument.presentationml.tags+xml"/>
  <Override PartName="/ppt/tags/tag409.xml" ContentType="application/vnd.openxmlformats-officedocument.presentationml.tags+xml"/>
  <Override PartName="/ppt/tags/tag408.xml" ContentType="application/vnd.openxmlformats-officedocument.presentationml.tags+xml"/>
  <Override PartName="/ppt/tags/tag407.xml" ContentType="application/vnd.openxmlformats-officedocument.presentationml.tags+xml"/>
  <Override PartName="/ppt/tags/tag406.xml" ContentType="application/vnd.openxmlformats-officedocument.presentationml.tags+xml"/>
  <Override PartName="/ppt/tags/tag405.xml" ContentType="application/vnd.openxmlformats-officedocument.presentationml.tags+xml"/>
  <Override PartName="/ppt/tags/tag404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24.xml" ContentType="application/vnd.openxmlformats-officedocument.presentationml.tags+xml"/>
  <Override PartName="/ppt/tags/tag423.xml" ContentType="application/vnd.openxmlformats-officedocument.presentationml.tags+xml"/>
  <Override PartName="/ppt/tags/tag422.xml" ContentType="application/vnd.openxmlformats-officedocument.presentationml.tags+xml"/>
  <Override PartName="/ppt/tags/tag421.xml" ContentType="application/vnd.openxmlformats-officedocument.presentationml.tags+xml"/>
  <Override PartName="/ppt/tags/tag420.xml" ContentType="application/vnd.openxmlformats-officedocument.presentationml.tags+xml"/>
  <Override PartName="/ppt/tags/tag419.xml" ContentType="application/vnd.openxmlformats-officedocument.presentationml.tags+xml"/>
  <Override PartName="/ppt/tags/tag418.xml" ContentType="application/vnd.openxmlformats-officedocument.presentationml.tags+xml"/>
  <Override PartName="/ppt/tags/tag417.xml" ContentType="application/vnd.openxmlformats-officedocument.presentationml.tags+xml"/>
  <Override PartName="/ppt/tags/tag416.xml" ContentType="application/vnd.openxmlformats-officedocument.presentationml.tags+xml"/>
  <Override PartName="/ppt/tags/tag403.xml" ContentType="application/vnd.openxmlformats-officedocument.presentationml.tags+xml"/>
  <Override PartName="/ppt/tags/tag402.xml" ContentType="application/vnd.openxmlformats-officedocument.presentationml.tags+xml"/>
  <Override PartName="/ppt/tags/tag401.xml" ContentType="application/vnd.openxmlformats-officedocument.presentationml.tags+xml"/>
  <Override PartName="/ppt/tags/tag389.xml" ContentType="application/vnd.openxmlformats-officedocument.presentationml.tags+xml"/>
  <Override PartName="/ppt/tags/tag388.xml" ContentType="application/vnd.openxmlformats-officedocument.presentationml.tags+xml"/>
  <Override PartName="/ppt/tags/tag387.xml" ContentType="application/vnd.openxmlformats-officedocument.presentationml.tags+xml"/>
  <Override PartName="/ppt/tags/tag386.xml" ContentType="application/vnd.openxmlformats-officedocument.presentationml.tags+xml"/>
  <Override PartName="/ppt/tags/tag385.xml" ContentType="application/vnd.openxmlformats-officedocument.presentationml.tags+xml"/>
  <Override PartName="/ppt/tags/tag384.xml" ContentType="application/vnd.openxmlformats-officedocument.presentationml.tags+xml"/>
  <Override PartName="/ppt/tags/tag383.xml" ContentType="application/vnd.openxmlformats-officedocument.presentationml.tags+xml"/>
  <Override PartName="/ppt/tags/tag382.xml" ContentType="application/vnd.openxmlformats-officedocument.presentationml.tags+xml"/>
  <Override PartName="/ppt/tags/tag381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400.xml" ContentType="application/vnd.openxmlformats-officedocument.presentationml.tags+xml"/>
  <Override PartName="/ppt/tags/tag399.xml" ContentType="application/vnd.openxmlformats-officedocument.presentationml.tags+xml"/>
  <Override PartName="/ppt/tags/tag398.xml" ContentType="application/vnd.openxmlformats-officedocument.presentationml.tags+xml"/>
  <Override PartName="/ppt/tags/tag397.xml" ContentType="application/vnd.openxmlformats-officedocument.presentationml.tags+xml"/>
  <Override PartName="/ppt/tags/tag396.xml" ContentType="application/vnd.openxmlformats-officedocument.presentationml.tags+xml"/>
  <Override PartName="/ppt/tags/tag395.xml" ContentType="application/vnd.openxmlformats-officedocument.presentationml.tags+xml"/>
  <Override PartName="/ppt/tags/tag394.xml" ContentType="application/vnd.openxmlformats-officedocument.presentationml.tags+xml"/>
  <Override PartName="/ppt/tags/tag393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58.xml" ContentType="application/vnd.openxmlformats-officedocument.presentationml.tags+xml"/>
  <Override PartName="/ppt/tags/tag457.xml" ContentType="application/vnd.openxmlformats-officedocument.presentationml.tags+xml"/>
  <Override PartName="/ppt/tags/tag456.xml" ContentType="application/vnd.openxmlformats-officedocument.presentationml.tags+xml"/>
  <Override PartName="/ppt/tags/tag455.xml" ContentType="application/vnd.openxmlformats-officedocument.presentationml.tags+xml"/>
  <Override PartName="/ppt/tags/tag454.xml" ContentType="application/vnd.openxmlformats-officedocument.presentationml.tags+xml"/>
  <Override PartName="/ppt/tags/tag453.xml" ContentType="application/vnd.openxmlformats-officedocument.presentationml.tags+xml"/>
  <Override PartName="/ppt/tags/tag452.xml" ContentType="application/vnd.openxmlformats-officedocument.presentationml.tags+xml"/>
  <Override PartName="/ppt/tags/tag451.xml" ContentType="application/vnd.openxmlformats-officedocument.presentationml.tags+xml"/>
  <Override PartName="/ppt/tags/tag95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9.xml" ContentType="application/vnd.openxmlformats-officedocument.presentationml.tags+xml"/>
  <Override PartName="/ppt/tags/tag94.xml" ContentType="application/vnd.openxmlformats-officedocument.presentationml.tags+xml"/>
  <Override PartName="/ppt/tags/tag468.xml" ContentType="application/vnd.openxmlformats-officedocument.presentationml.tags+xml"/>
  <Override PartName="/ppt/tags/tag467.xml" ContentType="application/vnd.openxmlformats-officedocument.presentationml.tags+xml"/>
  <Override PartName="/ppt/tags/tag466.xml" ContentType="application/vnd.openxmlformats-officedocument.presentationml.tags+xml"/>
  <Override PartName="/ppt/tags/tag465.xml" ContentType="application/vnd.openxmlformats-officedocument.presentationml.tags+xml"/>
  <Override PartName="/ppt/tags/tag464.xml" ContentType="application/vnd.openxmlformats-officedocument.presentationml.tags+xml"/>
  <Override PartName="/ppt/tags/tag463.xml" ContentType="application/vnd.openxmlformats-officedocument.presentationml.tags+xml"/>
  <Override PartName="/ppt/tags/tag462.xml" ContentType="application/vnd.openxmlformats-officedocument.presentationml.tags+xml"/>
  <Override PartName="/ppt/tags/tag450.xml" ContentType="application/vnd.openxmlformats-officedocument.presentationml.tags+xml"/>
  <Override PartName="/ppt/tags/tag449.xml" ContentType="application/vnd.openxmlformats-officedocument.presentationml.tags+xml"/>
  <Override PartName="/ppt/tags/tag448.xml" ContentType="application/vnd.openxmlformats-officedocument.presentationml.tags+xml"/>
  <Override PartName="/ppt/tags/tag436.xml" ContentType="application/vnd.openxmlformats-officedocument.presentationml.tags+xml"/>
  <Override PartName="/ppt/tags/tag435.xml" ContentType="application/vnd.openxmlformats-officedocument.presentationml.tags+xml"/>
  <Override PartName="/ppt/tags/tag434.xml" ContentType="application/vnd.openxmlformats-officedocument.presentationml.tags+xml"/>
  <Override PartName="/ppt/tags/tag433.xml" ContentType="application/vnd.openxmlformats-officedocument.presentationml.tags+xml"/>
  <Override PartName="/ppt/tags/tag432.xml" ContentType="application/vnd.openxmlformats-officedocument.presentationml.tags+xml"/>
  <Override PartName="/ppt/tags/tag431.xml" ContentType="application/vnd.openxmlformats-officedocument.presentationml.tags+xml"/>
  <Override PartName="/ppt/tags/tag430.xml" ContentType="application/vnd.openxmlformats-officedocument.presentationml.tags+xml"/>
  <Override PartName="/ppt/tags/tag429.xml" ContentType="application/vnd.openxmlformats-officedocument.presentationml.tags+xml"/>
  <Override PartName="/ppt/tags/tag123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7.xml" ContentType="application/vnd.openxmlformats-officedocument.presentationml.tags+xml"/>
  <Override PartName="/ppt/tags/tag446.xml" ContentType="application/vnd.openxmlformats-officedocument.presentationml.tags+xml"/>
  <Override PartName="/ppt/tags/tag445.xml" ContentType="application/vnd.openxmlformats-officedocument.presentationml.tags+xml"/>
  <Override PartName="/ppt/tags/tag444.xml" ContentType="application/vnd.openxmlformats-officedocument.presentationml.tags+xml"/>
  <Override PartName="/ppt/tags/tag443.xml" ContentType="application/vnd.openxmlformats-officedocument.presentationml.tags+xml"/>
  <Override PartName="/ppt/tags/tag442.xml" ContentType="application/vnd.openxmlformats-officedocument.presentationml.tags+xml"/>
  <Override PartName="/ppt/tags/tag441.xml" ContentType="application/vnd.openxmlformats-officedocument.presentationml.tags+xml"/>
  <Override PartName="/ppt/tags/tag440.xml" ContentType="application/vnd.openxmlformats-officedocument.presentationml.tags+xml"/>
  <Override PartName="/ppt/tags/tag380.xml" ContentType="application/vnd.openxmlformats-officedocument.presentationml.tags+xml"/>
  <Override PartName="/ppt/tags/tag379.xml" ContentType="application/vnd.openxmlformats-officedocument.presentationml.tags+xml"/>
  <Override PartName="/ppt/tags/tag378.xml" ContentType="application/vnd.openxmlformats-officedocument.presentationml.tags+xml"/>
  <Override PartName="/ppt/tags/tag322.xml" ContentType="application/vnd.openxmlformats-officedocument.presentationml.tags+xml"/>
  <Override PartName="/ppt/tags/tag100.xml" ContentType="application/vnd.openxmlformats-officedocument.presentationml.tags+xml"/>
  <Override PartName="/ppt/tags/tag321.xml" ContentType="application/vnd.openxmlformats-officedocument.presentationml.tags+xml"/>
  <Override PartName="/ppt/tags/tag320.xml" ContentType="application/vnd.openxmlformats-officedocument.presentationml.tags+xml"/>
  <Override PartName="/ppt/tags/tag319.xml" ContentType="application/vnd.openxmlformats-officedocument.presentationml.tags+xml"/>
  <Override PartName="/ppt/tags/tag318.xml" ContentType="application/vnd.openxmlformats-officedocument.presentationml.tags+xml"/>
  <Override PartName="/ppt/tags/tag317.xml" ContentType="application/vnd.openxmlformats-officedocument.presentationml.tags+xml"/>
  <Override PartName="/ppt/tags/tag316.xml" ContentType="application/vnd.openxmlformats-officedocument.presentationml.tags+xml"/>
  <Override PartName="/ppt/tags/tag315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33.xml" ContentType="application/vnd.openxmlformats-officedocument.presentationml.tags+xml"/>
  <Override PartName="/ppt/tags/tag99.xml" ContentType="application/vnd.openxmlformats-officedocument.presentationml.tags+xml"/>
  <Override PartName="/ppt/tags/tag332.xml" ContentType="application/vnd.openxmlformats-officedocument.presentationml.tags+xml"/>
  <Override PartName="/ppt/tags/tag331.xml" ContentType="application/vnd.openxmlformats-officedocument.presentationml.tags+xml"/>
  <Override PartName="/ppt/tags/tag330.xml" ContentType="application/vnd.openxmlformats-officedocument.presentationml.tags+xml"/>
  <Override PartName="/ppt/tags/tag329.xml" ContentType="application/vnd.openxmlformats-officedocument.presentationml.tags+xml"/>
  <Override PartName="/ppt/tags/tag328.xml" ContentType="application/vnd.openxmlformats-officedocument.presentationml.tags+xml"/>
  <Override PartName="/ppt/tags/tag327.xml" ContentType="application/vnd.openxmlformats-officedocument.presentationml.tags+xml"/>
  <Override PartName="/ppt/tags/tag326.xml" ContentType="application/vnd.openxmlformats-officedocument.presentationml.tags+xml"/>
  <Override PartName="/ppt/tags/tag314.xml" ContentType="application/vnd.openxmlformats-officedocument.presentationml.tags+xml"/>
  <Override PartName="/ppt/tags/tag313.xml" ContentType="application/vnd.openxmlformats-officedocument.presentationml.tags+xml"/>
  <Override PartName="/ppt/tags/tag101.xml" ContentType="application/vnd.openxmlformats-officedocument.presentationml.tags+xml"/>
  <Override PartName="/ppt/tags/tag304.xml" ContentType="application/vnd.openxmlformats-officedocument.presentationml.tags+xml"/>
  <Override PartName="/ppt/tags/tag303.xml" ContentType="application/vnd.openxmlformats-officedocument.presentationml.tags+xml"/>
  <Override PartName="/ppt/tags/tag302.xml" ContentType="application/vnd.openxmlformats-officedocument.presentationml.tags+xml"/>
  <Override PartName="/ppt/tags/tag105.xml" ContentType="application/vnd.openxmlformats-officedocument.presentationml.tags+xml"/>
  <Override PartName="/ppt/tags/tag301.xml" ContentType="application/vnd.openxmlformats-officedocument.presentationml.tags+xml"/>
  <Override PartName="/ppt/tags/tag300.xml" ContentType="application/vnd.openxmlformats-officedocument.presentationml.tags+xml"/>
  <Override PartName="/ppt/tags/tag299.xml" ContentType="application/vnd.openxmlformats-officedocument.presentationml.tags+xml"/>
  <Override PartName="/ppt/tags/tag298.xml" ContentType="application/vnd.openxmlformats-officedocument.presentationml.tags+xml"/>
  <Override PartName="/ppt/tags/tag297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12.xml" ContentType="application/vnd.openxmlformats-officedocument.presentationml.tags+xml"/>
  <Override PartName="/ppt/tags/tag102.xml" ContentType="application/vnd.openxmlformats-officedocument.presentationml.tags+xml"/>
  <Override PartName="/ppt/tags/tag311.xml" ContentType="application/vnd.openxmlformats-officedocument.presentationml.tags+xml"/>
  <Override PartName="/ppt/tags/tag310.xml" ContentType="application/vnd.openxmlformats-officedocument.presentationml.tags+xml"/>
  <Override PartName="/ppt/tags/tag103.xml" ContentType="application/vnd.openxmlformats-officedocument.presentationml.tags+xml"/>
  <Override PartName="/ppt/tags/tag309.xml" ContentType="application/vnd.openxmlformats-officedocument.presentationml.tags+xml"/>
  <Override PartName="/ppt/tags/tag308.xml" ContentType="application/vnd.openxmlformats-officedocument.presentationml.tags+xml"/>
  <Override PartName="/ppt/tags/tag104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65.xml" ContentType="application/vnd.openxmlformats-officedocument.presentationml.tags+xml"/>
  <Override PartName="/ppt/tags/tag364.xml" ContentType="application/vnd.openxmlformats-officedocument.presentationml.tags+xml"/>
  <Override PartName="/ppt/tags/tag363.xml" ContentType="application/vnd.openxmlformats-officedocument.presentationml.tags+xml"/>
  <Override PartName="/ppt/tags/tag362.xml" ContentType="application/vnd.openxmlformats-officedocument.presentationml.tags+xml"/>
  <Override PartName="/ppt/tags/tag361.xml" ContentType="application/vnd.openxmlformats-officedocument.presentationml.tags+xml"/>
  <Override PartName="/ppt/tags/tag360.xml" ContentType="application/vnd.openxmlformats-officedocument.presentationml.tags+xml"/>
  <Override PartName="/ppt/tags/tag96.xml" ContentType="application/vnd.openxmlformats-officedocument.presentationml.tags+xml"/>
  <Override PartName="/ppt/tags/tag359.xml" ContentType="application/vnd.openxmlformats-officedocument.presentationml.tags+xml"/>
  <Override PartName="/ppt/tags/tag97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77.xml" ContentType="application/vnd.openxmlformats-officedocument.presentationml.tags+xml"/>
  <Override PartName="/ppt/tags/tag376.xml" ContentType="application/vnd.openxmlformats-officedocument.presentationml.tags+xml"/>
  <Override PartName="/ppt/tags/tag375.xml" ContentType="application/vnd.openxmlformats-officedocument.presentationml.tags+xml"/>
  <Override PartName="/ppt/tags/tag374.xml" ContentType="application/vnd.openxmlformats-officedocument.presentationml.tags+xml"/>
  <Override PartName="/ppt/tags/tag373.xml" ContentType="application/vnd.openxmlformats-officedocument.presentationml.tags+xml"/>
  <Override PartName="/ppt/tags/tag372.xml" ContentType="application/vnd.openxmlformats-officedocument.presentationml.tags+xml"/>
  <Override PartName="/ppt/tags/tag371.xml" ContentType="application/vnd.openxmlformats-officedocument.presentationml.tags+xml"/>
  <Override PartName="/ppt/tags/tag370.xml" ContentType="application/vnd.openxmlformats-officedocument.presentationml.tags+xml"/>
  <Override PartName="/ppt/tags/tag369.xml" ContentType="application/vnd.openxmlformats-officedocument.presentationml.tags+xml"/>
  <Override PartName="/ppt/tags/tag358.xml" ContentType="application/vnd.openxmlformats-officedocument.presentationml.tags+xml"/>
  <Override PartName="/ppt/tags/tag357.xml" ContentType="application/vnd.openxmlformats-officedocument.presentationml.tags+xml"/>
  <Override PartName="/ppt/tags/tag356.xml" ContentType="application/vnd.openxmlformats-officedocument.presentationml.tags+xml"/>
  <Override PartName="/ppt/tags/tag98.xml" ContentType="application/vnd.openxmlformats-officedocument.presentationml.tags+xml"/>
  <Override PartName="/ppt/tags/tag344.xml" ContentType="application/vnd.openxmlformats-officedocument.presentationml.tags+xml"/>
  <Override PartName="/ppt/tags/tag343.xml" ContentType="application/vnd.openxmlformats-officedocument.presentationml.tags+xml"/>
  <Override PartName="/ppt/tags/tag342.xml" ContentType="application/vnd.openxmlformats-officedocument.presentationml.tags+xml"/>
  <Override PartName="/ppt/tags/tag341.xml" ContentType="application/vnd.openxmlformats-officedocument.presentationml.tags+xml"/>
  <Override PartName="/ppt/tags/tag340.xml" ContentType="application/vnd.openxmlformats-officedocument.presentationml.tags+xml"/>
  <Override PartName="/ppt/tags/tag339.xml" ContentType="application/vnd.openxmlformats-officedocument.presentationml.tags+xml"/>
  <Override PartName="/ppt/tags/tag338.xml" ContentType="application/vnd.openxmlformats-officedocument.presentationml.tags+xml"/>
  <Override PartName="/ppt/tags/tag337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55.xml" ContentType="application/vnd.openxmlformats-officedocument.presentationml.tags+xml"/>
  <Override PartName="/ppt/tags/tag354.xml" ContentType="application/vnd.openxmlformats-officedocument.presentationml.tags+xml"/>
  <Override PartName="/ppt/tags/tag353.xml" ContentType="application/vnd.openxmlformats-officedocument.presentationml.tags+xml"/>
  <Override PartName="/ppt/tags/tag352.xml" ContentType="application/vnd.openxmlformats-officedocument.presentationml.tags+xml"/>
  <Override PartName="/ppt/tags/tag351.xml" ContentType="application/vnd.openxmlformats-officedocument.presentationml.tags+xml"/>
  <Override PartName="/ppt/tags/tag350.xml" ContentType="application/vnd.openxmlformats-officedocument.presentationml.tags+xml"/>
  <Override PartName="/ppt/tags/tag349.xml" ContentType="application/vnd.openxmlformats-officedocument.presentationml.tags+xml"/>
  <Override PartName="/ppt/tags/tag348.xml" ContentType="application/vnd.openxmlformats-officedocument.presentationml.tags+xml"/>
  <Override PartName="/ppt/tags/tag471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67" r:id="rId2"/>
    <p:sldMasterId id="2147483704" r:id="rId3"/>
    <p:sldMasterId id="2147483708" r:id="rId4"/>
    <p:sldMasterId id="2147483712" r:id="rId5"/>
    <p:sldMasterId id="2147483716" r:id="rId6"/>
    <p:sldMasterId id="2147483720" r:id="rId7"/>
    <p:sldMasterId id="2147483724" r:id="rId8"/>
    <p:sldMasterId id="2147483728" r:id="rId9"/>
    <p:sldMasterId id="2147483732" r:id="rId10"/>
    <p:sldMasterId id="2147483736" r:id="rId11"/>
    <p:sldMasterId id="2147483740" r:id="rId12"/>
    <p:sldMasterId id="2147483744" r:id="rId13"/>
    <p:sldMasterId id="2147483756" r:id="rId14"/>
    <p:sldMasterId id="2147483760" r:id="rId15"/>
  </p:sldMasterIdLst>
  <p:notesMasterIdLst>
    <p:notesMasterId r:id="rId54"/>
  </p:notesMasterIdLst>
  <p:handoutMasterIdLst>
    <p:handoutMasterId r:id="rId55"/>
  </p:handoutMasterIdLst>
  <p:sldIdLst>
    <p:sldId id="651" r:id="rId16"/>
    <p:sldId id="777" r:id="rId17"/>
    <p:sldId id="767" r:id="rId18"/>
    <p:sldId id="819" r:id="rId19"/>
    <p:sldId id="786" r:id="rId20"/>
    <p:sldId id="820" r:id="rId21"/>
    <p:sldId id="657" r:id="rId22"/>
    <p:sldId id="658" r:id="rId23"/>
    <p:sldId id="780" r:id="rId24"/>
    <p:sldId id="768" r:id="rId25"/>
    <p:sldId id="738" r:id="rId26"/>
    <p:sldId id="701" r:id="rId27"/>
    <p:sldId id="826" r:id="rId28"/>
    <p:sldId id="818" r:id="rId29"/>
    <p:sldId id="731" r:id="rId30"/>
    <p:sldId id="769" r:id="rId31"/>
    <p:sldId id="661" r:id="rId32"/>
    <p:sldId id="825" r:id="rId33"/>
    <p:sldId id="783" r:id="rId34"/>
    <p:sldId id="711" r:id="rId35"/>
    <p:sldId id="714" r:id="rId36"/>
    <p:sldId id="770" r:id="rId37"/>
    <p:sldId id="739" r:id="rId38"/>
    <p:sldId id="784" r:id="rId39"/>
    <p:sldId id="725" r:id="rId40"/>
    <p:sldId id="722" r:id="rId41"/>
    <p:sldId id="771" r:id="rId42"/>
    <p:sldId id="787" r:id="rId43"/>
    <p:sldId id="793" r:id="rId44"/>
    <p:sldId id="800" r:id="rId45"/>
    <p:sldId id="805" r:id="rId46"/>
    <p:sldId id="810" r:id="rId47"/>
    <p:sldId id="744" r:id="rId48"/>
    <p:sldId id="747" r:id="rId49"/>
    <p:sldId id="752" r:id="rId50"/>
    <p:sldId id="751" r:id="rId51"/>
    <p:sldId id="749" r:id="rId52"/>
    <p:sldId id="750" r:id="rId53"/>
  </p:sldIdLst>
  <p:sldSz cx="9144000" cy="5143500" type="screen16x9"/>
  <p:notesSz cx="7023100" cy="9309100"/>
  <p:custDataLst>
    <p:tags r:id="rId5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349501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69899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048491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397986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1747481" algn="l" defTabSz="69899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096983" algn="l" defTabSz="69899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2446472" algn="l" defTabSz="69899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2795973" algn="l" defTabSz="69899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  <p15:guide id="3" orient="horz" pos="2932">
          <p15:clr>
            <a:srgbClr val="A4A3A4"/>
          </p15:clr>
        </p15:guide>
        <p15:guide id="4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99C6"/>
    <a:srgbClr val="F6B900"/>
    <a:srgbClr val="CC6A18"/>
    <a:srgbClr val="5A6B7D"/>
    <a:srgbClr val="8395A8"/>
    <a:srgbClr val="7D68A3"/>
    <a:srgbClr val="CCCCCC"/>
    <a:srgbClr val="4B62AC"/>
    <a:srgbClr val="113252"/>
    <a:srgbClr val="899B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44" autoAdjust="0"/>
    <p:restoredTop sz="77653" autoAdjust="0"/>
  </p:normalViewPr>
  <p:slideViewPr>
    <p:cSldViewPr snapToGrid="0" snapToObjects="1">
      <p:cViewPr>
        <p:scale>
          <a:sx n="110" d="100"/>
          <a:sy n="110" d="100"/>
        </p:scale>
        <p:origin x="-706" y="8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3" d="100"/>
          <a:sy n="63" d="100"/>
        </p:scale>
        <p:origin x="-2582" y="-77"/>
      </p:cViewPr>
      <p:guideLst>
        <p:guide orient="horz" pos="2928"/>
        <p:guide orient="horz" pos="2932"/>
        <p:guide pos="2208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1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slide" Target="slides/slide27.xml"/><Relationship Id="rId47" Type="http://schemas.openxmlformats.org/officeDocument/2006/relationships/slide" Target="slides/slide32.xml"/><Relationship Id="rId50" Type="http://schemas.openxmlformats.org/officeDocument/2006/relationships/slide" Target="slides/slide35.xml"/><Relationship Id="rId55" Type="http://schemas.openxmlformats.org/officeDocument/2006/relationships/handoutMaster" Target="handoutMasters/handoutMaster1.xml"/><Relationship Id="rId63" Type="http://schemas.openxmlformats.org/officeDocument/2006/relationships/customXml" Target="../customXml/item2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53" Type="http://schemas.openxmlformats.org/officeDocument/2006/relationships/slide" Target="slides/slide38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tableStyles" Target="tableStyles.xml"/><Relationship Id="rId19" Type="http://schemas.openxmlformats.org/officeDocument/2006/relationships/slide" Target="slides/slide4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slide" Target="slides/slide33.xml"/><Relationship Id="rId56" Type="http://schemas.openxmlformats.org/officeDocument/2006/relationships/tags" Target="tags/tag1.xml"/><Relationship Id="rId64" Type="http://schemas.openxmlformats.org/officeDocument/2006/relationships/customXml" Target="../customXml/item3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slide" Target="slides/slide31.xml"/><Relationship Id="rId59" Type="http://schemas.openxmlformats.org/officeDocument/2006/relationships/viewProps" Target="viewProps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54" Type="http://schemas.openxmlformats.org/officeDocument/2006/relationships/notesMaster" Target="notesMasters/notesMaster1.xml"/><Relationship Id="rId62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slide" Target="slides/slide34.xml"/><Relationship Id="rId57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openxmlformats.org/officeDocument/2006/relationships/slide" Target="slides/slide37.xml"/><Relationship Id="rId60" Type="http://schemas.openxmlformats.org/officeDocument/2006/relationships/theme" Target="theme/theme1.xml"/><Relationship Id="rId65" Type="http://schemas.openxmlformats.org/officeDocument/2006/relationships/customXml" Target="../customXml/item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39" Type="http://schemas.openxmlformats.org/officeDocument/2006/relationships/slide" Target="slides/slide2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4350" y="498475"/>
            <a:ext cx="6045200" cy="3402013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12763" y="4088297"/>
            <a:ext cx="6048375" cy="846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68070" y="8952066"/>
            <a:ext cx="557152" cy="173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25158" y="96024"/>
            <a:ext cx="65" cy="123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84429" rtl="0" eaLnBrk="0" fontAlgn="base" hangingPunct="0">
      <a:spcBef>
        <a:spcPct val="0"/>
      </a:spcBef>
      <a:spcAft>
        <a:spcPct val="0"/>
      </a:spcAft>
      <a:buClr>
        <a:schemeClr val="tx2"/>
      </a:buClr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89798" indent="-88583" algn="l" defTabSz="684429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229353" indent="-138340" algn="l" defTabSz="684429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100" kern="1200">
        <a:solidFill>
          <a:schemeClr val="tx1"/>
        </a:solidFill>
        <a:latin typeface="Arial" charset="0"/>
        <a:ea typeface="+mn-ea"/>
        <a:cs typeface="+mn-cs"/>
      </a:defRPr>
    </a:lvl3pPr>
    <a:lvl4pPr marL="326438" indent="-95871" algn="l" defTabSz="684429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415024" indent="-87369" algn="l" defTabSz="684429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100" kern="1200">
        <a:solidFill>
          <a:schemeClr val="tx1"/>
        </a:solidFill>
        <a:latin typeface="Arial" charset="0"/>
        <a:ea typeface="+mn-ea"/>
        <a:cs typeface="+mn-cs"/>
      </a:defRPr>
    </a:lvl5pPr>
    <a:lvl6pPr marL="1747481" algn="l" defTabSz="69899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96983" algn="l" defTabSz="69899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46472" algn="l" defTabSz="69899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95973" algn="l" defTabSz="69899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2825774"/>
          </a:xfrm>
        </p:spPr>
        <p:txBody>
          <a:bodyPr/>
          <a:lstStyle/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1833963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>
          <a:xfrm>
            <a:off x="248134" y="4088297"/>
            <a:ext cx="6577089" cy="1953273"/>
          </a:xfrm>
        </p:spPr>
        <p:txBody>
          <a:bodyPr/>
          <a:lstStyle/>
          <a:p>
            <a:pPr defTabSz="686073">
              <a:defRPr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1956593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3978017"/>
          </a:xfrm>
        </p:spPr>
        <p:txBody>
          <a:bodyPr/>
          <a:lstStyle/>
          <a:p>
            <a:pPr defTabSz="915772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7084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583" y="4093882"/>
            <a:ext cx="6589004" cy="2877711"/>
          </a:xfrm>
        </p:spPr>
        <p:txBody>
          <a:bodyPr/>
          <a:lstStyle/>
          <a:p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2799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4" y="4088296"/>
            <a:ext cx="6577089" cy="4620367"/>
          </a:xfrm>
        </p:spPr>
        <p:txBody>
          <a:bodyPr/>
          <a:lstStyle/>
          <a:p>
            <a:pPr marL="0" marR="0" indent="0" algn="l" defTabSz="68504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6568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3724096"/>
          </a:xfrm>
        </p:spPr>
        <p:txBody>
          <a:bodyPr/>
          <a:lstStyle/>
          <a:p>
            <a:pPr eaLnBrk="1" hangingPunct="1"/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238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3640560"/>
          </a:xfrm>
        </p:spPr>
        <p:txBody>
          <a:bodyPr/>
          <a:lstStyle/>
          <a:p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6871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>
          <a:xfrm>
            <a:off x="248134" y="4088298"/>
            <a:ext cx="6577089" cy="1441645"/>
          </a:xfrm>
        </p:spPr>
        <p:txBody>
          <a:bodyPr/>
          <a:lstStyle/>
          <a:p>
            <a:pPr defTabSz="686073">
              <a:defRPr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8977232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2181874"/>
          </a:xfrm>
        </p:spPr>
        <p:txBody>
          <a:bodyPr/>
          <a:lstStyle/>
          <a:p>
            <a:pPr defTabSz="915772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7084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2101" y="4088297"/>
            <a:ext cx="6313122" cy="5220803"/>
          </a:xfrm>
        </p:spPr>
        <p:txBody>
          <a:bodyPr/>
          <a:lstStyle/>
          <a:p>
            <a:pPr marL="0" lvl="1" indent="-48652">
              <a:spcBef>
                <a:spcPct val="30000"/>
              </a:spcBef>
              <a:buNone/>
            </a:pPr>
            <a:endParaRPr lang="en-US" sz="11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2471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7685" y="4082720"/>
            <a:ext cx="6565196" cy="1862048"/>
          </a:xfrm>
        </p:spPr>
        <p:txBody>
          <a:bodyPr/>
          <a:lstStyle/>
          <a:p>
            <a:pPr marL="0" indent="0">
              <a:buNone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9320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2236303"/>
          </a:xfrm>
        </p:spPr>
        <p:txBody>
          <a:bodyPr/>
          <a:lstStyle/>
          <a:p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616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4478760"/>
          </a:xfrm>
        </p:spPr>
        <p:txBody>
          <a:bodyPr/>
          <a:lstStyle/>
          <a:p>
            <a:pPr defTabSz="686073"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3127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3629674"/>
          </a:xfrm>
        </p:spPr>
        <p:txBody>
          <a:bodyPr/>
          <a:lstStyle/>
          <a:p>
            <a:pPr defTabSz="686073">
              <a:defRPr/>
            </a:pPr>
            <a:endParaRPr lang="en-US" sz="1100" i="1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79484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>
          <a:xfrm>
            <a:off x="248134" y="4088298"/>
            <a:ext cx="6577089" cy="1746445"/>
          </a:xfrm>
        </p:spPr>
        <p:txBody>
          <a:bodyPr/>
          <a:lstStyle/>
          <a:p>
            <a:pPr defTabSz="686073">
              <a:defRPr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4275061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2486674"/>
          </a:xfrm>
        </p:spPr>
        <p:txBody>
          <a:bodyPr/>
          <a:lstStyle/>
          <a:p>
            <a:pPr defTabSz="915772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endParaRPr lang="en-US" sz="11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7084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7685" y="4082720"/>
            <a:ext cx="6565196" cy="4212194"/>
          </a:xfrm>
        </p:spPr>
        <p:txBody>
          <a:bodyPr/>
          <a:lstStyle/>
          <a:p>
            <a:pPr defTabSz="683949">
              <a:defRPr/>
            </a:pPr>
            <a:endParaRPr lang="en-US" sz="11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029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4062651"/>
          </a:xfrm>
        </p:spPr>
        <p:txBody>
          <a:bodyPr/>
          <a:lstStyle/>
          <a:p>
            <a:pPr defTabSz="686073">
              <a:defRPr/>
            </a:pPr>
            <a:endParaRPr lang="en-US" sz="110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4875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4393966"/>
          </a:xfrm>
        </p:spPr>
        <p:txBody>
          <a:bodyPr/>
          <a:lstStyle/>
          <a:p>
            <a:endParaRPr lang="en-US" sz="110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6448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>
          <a:xfrm>
            <a:off x="248134" y="4088298"/>
            <a:ext cx="6577089" cy="2029473"/>
          </a:xfrm>
        </p:spPr>
        <p:txBody>
          <a:bodyPr/>
          <a:lstStyle/>
          <a:p>
            <a:pPr defTabSz="915772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1205700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4062651"/>
          </a:xfrm>
        </p:spPr>
        <p:txBody>
          <a:bodyPr/>
          <a:lstStyle/>
          <a:p>
            <a:pPr eaLnBrk="1" hangingPunct="1"/>
            <a:endParaRPr lang="en-US" sz="1100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28713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5220803"/>
          </a:xfrm>
        </p:spPr>
        <p:txBody>
          <a:bodyPr/>
          <a:lstStyle/>
          <a:p>
            <a:pPr eaLnBrk="1" hangingPunct="1"/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0987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>
          <a:xfrm>
            <a:off x="248134" y="4088298"/>
            <a:ext cx="6577089" cy="1538883"/>
          </a:xfrm>
        </p:spPr>
        <p:txBody>
          <a:bodyPr/>
          <a:lstStyle/>
          <a:p>
            <a:pPr defTabSz="686073">
              <a:defRPr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16590373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4062651"/>
          </a:xfrm>
        </p:spPr>
        <p:txBody>
          <a:bodyPr/>
          <a:lstStyle/>
          <a:p>
            <a:pPr eaLnBrk="1" hangingPunct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47026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4062651"/>
          </a:xfrm>
        </p:spPr>
        <p:txBody>
          <a:bodyPr/>
          <a:lstStyle/>
          <a:p>
            <a:pPr eaLnBrk="1" hangingPunct="1"/>
            <a:endParaRPr lang="en-US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6461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4062651"/>
          </a:xfrm>
        </p:spPr>
        <p:txBody>
          <a:bodyPr/>
          <a:lstStyle/>
          <a:p>
            <a:pPr eaLnBrk="1" hangingPunct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14562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4" y="4088297"/>
            <a:ext cx="6577089" cy="3554819"/>
          </a:xfrm>
        </p:spPr>
        <p:txBody>
          <a:bodyPr/>
          <a:lstStyle/>
          <a:p>
            <a:pPr defTabSz="684975">
              <a:defRPr/>
            </a:pPr>
            <a:endParaRPr lang="en-US" i="1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43380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4" y="4088297"/>
            <a:ext cx="6577089" cy="4062651"/>
          </a:xfrm>
        </p:spPr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43380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4" y="4088297"/>
            <a:ext cx="6577089" cy="4570482"/>
          </a:xfrm>
        </p:spPr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43380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4" y="4088297"/>
            <a:ext cx="6577089" cy="3893374"/>
          </a:xfrm>
        </p:spPr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43380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284163"/>
            <a:ext cx="6045200" cy="34020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4" y="3873753"/>
            <a:ext cx="6577089" cy="507831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43380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4" y="4088296"/>
            <a:ext cx="6577089" cy="372409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8952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6"/>
            <a:ext cx="6577089" cy="5220803"/>
          </a:xfrm>
        </p:spPr>
        <p:txBody>
          <a:bodyPr/>
          <a:lstStyle/>
          <a:p>
            <a:pPr defTabSz="686073">
              <a:defRPr/>
            </a:pPr>
            <a:endParaRPr lang="en-US" sz="110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8935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337930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945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8" name="Notes Placeholder 7"/>
          <p:cNvSpPr>
            <a:spLocks noGrp="1"/>
          </p:cNvSpPr>
          <p:nvPr>
            <p:ph type="body" idx="1"/>
          </p:nvPr>
        </p:nvSpPr>
        <p:spPr>
          <a:xfrm>
            <a:off x="248134" y="4088295"/>
            <a:ext cx="6565196" cy="3422113"/>
          </a:xfrm>
        </p:spPr>
        <p:txBody>
          <a:bodyPr/>
          <a:lstStyle/>
          <a:p>
            <a:pPr marL="0" marR="0" indent="0" algn="l" defTabSz="68504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endParaRPr lang="en-US" sz="1100" dirty="0" smtClean="0"/>
          </a:p>
        </p:txBody>
      </p:sp>
    </p:spTree>
    <p:extLst>
      <p:ext uri="{BB962C8B-B14F-4D97-AF65-F5344CB8AC3E}">
        <p14:creationId xmlns:p14="http://schemas.microsoft.com/office/powerpoint/2010/main" val="33336231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4898008"/>
          </a:xfrm>
        </p:spPr>
        <p:txBody>
          <a:bodyPr/>
          <a:lstStyle/>
          <a:p>
            <a:pPr defTabSz="915772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endParaRPr lang="en-US" sz="1100" b="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9060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2476062"/>
          </a:xfrm>
        </p:spPr>
        <p:txBody>
          <a:bodyPr/>
          <a:lstStyle/>
          <a:p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7678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4350" y="498475"/>
            <a:ext cx="6045200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8133" y="4088297"/>
            <a:ext cx="6577089" cy="3231654"/>
          </a:xfrm>
        </p:spPr>
        <p:txBody>
          <a:bodyPr/>
          <a:lstStyle/>
          <a:p>
            <a:pPr defTabSz="915772" eaLnBrk="1" fontAlgn="auto" hangingPunct="1">
              <a:spcBef>
                <a:spcPts val="0"/>
              </a:spcBef>
              <a:spcAft>
                <a:spcPts val="0"/>
              </a:spcAft>
              <a:buClrTx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41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8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jpeg"/><Relationship Id="rId2" Type="http://schemas.openxmlformats.org/officeDocument/2006/relationships/tags" Target="../tags/tag1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8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jpeg"/><Relationship Id="rId2" Type="http://schemas.openxmlformats.org/officeDocument/2006/relationships/tags" Target="../tags/tag13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8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jpeg"/><Relationship Id="rId2" Type="http://schemas.openxmlformats.org/officeDocument/2006/relationships/tags" Target="../tags/tag15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8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jpeg"/><Relationship Id="rId2" Type="http://schemas.openxmlformats.org/officeDocument/2006/relationships/tags" Target="../tags/tag17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8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6.jpeg"/><Relationship Id="rId2" Type="http://schemas.openxmlformats.org/officeDocument/2006/relationships/tags" Target="../tags/tag19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8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6.jpeg"/><Relationship Id="rId2" Type="http://schemas.openxmlformats.org/officeDocument/2006/relationships/tags" Target="../tags/tag20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8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6.jpeg"/><Relationship Id="rId2" Type="http://schemas.openxmlformats.org/officeDocument/2006/relationships/tags" Target="../tags/tag2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25.bin"/><Relationship Id="rId9" Type="http://schemas.openxmlformats.org/officeDocument/2006/relationships/image" Target="../media/image8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6.jpeg"/><Relationship Id="rId2" Type="http://schemas.openxmlformats.org/officeDocument/2006/relationships/tags" Target="../tags/tag24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27.bin"/><Relationship Id="rId9" Type="http://schemas.openxmlformats.org/officeDocument/2006/relationships/image" Target="../media/image8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6.jpeg"/><Relationship Id="rId2" Type="http://schemas.openxmlformats.org/officeDocument/2006/relationships/tags" Target="../tags/tag26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29.bin"/><Relationship Id="rId9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1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6.jpeg"/><Relationship Id="rId2" Type="http://schemas.openxmlformats.org/officeDocument/2006/relationships/tags" Target="../tags/tag287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8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jpeg"/><Relationship Id="rId2" Type="http://schemas.openxmlformats.org/officeDocument/2006/relationships/tags" Target="../tags/tag5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8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8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0068408"/>
              </p:ext>
            </p:extLst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5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100" baseline="0" noProof="0" dirty="0" smtClean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800" b="1" baseline="0" noProof="0" dirty="0" smtClean="0">
                <a:solidFill>
                  <a:schemeClr val="accent6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800" baseline="0" noProof="0" smtClean="0">
                <a:solidFill>
                  <a:schemeClr val="accent6"/>
                </a:solidFill>
                <a:latin typeface="+mn-lt"/>
              </a:rPr>
              <a:t>Last Modified 6/1/2017 9:09 AM Central Standard Time</a:t>
            </a:r>
            <a:endParaRPr lang="x-none" sz="800" baseline="0" noProof="0" dirty="0" smtClean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800" baseline="0" noProof="0" dirty="0" smtClean="0">
                <a:solidFill>
                  <a:schemeClr val="accent6"/>
                </a:solidFill>
                <a:latin typeface="+mn-lt"/>
              </a:rPr>
              <a:t>Printed 2/22/2017 10:36 AM Central Standard Time</a:t>
            </a:r>
            <a:endParaRPr lang="x-none" sz="800" baseline="0" noProof="0" dirty="0" smtClean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400" baseline="0" noProof="0" dirty="0" smtClean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4695716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02084"/>
            <a:ext cx="8802220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15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204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4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5309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22903366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02084"/>
            <a:ext cx="8802220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15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5714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8188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34985307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02084"/>
            <a:ext cx="8802220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15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3153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5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0020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3473048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758331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4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 userDrawn="1">
          <p15:clr>
            <a:srgbClr val="F26B43"/>
          </p15:clr>
        </p15:guide>
        <p15:guide id="2" pos="76" userDrawn="1">
          <p15:clr>
            <a:srgbClr val="F26B43"/>
          </p15:clr>
        </p15:guide>
        <p15:guide id="3" orient="horz" pos="526" userDrawn="1">
          <p15:clr>
            <a:srgbClr val="F26B43"/>
          </p15:clr>
        </p15:guide>
        <p15:guide id="4" orient="horz" pos="2993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02084"/>
            <a:ext cx="8802220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15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6282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5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7169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23838625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02084"/>
            <a:ext cx="8802220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15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5304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39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10699000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02084"/>
            <a:ext cx="8802220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15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957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6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7139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17067038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02084"/>
            <a:ext cx="8802220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15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5868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INTRO OPTION SLIDE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5669" y="-1"/>
            <a:ext cx="9149670" cy="5143501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464911" y="2350414"/>
            <a:ext cx="4107107" cy="98488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3200" b="0" cap="all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4896" y="3418143"/>
            <a:ext cx="4107106" cy="292388"/>
          </a:xfrm>
        </p:spPr>
        <p:txBody>
          <a:bodyPr wrap="square">
            <a:spAutoFit/>
          </a:bodyPr>
          <a:lstStyle>
            <a:lvl1pPr>
              <a:defRPr sz="190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11" name="Title Elements" hidden="1"/>
          <p:cNvGrpSpPr>
            <a:grpSpLocks/>
          </p:cNvGrpSpPr>
          <p:nvPr userDrawn="1"/>
        </p:nvGrpSpPr>
        <p:grpSpPr bwMode="auto">
          <a:xfrm>
            <a:off x="464898" y="4563667"/>
            <a:ext cx="4107106" cy="377805"/>
            <a:chOff x="1663" y="3103"/>
            <a:chExt cx="3109" cy="311"/>
          </a:xfrm>
        </p:grpSpPr>
        <p:sp>
          <p:nvSpPr>
            <p:cNvPr id="12" name="Document type"/>
            <p:cNvSpPr txBox="1">
              <a:spLocks noChangeArrowheads="1"/>
            </p:cNvSpPr>
            <p:nvPr/>
          </p:nvSpPr>
          <p:spPr bwMode="auto">
            <a:xfrm>
              <a:off x="1663" y="3103"/>
              <a:ext cx="3109" cy="1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1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5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1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pic>
        <p:nvPicPr>
          <p:cNvPr id="17" name="Picture 16" descr="texas department of transportation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 bwMode="auto">
          <a:xfrm>
            <a:off x="328100" y="142891"/>
            <a:ext cx="5988607" cy="454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492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8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9166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9648630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02084"/>
            <a:ext cx="8802220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15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0661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1621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42764274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02084"/>
            <a:ext cx="8802220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15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569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9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6843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35070909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02084"/>
            <a:ext cx="8802220" cy="2308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US" sz="15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3673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589201"/>
              </p:ext>
            </p:extLst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7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2/22/2017 10:36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198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9014"/>
            <a:ext cx="880222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02665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7705171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76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3105069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 userDrawn="1">
          <p15:clr>
            <a:srgbClr val="F26B43"/>
          </p15:clr>
        </p15:guide>
        <p15:guide id="2" pos="76" userDrawn="1">
          <p15:clr>
            <a:srgbClr val="F26B43"/>
          </p15:clr>
        </p15:guide>
        <p15:guide id="3" orient="horz" pos="526" userDrawn="1">
          <p15:clr>
            <a:srgbClr val="F26B43"/>
          </p15:clr>
        </p15:guide>
        <p15:guide id="4" orient="horz" pos="2993" userDrawn="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894261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7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 userDrawn="1"/>
        </p:nvSpPr>
        <p:spPr>
          <a:xfrm>
            <a:off x="8719604" y="4924834"/>
            <a:ext cx="213009" cy="11662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BA985903-2DB6-4E43-BF7E-D264D12292A2}" type="slidenum">
              <a:rPr lang="en-US" sz="800" smtClean="0">
                <a:solidFill>
                  <a:srgbClr val="000000"/>
                </a:solidFill>
              </a:rPr>
              <a:pPr/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4144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853053"/>
              </p:ext>
            </p:extLst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2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Disclaimer-English (United States)"/>
          <p:cNvSpPr>
            <a:spLocks noChangeArrowheads="1"/>
          </p:cNvSpPr>
          <p:nvPr userDrawn="1"/>
        </p:nvSpPr>
        <p:spPr bwMode="black">
          <a:xfrm>
            <a:off x="457200" y="4785835"/>
            <a:ext cx="391845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1005938" eaLnBrk="0" hangingPunct="0"/>
            <a:r>
              <a:rPr lang="x-none" sz="700" dirty="0">
                <a:solidFill>
                  <a:srgbClr val="808080"/>
                </a:solidFill>
                <a:latin typeface="Franklin Gothic Book"/>
              </a:rPr>
              <a:t>CONFIDENTIAL </a:t>
            </a:r>
          </a:p>
        </p:txBody>
      </p:sp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816359" hangingPunct="1">
              <a:defRPr lang="x-none"/>
            </a:pPr>
            <a:endParaRPr sz="10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82"/>
            <a:ext cx="1698821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16359" hangingPunct="1">
              <a:defRPr lang="x-none"/>
            </a:pPr>
            <a:r>
              <a:rPr sz="7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9"/>
            <a:ext cx="2861839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16359" hangingPunct="1">
              <a:defRPr lang="x-none"/>
            </a:pPr>
            <a:r>
              <a:rPr lang="en-US" sz="700" smtClean="0">
                <a:solidFill>
                  <a:srgbClr val="808080"/>
                </a:solidFill>
                <a:latin typeface="Franklin Gothic Book"/>
              </a:rPr>
              <a:t>Last Modified 6/1/2017 10:07 AM Central Standard Time</a:t>
            </a:r>
            <a:endParaRPr sz="7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81" y="4974256"/>
            <a:ext cx="271424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16359" hangingPunct="1">
              <a:defRPr lang="x-none"/>
            </a:pPr>
            <a:r>
              <a:rPr lang="en-US" sz="700" smtClean="0">
                <a:solidFill>
                  <a:srgbClr val="808080"/>
                </a:solidFill>
                <a:latin typeface="Franklin Gothic Book"/>
              </a:rPr>
              <a:t>Printed 3/15/2017 12:30 PM Central Standard Time</a:t>
            </a:r>
            <a:endParaRPr sz="7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96888"/>
            <a:ext cx="4191000" cy="923330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0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31"/>
            <a:ext cx="4191000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7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77034"/>
            <a:ext cx="4191000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16359" hangingPunct="1">
              <a:defRPr lang="x-none"/>
            </a:pPr>
            <a:r>
              <a:rPr sz="13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9932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245844"/>
              </p:ext>
            </p:extLst>
          </p:nvPr>
        </p:nvGraphicFramePr>
        <p:xfrm>
          <a:off x="1592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4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78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19031"/>
            <a:endParaRPr lang="x-none" sz="5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21722281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0221" userDrawn="1">
          <p15:clr>
            <a:srgbClr val="F26B43"/>
          </p15:clr>
        </p15:guide>
        <p15:guide id="2" pos="274" userDrawn="1">
          <p15:clr>
            <a:srgbClr val="F26B43"/>
          </p15:clr>
        </p15:guide>
        <p15:guide id="3" orient="horz" pos="2244" userDrawn="1">
          <p15:clr>
            <a:srgbClr val="F26B43"/>
          </p15:clr>
        </p15:guide>
        <p15:guide id="4" orient="horz" pos="12770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96312"/>
            <a:ext cx="8802220" cy="230832"/>
          </a:xfrm>
        </p:spPr>
        <p:txBody>
          <a:bodyPr/>
          <a:lstStyle>
            <a:lvl1pPr>
              <a:defRPr sz="15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773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2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3/29/2017 8:57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0637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9204410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8719604" y="4924834"/>
            <a:ext cx="213009" cy="11662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BA985903-2DB6-4E43-BF7E-D264D12292A2}" type="slidenum">
              <a:rPr lang="en-US" sz="800" smtClean="0">
                <a:solidFill>
                  <a:srgbClr val="000000"/>
                </a:solidFill>
              </a:rPr>
              <a:pPr/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6805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3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Disclaimer-English (United States)"/>
          <p:cNvSpPr>
            <a:spLocks noChangeArrowheads="1"/>
          </p:cNvSpPr>
          <p:nvPr userDrawn="1"/>
        </p:nvSpPr>
        <p:spPr bwMode="black">
          <a:xfrm>
            <a:off x="457200" y="4785834"/>
            <a:ext cx="391845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1072199" eaLnBrk="0" hangingPunct="0"/>
            <a:r>
              <a:rPr lang="x-none" sz="800" dirty="0" smtClean="0">
                <a:solidFill>
                  <a:srgbClr val="808080"/>
                </a:solidFill>
                <a:latin typeface="Franklin Gothic Book"/>
              </a:rPr>
              <a:t>CONFIDENTIAL </a:t>
            </a:r>
            <a:endParaRPr lang="x-none" sz="800" dirty="0">
              <a:solidFill>
                <a:srgbClr val="808080"/>
              </a:solidFill>
              <a:latin typeface="Franklin Gothic Book"/>
            </a:endParaRPr>
          </a:p>
        </p:txBody>
      </p:sp>
      <p:grpSp>
        <p:nvGrpSpPr>
          <p:cNvPr id="2" name="Group 1"/>
          <p:cNvGrpSpPr/>
          <p:nvPr userDrawn="1"/>
        </p:nvGrpSpPr>
        <p:grpSpPr bwMode="ltGray">
          <a:xfrm>
            <a:off x="0" y="0"/>
            <a:ext cx="9148988" cy="5143500"/>
            <a:chOff x="0" y="0"/>
            <a:chExt cx="9148988" cy="5143500"/>
          </a:xfrm>
        </p:grpSpPr>
        <p:pic>
          <p:nvPicPr>
            <p:cNvPr id="11" name="Picture 8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1" t="30400" b="3359"/>
            <a:stretch/>
          </p:blipFill>
          <p:spPr bwMode="ltGray">
            <a:xfrm>
              <a:off x="5681708" y="1069430"/>
              <a:ext cx="3191783" cy="3199936"/>
            </a:xfrm>
            <a:prstGeom prst="rect">
              <a:avLst/>
            </a:prstGeom>
            <a:noFill/>
            <a:ln w="9525" cmpd="sng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\\raapp3\O\Image Library 4\Construction\LBJ Freeway\KBS 2013\CstLBJ_129.jpg"/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4" t="11795" r="8235" b="28594"/>
            <a:stretch/>
          </p:blipFill>
          <p:spPr bwMode="ltGray">
            <a:xfrm>
              <a:off x="3124939" y="1069430"/>
              <a:ext cx="2541613" cy="1173516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pic>
          <p:nvPicPr>
            <p:cNvPr id="13" name="Picture 12" descr="IH35-US290_01.jpeg"/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4" t="6287" r="1445" b="3826"/>
            <a:stretch/>
          </p:blipFill>
          <p:spPr bwMode="ltGray">
            <a:xfrm>
              <a:off x="1197552" y="1069430"/>
              <a:ext cx="1910676" cy="1178043"/>
            </a:xfrm>
            <a:prstGeom prst="rect">
              <a:avLst/>
            </a:prstGeom>
          </p:spPr>
        </p:pic>
        <p:pic>
          <p:nvPicPr>
            <p:cNvPr id="14" name="Picture 13" descr="W7thS_179.jpg"/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6" t="10404" r="9997" b="8898"/>
            <a:stretch/>
          </p:blipFill>
          <p:spPr bwMode="ltGray">
            <a:xfrm>
              <a:off x="483313" y="1074259"/>
              <a:ext cx="709409" cy="116640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15" name="Picture 14" descr="TitleFooterBlueandWhite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4495303"/>
              <a:ext cx="9144000" cy="6481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9148988" cy="699817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hangingPunct="1">
              <a:defRPr lang="x-none"/>
            </a:pPr>
            <a:endParaRPr sz="1100" dirty="0" smtClean="0">
              <a:solidFill>
                <a:srgbClr val="482A06"/>
              </a:solidFill>
              <a:latin typeface="Franklin Gothic Book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6202976" y="4734079"/>
            <a:ext cx="16988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800" b="1" dirty="0" smtClean="0">
                <a:solidFill>
                  <a:srgbClr val="808080"/>
                </a:solidFill>
                <a:latin typeface="Franklin Gothic Book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6202977" y="4854166"/>
            <a:ext cx="286183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6202991" y="4974253"/>
            <a:ext cx="27142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8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8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457200" y="2435331"/>
            <a:ext cx="419100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lang="x-none" sz="32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481010" y="3450445"/>
            <a:ext cx="41910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800" cap="all" baseline="0">
                <a:solidFill>
                  <a:srgbClr val="404040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x-none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57200" y="4161644"/>
            <a:ext cx="4191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sz="1400" dirty="0" smtClean="0">
                <a:solidFill>
                  <a:srgbClr val="808080"/>
                </a:solidFill>
                <a:latin typeface="Franklin Gothic Book"/>
              </a:rPr>
              <a:t>Document type | Dat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3429000"/>
            <a:ext cx="4191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575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image" Target="../media/image3.png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tags" Target="../tags/tag179.xml"/><Relationship Id="rId18" Type="http://schemas.openxmlformats.org/officeDocument/2006/relationships/tags" Target="../tags/tag184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29.xml"/><Relationship Id="rId21" Type="http://schemas.openxmlformats.org/officeDocument/2006/relationships/tags" Target="../tags/tag187.xml"/><Relationship Id="rId7" Type="http://schemas.openxmlformats.org/officeDocument/2006/relationships/tags" Target="../tags/tag173.xml"/><Relationship Id="rId12" Type="http://schemas.openxmlformats.org/officeDocument/2006/relationships/tags" Target="../tags/tag178.xml"/><Relationship Id="rId17" Type="http://schemas.openxmlformats.org/officeDocument/2006/relationships/tags" Target="../tags/tag18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182.xml"/><Relationship Id="rId20" Type="http://schemas.openxmlformats.org/officeDocument/2006/relationships/tags" Target="../tags/tag186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172.xml"/><Relationship Id="rId11" Type="http://schemas.openxmlformats.org/officeDocument/2006/relationships/tags" Target="../tags/tag177.xml"/><Relationship Id="rId24" Type="http://schemas.openxmlformats.org/officeDocument/2006/relationships/oleObject" Target="../embeddings/oleObject20.bin"/><Relationship Id="rId5" Type="http://schemas.openxmlformats.org/officeDocument/2006/relationships/vmlDrawing" Target="../drawings/vmlDrawing20.vml"/><Relationship Id="rId15" Type="http://schemas.openxmlformats.org/officeDocument/2006/relationships/tags" Target="../tags/tag181.xml"/><Relationship Id="rId23" Type="http://schemas.openxmlformats.org/officeDocument/2006/relationships/tags" Target="../tags/tag189.xml"/><Relationship Id="rId10" Type="http://schemas.openxmlformats.org/officeDocument/2006/relationships/tags" Target="../tags/tag176.xml"/><Relationship Id="rId19" Type="http://schemas.openxmlformats.org/officeDocument/2006/relationships/tags" Target="../tags/tag185.xml"/><Relationship Id="rId4" Type="http://schemas.openxmlformats.org/officeDocument/2006/relationships/theme" Target="../theme/theme10.xml"/><Relationship Id="rId9" Type="http://schemas.openxmlformats.org/officeDocument/2006/relationships/tags" Target="../tags/tag175.xml"/><Relationship Id="rId14" Type="http://schemas.openxmlformats.org/officeDocument/2006/relationships/tags" Target="../tags/tag180.xml"/><Relationship Id="rId22" Type="http://schemas.openxmlformats.org/officeDocument/2006/relationships/tags" Target="../tags/tag188.xml"/><Relationship Id="rId27" Type="http://schemas.openxmlformats.org/officeDocument/2006/relationships/image" Target="../media/image3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13" Type="http://schemas.openxmlformats.org/officeDocument/2006/relationships/tags" Target="../tags/tag198.xml"/><Relationship Id="rId18" Type="http://schemas.openxmlformats.org/officeDocument/2006/relationships/tags" Target="../tags/tag203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206.xml"/><Relationship Id="rId7" Type="http://schemas.openxmlformats.org/officeDocument/2006/relationships/tags" Target="../tags/tag192.xml"/><Relationship Id="rId12" Type="http://schemas.openxmlformats.org/officeDocument/2006/relationships/tags" Target="../tags/tag197.xml"/><Relationship Id="rId17" Type="http://schemas.openxmlformats.org/officeDocument/2006/relationships/tags" Target="../tags/tag20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201.xml"/><Relationship Id="rId20" Type="http://schemas.openxmlformats.org/officeDocument/2006/relationships/tags" Target="../tags/tag205.xml"/><Relationship Id="rId1" Type="http://schemas.openxmlformats.org/officeDocument/2006/relationships/slideLayout" Target="../slideLayouts/slideLayout30.xml"/><Relationship Id="rId6" Type="http://schemas.openxmlformats.org/officeDocument/2006/relationships/tags" Target="../tags/tag191.xml"/><Relationship Id="rId11" Type="http://schemas.openxmlformats.org/officeDocument/2006/relationships/tags" Target="../tags/tag196.xml"/><Relationship Id="rId24" Type="http://schemas.openxmlformats.org/officeDocument/2006/relationships/oleObject" Target="../embeddings/oleObject22.bin"/><Relationship Id="rId5" Type="http://schemas.openxmlformats.org/officeDocument/2006/relationships/vmlDrawing" Target="../drawings/vmlDrawing22.vml"/><Relationship Id="rId15" Type="http://schemas.openxmlformats.org/officeDocument/2006/relationships/tags" Target="../tags/tag200.xml"/><Relationship Id="rId23" Type="http://schemas.openxmlformats.org/officeDocument/2006/relationships/tags" Target="../tags/tag208.xml"/><Relationship Id="rId10" Type="http://schemas.openxmlformats.org/officeDocument/2006/relationships/tags" Target="../tags/tag195.xml"/><Relationship Id="rId19" Type="http://schemas.openxmlformats.org/officeDocument/2006/relationships/tags" Target="../tags/tag204.xml"/><Relationship Id="rId4" Type="http://schemas.openxmlformats.org/officeDocument/2006/relationships/theme" Target="../theme/theme11.xml"/><Relationship Id="rId9" Type="http://schemas.openxmlformats.org/officeDocument/2006/relationships/tags" Target="../tags/tag194.xml"/><Relationship Id="rId14" Type="http://schemas.openxmlformats.org/officeDocument/2006/relationships/tags" Target="../tags/tag199.xml"/><Relationship Id="rId22" Type="http://schemas.openxmlformats.org/officeDocument/2006/relationships/tags" Target="../tags/tag207.xml"/><Relationship Id="rId27" Type="http://schemas.openxmlformats.org/officeDocument/2006/relationships/image" Target="../media/image3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tags" Target="../tags/tag217.xml"/><Relationship Id="rId18" Type="http://schemas.openxmlformats.org/officeDocument/2006/relationships/tags" Target="../tags/tag222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225.xml"/><Relationship Id="rId7" Type="http://schemas.openxmlformats.org/officeDocument/2006/relationships/tags" Target="../tags/tag211.xml"/><Relationship Id="rId12" Type="http://schemas.openxmlformats.org/officeDocument/2006/relationships/tags" Target="../tags/tag216.xml"/><Relationship Id="rId17" Type="http://schemas.openxmlformats.org/officeDocument/2006/relationships/tags" Target="../tags/tag22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220.xml"/><Relationship Id="rId20" Type="http://schemas.openxmlformats.org/officeDocument/2006/relationships/tags" Target="../tags/tag224.xml"/><Relationship Id="rId1" Type="http://schemas.openxmlformats.org/officeDocument/2006/relationships/slideLayout" Target="../slideLayouts/slideLayout33.x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24" Type="http://schemas.openxmlformats.org/officeDocument/2006/relationships/oleObject" Target="../embeddings/oleObject24.bin"/><Relationship Id="rId5" Type="http://schemas.openxmlformats.org/officeDocument/2006/relationships/vmlDrawing" Target="../drawings/vmlDrawing24.vml"/><Relationship Id="rId15" Type="http://schemas.openxmlformats.org/officeDocument/2006/relationships/tags" Target="../tags/tag219.xml"/><Relationship Id="rId23" Type="http://schemas.openxmlformats.org/officeDocument/2006/relationships/tags" Target="../tags/tag227.xml"/><Relationship Id="rId10" Type="http://schemas.openxmlformats.org/officeDocument/2006/relationships/tags" Target="../tags/tag214.xml"/><Relationship Id="rId19" Type="http://schemas.openxmlformats.org/officeDocument/2006/relationships/tags" Target="../tags/tag223.xml"/><Relationship Id="rId4" Type="http://schemas.openxmlformats.org/officeDocument/2006/relationships/theme" Target="../theme/theme12.xml"/><Relationship Id="rId9" Type="http://schemas.openxmlformats.org/officeDocument/2006/relationships/tags" Target="../tags/tag213.xml"/><Relationship Id="rId14" Type="http://schemas.openxmlformats.org/officeDocument/2006/relationships/tags" Target="../tags/tag218.xml"/><Relationship Id="rId22" Type="http://schemas.openxmlformats.org/officeDocument/2006/relationships/tags" Target="../tags/tag226.xml"/><Relationship Id="rId27" Type="http://schemas.openxmlformats.org/officeDocument/2006/relationships/image" Target="../media/image3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13" Type="http://schemas.openxmlformats.org/officeDocument/2006/relationships/tags" Target="../tags/tag236.xml"/><Relationship Id="rId18" Type="http://schemas.openxmlformats.org/officeDocument/2006/relationships/tags" Target="../tags/tag241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8.xml"/><Relationship Id="rId21" Type="http://schemas.openxmlformats.org/officeDocument/2006/relationships/tags" Target="../tags/tag244.xml"/><Relationship Id="rId7" Type="http://schemas.openxmlformats.org/officeDocument/2006/relationships/tags" Target="../tags/tag230.xml"/><Relationship Id="rId12" Type="http://schemas.openxmlformats.org/officeDocument/2006/relationships/tags" Target="../tags/tag235.xml"/><Relationship Id="rId17" Type="http://schemas.openxmlformats.org/officeDocument/2006/relationships/tags" Target="../tags/tag24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239.xml"/><Relationship Id="rId20" Type="http://schemas.openxmlformats.org/officeDocument/2006/relationships/tags" Target="../tags/tag243.xml"/><Relationship Id="rId1" Type="http://schemas.openxmlformats.org/officeDocument/2006/relationships/slideLayout" Target="../slideLayouts/slideLayout36.xml"/><Relationship Id="rId6" Type="http://schemas.openxmlformats.org/officeDocument/2006/relationships/tags" Target="../tags/tag229.xml"/><Relationship Id="rId11" Type="http://schemas.openxmlformats.org/officeDocument/2006/relationships/tags" Target="../tags/tag234.xml"/><Relationship Id="rId24" Type="http://schemas.openxmlformats.org/officeDocument/2006/relationships/oleObject" Target="../embeddings/oleObject26.bin"/><Relationship Id="rId5" Type="http://schemas.openxmlformats.org/officeDocument/2006/relationships/vmlDrawing" Target="../drawings/vmlDrawing26.vml"/><Relationship Id="rId15" Type="http://schemas.openxmlformats.org/officeDocument/2006/relationships/tags" Target="../tags/tag238.xml"/><Relationship Id="rId23" Type="http://schemas.openxmlformats.org/officeDocument/2006/relationships/tags" Target="../tags/tag246.xml"/><Relationship Id="rId10" Type="http://schemas.openxmlformats.org/officeDocument/2006/relationships/tags" Target="../tags/tag233.xml"/><Relationship Id="rId19" Type="http://schemas.openxmlformats.org/officeDocument/2006/relationships/tags" Target="../tags/tag242.xml"/><Relationship Id="rId4" Type="http://schemas.openxmlformats.org/officeDocument/2006/relationships/theme" Target="../theme/theme13.xml"/><Relationship Id="rId9" Type="http://schemas.openxmlformats.org/officeDocument/2006/relationships/tags" Target="../tags/tag232.xml"/><Relationship Id="rId14" Type="http://schemas.openxmlformats.org/officeDocument/2006/relationships/tags" Target="../tags/tag237.xml"/><Relationship Id="rId22" Type="http://schemas.openxmlformats.org/officeDocument/2006/relationships/tags" Target="../tags/tag245.xml"/><Relationship Id="rId27" Type="http://schemas.openxmlformats.org/officeDocument/2006/relationships/image" Target="../media/image3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50.xml"/><Relationship Id="rId13" Type="http://schemas.openxmlformats.org/officeDocument/2006/relationships/tags" Target="../tags/tag255.xml"/><Relationship Id="rId18" Type="http://schemas.openxmlformats.org/officeDocument/2006/relationships/tags" Target="../tags/tag260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263.xml"/><Relationship Id="rId7" Type="http://schemas.openxmlformats.org/officeDocument/2006/relationships/tags" Target="../tags/tag249.xml"/><Relationship Id="rId12" Type="http://schemas.openxmlformats.org/officeDocument/2006/relationships/tags" Target="../tags/tag254.xml"/><Relationship Id="rId17" Type="http://schemas.openxmlformats.org/officeDocument/2006/relationships/tags" Target="../tags/tag25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258.xml"/><Relationship Id="rId20" Type="http://schemas.openxmlformats.org/officeDocument/2006/relationships/tags" Target="../tags/tag262.xml"/><Relationship Id="rId1" Type="http://schemas.openxmlformats.org/officeDocument/2006/relationships/slideLayout" Target="../slideLayouts/slideLayout39.xml"/><Relationship Id="rId6" Type="http://schemas.openxmlformats.org/officeDocument/2006/relationships/tags" Target="../tags/tag248.xml"/><Relationship Id="rId11" Type="http://schemas.openxmlformats.org/officeDocument/2006/relationships/tags" Target="../tags/tag253.xml"/><Relationship Id="rId24" Type="http://schemas.openxmlformats.org/officeDocument/2006/relationships/oleObject" Target="../embeddings/oleObject28.bin"/><Relationship Id="rId5" Type="http://schemas.openxmlformats.org/officeDocument/2006/relationships/vmlDrawing" Target="../drawings/vmlDrawing28.vml"/><Relationship Id="rId15" Type="http://schemas.openxmlformats.org/officeDocument/2006/relationships/tags" Target="../tags/tag257.xml"/><Relationship Id="rId23" Type="http://schemas.openxmlformats.org/officeDocument/2006/relationships/tags" Target="../tags/tag265.xml"/><Relationship Id="rId10" Type="http://schemas.openxmlformats.org/officeDocument/2006/relationships/tags" Target="../tags/tag252.xml"/><Relationship Id="rId19" Type="http://schemas.openxmlformats.org/officeDocument/2006/relationships/tags" Target="../tags/tag261.xml"/><Relationship Id="rId4" Type="http://schemas.openxmlformats.org/officeDocument/2006/relationships/theme" Target="../theme/theme14.xml"/><Relationship Id="rId9" Type="http://schemas.openxmlformats.org/officeDocument/2006/relationships/tags" Target="../tags/tag251.xml"/><Relationship Id="rId14" Type="http://schemas.openxmlformats.org/officeDocument/2006/relationships/tags" Target="../tags/tag256.xml"/><Relationship Id="rId22" Type="http://schemas.openxmlformats.org/officeDocument/2006/relationships/tags" Target="../tags/tag264.xml"/><Relationship Id="rId27" Type="http://schemas.openxmlformats.org/officeDocument/2006/relationships/image" Target="../media/image3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tags" Target="../tags/tag277.xml"/><Relationship Id="rId18" Type="http://schemas.openxmlformats.org/officeDocument/2006/relationships/tags" Target="../tags/tag282.xml"/><Relationship Id="rId26" Type="http://schemas.openxmlformats.org/officeDocument/2006/relationships/image" Target="../media/image3.png"/><Relationship Id="rId3" Type="http://schemas.openxmlformats.org/officeDocument/2006/relationships/theme" Target="../theme/theme15.xml"/><Relationship Id="rId21" Type="http://schemas.openxmlformats.org/officeDocument/2006/relationships/tags" Target="../tags/tag285.xml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tags" Target="../tags/tag28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280.xml"/><Relationship Id="rId20" Type="http://schemas.openxmlformats.org/officeDocument/2006/relationships/tags" Target="../tags/tag284.xml"/><Relationship Id="rId1" Type="http://schemas.openxmlformats.org/officeDocument/2006/relationships/slideLayout" Target="../slideLayouts/slideLayout42.x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24" Type="http://schemas.openxmlformats.org/officeDocument/2006/relationships/image" Target="../media/image1.emf"/><Relationship Id="rId5" Type="http://schemas.openxmlformats.org/officeDocument/2006/relationships/tags" Target="../tags/tag269.xml"/><Relationship Id="rId15" Type="http://schemas.openxmlformats.org/officeDocument/2006/relationships/tags" Target="../tags/tag279.xml"/><Relationship Id="rId23" Type="http://schemas.openxmlformats.org/officeDocument/2006/relationships/oleObject" Target="../embeddings/oleObject32.bin"/><Relationship Id="rId10" Type="http://schemas.openxmlformats.org/officeDocument/2006/relationships/tags" Target="../tags/tag274.xml"/><Relationship Id="rId19" Type="http://schemas.openxmlformats.org/officeDocument/2006/relationships/tags" Target="../tags/tag283.xml"/><Relationship Id="rId4" Type="http://schemas.openxmlformats.org/officeDocument/2006/relationships/vmlDrawing" Target="../drawings/vmlDrawing32.vml"/><Relationship Id="rId9" Type="http://schemas.openxmlformats.org/officeDocument/2006/relationships/tags" Target="../tags/tag273.xml"/><Relationship Id="rId14" Type="http://schemas.openxmlformats.org/officeDocument/2006/relationships/tags" Target="../tags/tag278.xml"/><Relationship Id="rId22" Type="http://schemas.openxmlformats.org/officeDocument/2006/relationships/tags" Target="../tags/tag28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12.jpeg"/><Relationship Id="rId5" Type="http://schemas.openxmlformats.org/officeDocument/2006/relationships/vmlDrawing" Target="../drawings/vmlDrawing4.vml"/><Relationship Id="rId15" Type="http://schemas.openxmlformats.org/officeDocument/2006/relationships/tags" Target="../tags/tag31.xml"/><Relationship Id="rId23" Type="http://schemas.openxmlformats.org/officeDocument/2006/relationships/image" Target="../media/image1.emf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theme" Target="../theme/theme2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54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oleObject" Target="../embeddings/oleObject6.bin"/><Relationship Id="rId5" Type="http://schemas.openxmlformats.org/officeDocument/2006/relationships/vmlDrawing" Target="../drawings/vmlDrawing6.v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4" Type="http://schemas.openxmlformats.org/officeDocument/2006/relationships/theme" Target="../theme/theme3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73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68.xml"/><Relationship Id="rId20" Type="http://schemas.openxmlformats.org/officeDocument/2006/relationships/tags" Target="../tags/tag72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oleObject" Target="../embeddings/oleObject8.bin"/><Relationship Id="rId5" Type="http://schemas.openxmlformats.org/officeDocument/2006/relationships/vmlDrawing" Target="../drawings/vmlDrawing8.vml"/><Relationship Id="rId15" Type="http://schemas.openxmlformats.org/officeDocument/2006/relationships/tags" Target="../tags/tag67.xml"/><Relationship Id="rId23" Type="http://schemas.openxmlformats.org/officeDocument/2006/relationships/tags" Target="../tags/tag75.xml"/><Relationship Id="rId10" Type="http://schemas.openxmlformats.org/officeDocument/2006/relationships/tags" Target="../tags/tag62.xml"/><Relationship Id="rId19" Type="http://schemas.openxmlformats.org/officeDocument/2006/relationships/tags" Target="../tags/tag71.xml"/><Relationship Id="rId4" Type="http://schemas.openxmlformats.org/officeDocument/2006/relationships/theme" Target="../theme/theme4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tags" Target="../tags/tag74.xml"/><Relationship Id="rId27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92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oleObject" Target="../embeddings/oleObject10.bin"/><Relationship Id="rId5" Type="http://schemas.openxmlformats.org/officeDocument/2006/relationships/vmlDrawing" Target="../drawings/vmlDrawing10.vml"/><Relationship Id="rId15" Type="http://schemas.openxmlformats.org/officeDocument/2006/relationships/tags" Target="../tags/tag86.xml"/><Relationship Id="rId23" Type="http://schemas.openxmlformats.org/officeDocument/2006/relationships/tags" Target="../tags/tag94.xml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4" Type="http://schemas.openxmlformats.org/officeDocument/2006/relationships/theme" Target="../theme/theme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tags" Target="../tags/tag93.xml"/><Relationship Id="rId27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111.xml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24" Type="http://schemas.openxmlformats.org/officeDocument/2006/relationships/oleObject" Target="../embeddings/oleObject12.bin"/><Relationship Id="rId5" Type="http://schemas.openxmlformats.org/officeDocument/2006/relationships/vmlDrawing" Target="../drawings/vmlDrawing12.vml"/><Relationship Id="rId15" Type="http://schemas.openxmlformats.org/officeDocument/2006/relationships/tags" Target="../tags/tag105.xml"/><Relationship Id="rId23" Type="http://schemas.openxmlformats.org/officeDocument/2006/relationships/tags" Target="../tags/tag113.xml"/><Relationship Id="rId10" Type="http://schemas.openxmlformats.org/officeDocument/2006/relationships/tags" Target="../tags/tag100.xml"/><Relationship Id="rId19" Type="http://schemas.openxmlformats.org/officeDocument/2006/relationships/tags" Target="../tags/tag109.xml"/><Relationship Id="rId4" Type="http://schemas.openxmlformats.org/officeDocument/2006/relationships/theme" Target="../theme/theme6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tags" Target="../tags/tag112.xml"/><Relationship Id="rId27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tags" Target="../tags/tag127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130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25.xml"/><Relationship Id="rId20" Type="http://schemas.openxmlformats.org/officeDocument/2006/relationships/tags" Target="../tags/tag12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24" Type="http://schemas.openxmlformats.org/officeDocument/2006/relationships/oleObject" Target="../embeddings/oleObject14.bin"/><Relationship Id="rId5" Type="http://schemas.openxmlformats.org/officeDocument/2006/relationships/vmlDrawing" Target="../drawings/vmlDrawing14.vml"/><Relationship Id="rId15" Type="http://schemas.openxmlformats.org/officeDocument/2006/relationships/tags" Target="../tags/tag124.xml"/><Relationship Id="rId23" Type="http://schemas.openxmlformats.org/officeDocument/2006/relationships/tags" Target="../tags/tag132.xml"/><Relationship Id="rId10" Type="http://schemas.openxmlformats.org/officeDocument/2006/relationships/tags" Target="../tags/tag119.xml"/><Relationship Id="rId19" Type="http://schemas.openxmlformats.org/officeDocument/2006/relationships/tags" Target="../tags/tag128.xml"/><Relationship Id="rId4" Type="http://schemas.openxmlformats.org/officeDocument/2006/relationships/theme" Target="../theme/theme7.xml"/><Relationship Id="rId9" Type="http://schemas.openxmlformats.org/officeDocument/2006/relationships/tags" Target="../tags/tag118.xml"/><Relationship Id="rId14" Type="http://schemas.openxmlformats.org/officeDocument/2006/relationships/tags" Target="../tags/tag123.xml"/><Relationship Id="rId22" Type="http://schemas.openxmlformats.org/officeDocument/2006/relationships/tags" Target="../tags/tag131.xml"/><Relationship Id="rId27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149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oleObject" Target="../embeddings/oleObject16.bin"/><Relationship Id="rId5" Type="http://schemas.openxmlformats.org/officeDocument/2006/relationships/vmlDrawing" Target="../drawings/vmlDrawing16.v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4" Type="http://schemas.openxmlformats.org/officeDocument/2006/relationships/theme" Target="../theme/theme8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tags" Target="../tags/tag160.xml"/><Relationship Id="rId18" Type="http://schemas.openxmlformats.org/officeDocument/2006/relationships/tags" Target="../tags/tag165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168.xml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17" Type="http://schemas.openxmlformats.org/officeDocument/2006/relationships/tags" Target="../tags/tag16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163.xml"/><Relationship Id="rId20" Type="http://schemas.openxmlformats.org/officeDocument/2006/relationships/tags" Target="../tags/tag167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24" Type="http://schemas.openxmlformats.org/officeDocument/2006/relationships/oleObject" Target="../embeddings/oleObject18.bin"/><Relationship Id="rId5" Type="http://schemas.openxmlformats.org/officeDocument/2006/relationships/vmlDrawing" Target="../drawings/vmlDrawing18.vml"/><Relationship Id="rId15" Type="http://schemas.openxmlformats.org/officeDocument/2006/relationships/tags" Target="../tags/tag162.xml"/><Relationship Id="rId23" Type="http://schemas.openxmlformats.org/officeDocument/2006/relationships/tags" Target="../tags/tag170.xml"/><Relationship Id="rId10" Type="http://schemas.openxmlformats.org/officeDocument/2006/relationships/tags" Target="../tags/tag157.xml"/><Relationship Id="rId19" Type="http://schemas.openxmlformats.org/officeDocument/2006/relationships/tags" Target="../tags/tag166.xml"/><Relationship Id="rId4" Type="http://schemas.openxmlformats.org/officeDocument/2006/relationships/theme" Target="../theme/theme9.xml"/><Relationship Id="rId9" Type="http://schemas.openxmlformats.org/officeDocument/2006/relationships/tags" Target="../tags/tag156.xml"/><Relationship Id="rId14" Type="http://schemas.openxmlformats.org/officeDocument/2006/relationships/tags" Target="../tags/tag161.xml"/><Relationship Id="rId22" Type="http://schemas.openxmlformats.org/officeDocument/2006/relationships/tags" Target="../tags/tag169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38142911"/>
              </p:ext>
            </p:extLst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17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00" b="0" i="0" baseline="0" dirty="0" smtClean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600" baseline="0" noProof="0" smtClean="0">
                <a:solidFill>
                  <a:schemeClr val="accent6"/>
                </a:solidFill>
                <a:latin typeface="+mn-lt"/>
                <a:ea typeface="+mn-ea"/>
              </a:rPr>
              <a:t>Last Modified 6/1/2017 9:09 AM Central Standard Time</a:t>
            </a:r>
            <a:endParaRPr lang="x-none" sz="600" baseline="0" noProof="0" dirty="0" smtClean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600" baseline="0" noProof="0" dirty="0" smtClean="0">
                <a:solidFill>
                  <a:schemeClr val="accent6"/>
                </a:solidFill>
                <a:latin typeface="+mn-lt"/>
                <a:ea typeface="+mn-ea"/>
              </a:rPr>
              <a:t>Printed 2/22/2017 10:36 AM Central Standard Time</a:t>
            </a:r>
            <a:endParaRPr lang="x-none" sz="600" baseline="0" noProof="0" dirty="0" smtClean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lang="x-none" sz="800" baseline="0" noProof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>
                <a:tabLst/>
              </a:pPr>
              <a:r>
                <a:rPr lang="x-none" sz="800" baseline="0" noProof="0" dirty="0" smtClean="0">
                  <a:solidFill>
                    <a:schemeClr val="bg1"/>
                  </a:solidFill>
                  <a:latin typeface="+mn-lt"/>
                  <a:ea typeface="+mn-ea"/>
                </a:rPr>
                <a:t>SOURCE </a:t>
              </a:r>
              <a:r>
                <a:rPr lang="x-none" sz="800" baseline="0" noProof="0" dirty="0">
                  <a:solidFill>
                    <a:schemeClr val="bg1"/>
                  </a:solidFill>
                  <a:latin typeface="+mn-lt"/>
                  <a:ea typeface="+mn-ea"/>
                </a:rPr>
                <a:t>: </a:t>
              </a:r>
              <a:r>
                <a:rPr lang="x-none" sz="800" baseline="0" noProof="0" dirty="0" smtClean="0">
                  <a:solidFill>
                    <a:schemeClr val="bg1"/>
                  </a:solidFill>
                  <a:latin typeface="+mn-lt"/>
                  <a:ea typeface="+mn-ea"/>
                </a:rPr>
                <a:t>Sourc</a:t>
              </a:r>
              <a:r>
                <a:rPr lang="en-US" sz="800" baseline="0" noProof="0" dirty="0" smtClean="0">
                  <a:solidFill>
                    <a:schemeClr val="bg1"/>
                  </a:solidFill>
                  <a:latin typeface="+mn-lt"/>
                  <a:ea typeface="+mn-ea"/>
                </a:rPr>
                <a:t>e</a:t>
              </a:r>
              <a:endParaRPr lang="x-none" sz="800" baseline="0" noProof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chemeClr val="tx2"/>
                </a:buClr>
              </a:pPr>
              <a:r>
                <a:rPr lang="x-none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x-none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2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chemeClr val="tx2"/>
                </a:buClr>
              </a:pPr>
              <a:r>
                <a:rPr lang="x-none" sz="1200" baseline="0" dirty="0" smtClean="0">
                  <a:latin typeface="+mn-lt"/>
                  <a:ea typeface="+mn-ea"/>
                </a:rPr>
                <a:t>Legend</a:t>
              </a:r>
              <a:endParaRPr lang="x-none" sz="1200" baseline="0" dirty="0">
                <a:latin typeface="+mn-lt"/>
                <a:ea typeface="+mn-ea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7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x-none" sz="800" smtClean="0">
                <a:solidFill>
                  <a:schemeClr val="bg1"/>
                </a:solidFill>
              </a:rPr>
              <a:pPr lvl="0" algn="r"/>
              <a:t>‹#›</a:t>
            </a:fld>
            <a:endParaRPr lang="x-none" sz="80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 userDrawn="1">
          <p15:clr>
            <a:srgbClr val="F26B43"/>
          </p15:clr>
        </p15:guide>
        <p15:guide id="2" pos="5616" userDrawn="1">
          <p15:clr>
            <a:srgbClr val="F26B43"/>
          </p15:clr>
        </p15:guide>
        <p15:guide id="3" orient="horz" pos="344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5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385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34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82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692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344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7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18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344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92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627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344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18431846"/>
              </p:ext>
            </p:extLst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72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2/22/2017 10:36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465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 userDrawn="1">
          <p15:clr>
            <a:srgbClr val="F26B43"/>
          </p15:clr>
        </p15:guide>
        <p15:guide id="2" pos="5616" userDrawn="1">
          <p15:clr>
            <a:srgbClr val="F26B43"/>
          </p15:clr>
        </p15:guide>
        <p15:guide id="3" orient="horz" pos="344" userDrawn="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39140238"/>
              </p:ext>
            </p:extLst>
          </p:nvPr>
        </p:nvGraphicFramePr>
        <p:xfrm>
          <a:off x="0" y="4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25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4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4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16359"/>
            <a:endParaRPr lang="x-none" sz="2000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82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78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19031"/>
            <a:endParaRPr lang="x-none" sz="5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288861" y="1481867"/>
            <a:ext cx="156773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16359" hangingPunct="1">
              <a:defRPr lang="x-none"/>
            </a:pPr>
            <a:r>
              <a:rPr lang="en-US" sz="500" smtClean="0">
                <a:solidFill>
                  <a:srgbClr val="808080"/>
                </a:solidFill>
                <a:latin typeface="Franklin Gothic Book"/>
              </a:rPr>
              <a:t>Last Modified 6/1/2017 10:07 AM Central Standard Time</a:t>
            </a:r>
            <a:endParaRPr sz="5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356988" y="3145352"/>
            <a:ext cx="143148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16359" hangingPunct="1">
              <a:defRPr lang="x-none"/>
            </a:pPr>
            <a:r>
              <a:rPr lang="en-US" sz="500" smtClean="0">
                <a:solidFill>
                  <a:srgbClr val="808080"/>
                </a:solidFill>
                <a:latin typeface="Franklin Gothic Book"/>
              </a:rPr>
              <a:t>Printed 3/15/2017 12:30 PM Central Standard Time</a:t>
            </a:r>
            <a:endParaRPr sz="5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83"/>
            <a:ext cx="872484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8"/>
            <a:ext cx="35747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16359"/>
            <a:r>
              <a:rPr lang="x-none" sz="7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50"/>
            <a:ext cx="8724842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5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96156"/>
            <a:ext cx="8724842" cy="430194"/>
            <a:chOff x="161984" y="4596158"/>
            <a:chExt cx="8724842" cy="430194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96158"/>
              <a:ext cx="8724842" cy="1077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0352" indent="-80352">
                <a:defRPr lang="x-none"/>
              </a:pPr>
              <a:r>
                <a:rPr sz="7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8630"/>
              <a:ext cx="8658166" cy="1077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10703" indent="-410703" defTabSz="1119031"/>
              <a:r>
                <a:rPr lang="x-none" sz="700" dirty="0">
                  <a:solidFill>
                    <a:srgbClr val="FFFFFF"/>
                  </a:solidFill>
                  <a:latin typeface="Franklin Gothic Book"/>
                </a:rPr>
                <a:t>SOURCE : Sourc</a:t>
              </a:r>
              <a:r>
                <a:rPr lang="en-US" sz="700" dirty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7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1541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70019"/>
            <a:ext cx="4350891" cy="479853"/>
            <a:chOff x="915" y="635"/>
            <a:chExt cx="2686" cy="39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35"/>
              <a:ext cx="2686" cy="3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16359"/>
              <a:r>
                <a:rPr lang="x-none" sz="15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pPr defTabSz="816359"/>
              <a:r>
                <a:rPr lang="x-none" sz="15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89579" y="572828"/>
            <a:ext cx="356315" cy="135422"/>
            <a:chOff x="8391576" y="285750"/>
            <a:chExt cx="349199" cy="17696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576" y="285750"/>
              <a:ext cx="349199" cy="1769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19031">
                <a:buClr>
                  <a:srgbClr val="0A1B2B"/>
                </a:buClr>
              </a:pPr>
              <a:r>
                <a:rPr lang="x-none" sz="700" dirty="0">
                  <a:solidFill>
                    <a:srgbClr val="808080"/>
                  </a:solidFill>
                  <a:latin typeface="Franklin Gothic Book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576" y="285750"/>
              <a:ext cx="0" cy="17696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576" y="462718"/>
              <a:ext cx="349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11" y="567967"/>
            <a:ext cx="672067" cy="806652"/>
            <a:chOff x="7835905" y="279400"/>
            <a:chExt cx="878240" cy="1054122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16359"/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16359"/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16359"/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16359"/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40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40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40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3"/>
              <a:ext cx="624240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874" y="567966"/>
            <a:ext cx="907744" cy="602562"/>
            <a:chOff x="7540629" y="279400"/>
            <a:chExt cx="1186212" cy="78741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16359"/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16359"/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16359"/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624237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1"/>
              <a:ext cx="624237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0"/>
              <a:ext cx="624237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03" y="546102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16359"/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16359"/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16359"/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16359"/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16359"/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16359"/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16359"/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16359"/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16359"/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16359"/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39231">
                <a:buClr>
                  <a:srgbClr val="0A1B2B"/>
                </a:buClr>
              </a:pPr>
              <a:r>
                <a:rPr lang="x-none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sp>
        <p:nvSpPr>
          <p:cNvPr id="65" name="Rectangle 64"/>
          <p:cNvSpPr/>
          <p:nvPr userDrawn="1">
            <p:custDataLst>
              <p:tags r:id="rId7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805" tIns="11903" rIns="23805" bIns="11903" rtlCol="0" anchor="ctr"/>
          <a:lstStyle/>
          <a:p>
            <a:pPr algn="ctr" defTabSz="816359"/>
            <a:endParaRPr lang="en-GB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76941" y="4929903"/>
            <a:ext cx="91371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 defTabSz="816359"/>
            <a:fld id="{42C328C1-A84F-4A39-A664-DBA00541A8C6}" type="slidenum">
              <a:rPr sz="700" smtClean="0">
                <a:solidFill>
                  <a:srgbClr val="FFFFFF"/>
                </a:solidFill>
              </a:rPr>
              <a:pPr algn="r" defTabSz="816359"/>
              <a:t>‹#›</a:t>
            </a:fld>
            <a:endParaRPr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188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19031" rtl="0" eaLnBrk="1" fontAlgn="base" hangingPunct="1">
        <a:spcBef>
          <a:spcPct val="0"/>
        </a:spcBef>
        <a:spcAft>
          <a:spcPct val="0"/>
        </a:spcAft>
        <a:tabLst>
          <a:tab pos="337297" algn="l"/>
        </a:tabLst>
        <a:defRPr lang="x-none" sz="19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19031" rtl="0" eaLnBrk="1" fontAlgn="base" hangingPunct="1">
        <a:spcBef>
          <a:spcPct val="0"/>
        </a:spcBef>
        <a:spcAft>
          <a:spcPct val="0"/>
        </a:spcAft>
        <a:defRPr lang="x-none" sz="2400" b="1">
          <a:solidFill>
            <a:schemeClr val="tx2"/>
          </a:solidFill>
          <a:latin typeface="Arial" charset="0"/>
        </a:defRPr>
      </a:lvl2pPr>
      <a:lvl3pPr algn="l" defTabSz="1119031" rtl="0" eaLnBrk="1" fontAlgn="base" hangingPunct="1">
        <a:spcBef>
          <a:spcPct val="0"/>
        </a:spcBef>
        <a:spcAft>
          <a:spcPct val="0"/>
        </a:spcAft>
        <a:defRPr lang="x-none" sz="2400" b="1">
          <a:solidFill>
            <a:schemeClr val="tx2"/>
          </a:solidFill>
          <a:latin typeface="Arial" charset="0"/>
        </a:defRPr>
      </a:lvl3pPr>
      <a:lvl4pPr algn="l" defTabSz="1119031" rtl="0" eaLnBrk="1" fontAlgn="base" hangingPunct="1">
        <a:spcBef>
          <a:spcPct val="0"/>
        </a:spcBef>
        <a:spcAft>
          <a:spcPct val="0"/>
        </a:spcAft>
        <a:defRPr lang="x-none" sz="2400" b="1">
          <a:solidFill>
            <a:schemeClr val="tx2"/>
          </a:solidFill>
          <a:latin typeface="Arial" charset="0"/>
        </a:defRPr>
      </a:lvl4pPr>
      <a:lvl5pPr algn="l" defTabSz="1119031" rtl="0" eaLnBrk="1" fontAlgn="base" hangingPunct="1">
        <a:spcBef>
          <a:spcPct val="0"/>
        </a:spcBef>
        <a:spcAft>
          <a:spcPct val="0"/>
        </a:spcAft>
        <a:defRPr lang="x-none" sz="2400" b="1">
          <a:solidFill>
            <a:schemeClr val="tx2"/>
          </a:solidFill>
          <a:latin typeface="Arial" charset="0"/>
        </a:defRPr>
      </a:lvl5pPr>
      <a:lvl6pPr marL="571420" algn="l" defTabSz="1119031" rtl="0" eaLnBrk="1" fontAlgn="base" hangingPunct="1">
        <a:spcBef>
          <a:spcPct val="0"/>
        </a:spcBef>
        <a:spcAft>
          <a:spcPct val="0"/>
        </a:spcAft>
        <a:defRPr lang="x-none" sz="2400" b="1">
          <a:solidFill>
            <a:schemeClr val="tx2"/>
          </a:solidFill>
          <a:latin typeface="Arial" charset="0"/>
        </a:defRPr>
      </a:lvl6pPr>
      <a:lvl7pPr marL="1142840" algn="l" defTabSz="1119031" rtl="0" eaLnBrk="1" fontAlgn="base" hangingPunct="1">
        <a:spcBef>
          <a:spcPct val="0"/>
        </a:spcBef>
        <a:spcAft>
          <a:spcPct val="0"/>
        </a:spcAft>
        <a:defRPr lang="x-none" sz="2400" b="1">
          <a:solidFill>
            <a:schemeClr val="tx2"/>
          </a:solidFill>
          <a:latin typeface="Arial" charset="0"/>
        </a:defRPr>
      </a:lvl7pPr>
      <a:lvl8pPr marL="1714258" algn="l" defTabSz="1119031" rtl="0" eaLnBrk="1" fontAlgn="base" hangingPunct="1">
        <a:spcBef>
          <a:spcPct val="0"/>
        </a:spcBef>
        <a:spcAft>
          <a:spcPct val="0"/>
        </a:spcAft>
        <a:defRPr lang="x-none" sz="2400" b="1">
          <a:solidFill>
            <a:schemeClr val="tx2"/>
          </a:solidFill>
          <a:latin typeface="Arial" charset="0"/>
        </a:defRPr>
      </a:lvl8pPr>
      <a:lvl9pPr marL="2285680" algn="l" defTabSz="1119031" rtl="0" eaLnBrk="1" fontAlgn="base" hangingPunct="1">
        <a:spcBef>
          <a:spcPct val="0"/>
        </a:spcBef>
        <a:spcAft>
          <a:spcPct val="0"/>
        </a:spcAft>
        <a:defRPr lang="x-none" sz="2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190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182215" indent="-178840" algn="l" defTabSz="11190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500" baseline="0">
          <a:solidFill>
            <a:schemeClr val="tx1"/>
          </a:solidFill>
          <a:latin typeface="+mn-lt"/>
        </a:defRPr>
      </a:lvl2pPr>
      <a:lvl3pPr marL="571420" indent="-327377" algn="l" defTabSz="11190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500" baseline="0">
          <a:solidFill>
            <a:schemeClr val="tx1"/>
          </a:solidFill>
          <a:latin typeface="+mn-lt"/>
        </a:defRPr>
      </a:lvl3pPr>
      <a:lvl4pPr marL="767846" indent="-194443" algn="l" defTabSz="11190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500" baseline="0">
          <a:solidFill>
            <a:schemeClr val="tx1"/>
          </a:solidFill>
          <a:latin typeface="+mn-lt"/>
        </a:defRPr>
      </a:lvl4pPr>
      <a:lvl5pPr marL="937129" indent="-162696" algn="l" defTabSz="11190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500" baseline="0">
          <a:solidFill>
            <a:schemeClr val="tx1"/>
          </a:solidFill>
          <a:latin typeface="+mn-lt"/>
        </a:defRPr>
      </a:lvl5pPr>
      <a:lvl6pPr marL="937129" indent="-162696" algn="l" defTabSz="11190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000" baseline="0">
          <a:solidFill>
            <a:schemeClr val="tx1"/>
          </a:solidFill>
          <a:latin typeface="+mn-lt"/>
        </a:defRPr>
      </a:lvl6pPr>
      <a:lvl7pPr marL="937129" indent="-162696" algn="l" defTabSz="11190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000" baseline="0">
          <a:solidFill>
            <a:schemeClr val="tx1"/>
          </a:solidFill>
          <a:latin typeface="+mn-lt"/>
        </a:defRPr>
      </a:lvl7pPr>
      <a:lvl8pPr marL="937129" indent="-162696" algn="l" defTabSz="11190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000" baseline="0">
          <a:solidFill>
            <a:schemeClr val="tx1"/>
          </a:solidFill>
          <a:latin typeface="+mn-lt"/>
        </a:defRPr>
      </a:lvl8pPr>
      <a:lvl9pPr marL="937129" indent="-162696" algn="l" defTabSz="11190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0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142840" rtl="0" eaLnBrk="1" latinLnBrk="0" hangingPunct="1">
        <a:defRPr lang="x-none"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1420" algn="l" defTabSz="1142840" rtl="0" eaLnBrk="1" latinLnBrk="0" hangingPunct="1">
        <a:defRPr lang="x-none"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40" algn="l" defTabSz="1142840" rtl="0" eaLnBrk="1" latinLnBrk="0" hangingPunct="1">
        <a:defRPr lang="x-none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258" algn="l" defTabSz="1142840" rtl="0" eaLnBrk="1" latinLnBrk="0" hangingPunct="1">
        <a:defRPr lang="x-none"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85680" algn="l" defTabSz="1142840" rtl="0" eaLnBrk="1" latinLnBrk="0" hangingPunct="1">
        <a:defRPr lang="x-none"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57100" algn="l" defTabSz="1142840" rtl="0" eaLnBrk="1" latinLnBrk="0" hangingPunct="1">
        <a:defRPr lang="x-none"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28522" algn="l" defTabSz="1142840" rtl="0" eaLnBrk="1" latinLnBrk="0" hangingPunct="1">
        <a:defRPr lang="x-none"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99938" algn="l" defTabSz="1142840" rtl="0" eaLnBrk="1" latinLnBrk="0" hangingPunct="1">
        <a:defRPr lang="x-none"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71359" algn="l" defTabSz="1142840" rtl="0" eaLnBrk="1" latinLnBrk="0" hangingPunct="1">
        <a:defRPr lang="x-none"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6912" userDrawn="1">
          <p15:clr>
            <a:srgbClr val="F26B43"/>
          </p15:clr>
        </p15:guide>
        <p15:guide id="2" pos="20218" userDrawn="1">
          <p15:clr>
            <a:srgbClr val="F26B43"/>
          </p15:clr>
        </p15:guide>
        <p15:guide id="3" orient="horz" pos="146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67684190"/>
              </p:ext>
            </p:extLst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22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Picture 57" descr="TEXT SLIDE-01.jp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3"/>
            <a:ext cx="9144000" cy="514350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099" y="1928143"/>
            <a:ext cx="438976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3242"/>
            <a:ext cx="880222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4" y="607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dirty="0">
                <a:solidFill>
                  <a:srgbClr val="FFFFFF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504" y="667885"/>
            <a:ext cx="693263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20" name="Slide Elements" hidden="1"/>
          <p:cNvGrpSpPr/>
          <p:nvPr userDrawn="1"/>
        </p:nvGrpSpPr>
        <p:grpSpPr>
          <a:xfrm>
            <a:off x="121491" y="4540662"/>
            <a:ext cx="8794111" cy="286543"/>
            <a:chOff x="121490" y="6054238"/>
            <a:chExt cx="8794111" cy="38205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21490" y="6054238"/>
              <a:ext cx="8794111" cy="1641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21490" y="6272148"/>
              <a:ext cx="8794111" cy="1641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353295" indent="-353295" defTabSz="703973">
                <a:tabLst>
                  <a:tab pos="353295" algn="l"/>
                </a:tabLst>
              </a:pPr>
              <a:r>
                <a:rPr lang="en-US" sz="8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2343101" y="1497983"/>
            <a:ext cx="4350891" cy="387524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 userDrawn="1"/>
        </p:nvGrpSpPr>
        <p:grpSpPr bwMode="auto">
          <a:xfrm>
            <a:off x="8178571" y="912890"/>
            <a:ext cx="644698" cy="760472"/>
            <a:chOff x="4936" y="176"/>
            <a:chExt cx="398" cy="626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 userDrawn="1"/>
        </p:nvGrpSpPr>
        <p:grpSpPr bwMode="auto">
          <a:xfrm>
            <a:off x="7864335" y="912891"/>
            <a:ext cx="958946" cy="556384"/>
            <a:chOff x="4750" y="176"/>
            <a:chExt cx="592" cy="458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9" name="Sticker" hidden="1"/>
          <p:cNvGrpSpPr/>
          <p:nvPr userDrawn="1"/>
        </p:nvGrpSpPr>
        <p:grpSpPr bwMode="auto">
          <a:xfrm>
            <a:off x="8113743" y="912900"/>
            <a:ext cx="809965" cy="166199"/>
            <a:chOff x="7946982" y="285750"/>
            <a:chExt cx="793793" cy="217187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946982" y="285750"/>
              <a:ext cx="793793" cy="21718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946982" y="285750"/>
              <a:ext cx="0" cy="21718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946982" y="502937"/>
              <a:ext cx="79379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 userDrawn="1"/>
        </p:nvGrpSpPr>
        <p:grpSpPr bwMode="auto">
          <a:xfrm>
            <a:off x="8111034" y="912904"/>
            <a:ext cx="711929" cy="999791"/>
            <a:chOff x="7769225" y="2105025"/>
            <a:chExt cx="697714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4"/>
              <a:ext cx="377039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377039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377039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377039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377039" cy="180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03973">
                <a:buClr>
                  <a:srgbClr val="14385C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59" name="Rectangle 58"/>
          <p:cNvSpPr/>
          <p:nvPr userDrawn="1"/>
        </p:nvSpPr>
        <p:spPr bwMode="auto">
          <a:xfrm>
            <a:off x="8881587" y="4936988"/>
            <a:ext cx="262414" cy="145777"/>
          </a:xfrm>
          <a:prstGeom prst="rect">
            <a:avLst/>
          </a:prstGeom>
          <a:solidFill>
            <a:srgbClr val="C57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91" tIns="35952" rIns="71891" bIns="35952" rtlCol="0" anchor="ctr"/>
          <a:lstStyle/>
          <a:p>
            <a:pPr algn="ctr"/>
            <a:endParaRPr lang="en-GB" sz="1000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0" name="Slide Number"/>
          <p:cNvSpPr txBox="1">
            <a:spLocks/>
          </p:cNvSpPr>
          <p:nvPr userDrawn="1"/>
        </p:nvSpPr>
        <p:spPr>
          <a:xfrm>
            <a:off x="8965518" y="4963710"/>
            <a:ext cx="94577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600" smtClean="0">
                <a:solidFill>
                  <a:srgbClr val="FFFFFF"/>
                </a:solidFill>
              </a:rPr>
              <a:pPr algn="ctr"/>
              <a:t>‹#›</a:t>
            </a:fld>
            <a:endParaRPr lang="en-US" sz="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882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03973" rtl="0" eaLnBrk="1" fontAlgn="base" hangingPunct="1">
        <a:spcBef>
          <a:spcPct val="0"/>
        </a:spcBef>
        <a:spcAft>
          <a:spcPct val="0"/>
        </a:spcAft>
        <a:tabLst>
          <a:tab pos="212189" algn="l"/>
        </a:tabLst>
        <a:defRPr sz="18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70397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2pPr>
      <a:lvl3pPr algn="l" defTabSz="70397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3pPr>
      <a:lvl4pPr algn="l" defTabSz="70397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4pPr>
      <a:lvl5pPr algn="l" defTabSz="70397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5pPr>
      <a:lvl6pPr marL="359476" algn="l" defTabSz="70397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6pPr>
      <a:lvl7pPr marL="718950" algn="l" defTabSz="70397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7pPr>
      <a:lvl8pPr marL="1078426" algn="l" defTabSz="70397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8pPr>
      <a:lvl9pPr marL="1437901" algn="l" defTabSz="70397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03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52274" indent="-151025" algn="l" defTabSz="703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lt"/>
        </a:defRPr>
      </a:lvl2pPr>
      <a:lvl3pPr marL="359476" indent="-205953" algn="l" defTabSz="703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</a:defRPr>
      </a:lvl3pPr>
      <a:lvl4pPr marL="483044" indent="-122319" algn="l" defTabSz="703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lt"/>
        </a:defRPr>
      </a:lvl4pPr>
      <a:lvl5pPr marL="589536" indent="-102353" algn="l" defTabSz="703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5pPr>
      <a:lvl6pPr marL="589536" indent="-102353" algn="l" defTabSz="703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00" baseline="0">
          <a:solidFill>
            <a:schemeClr val="tx1"/>
          </a:solidFill>
          <a:latin typeface="+mn-lt"/>
        </a:defRPr>
      </a:lvl6pPr>
      <a:lvl7pPr marL="589536" indent="-102353" algn="l" defTabSz="703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00" baseline="0">
          <a:solidFill>
            <a:schemeClr val="tx1"/>
          </a:solidFill>
          <a:latin typeface="+mn-lt"/>
        </a:defRPr>
      </a:lvl7pPr>
      <a:lvl8pPr marL="589536" indent="-102353" algn="l" defTabSz="703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00" baseline="0">
          <a:solidFill>
            <a:schemeClr val="tx1"/>
          </a:solidFill>
          <a:latin typeface="+mn-lt"/>
        </a:defRPr>
      </a:lvl8pPr>
      <a:lvl9pPr marL="589536" indent="-102353" algn="l" defTabSz="703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89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476" algn="l" defTabSz="7189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8950" algn="l" defTabSz="7189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8426" algn="l" defTabSz="7189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7901" algn="l" defTabSz="7189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97376" algn="l" defTabSz="7189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56851" algn="l" defTabSz="7189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16327" algn="l" defTabSz="7189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75801" algn="l" defTabSz="7189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20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31966" y="3137655"/>
            <a:ext cx="16815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3/29/2017 8:57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871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34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34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796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34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41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39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34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46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850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34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1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313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34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56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022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34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60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5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00" dirty="0" smtClean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1" name="Picture 60" descr="Footer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4719693"/>
            <a:ext cx="9144000" cy="423821"/>
          </a:xfrm>
          <a:prstGeom prst="rect">
            <a:avLst/>
          </a:prstGeom>
        </p:spPr>
      </p:pic>
      <p:pic>
        <p:nvPicPr>
          <p:cNvPr id="62" name="Picture 61" descr="Header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473682"/>
          </a:xfrm>
          <a:prstGeom prst="rect">
            <a:avLst/>
          </a:prstGeom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7993502" y="38891"/>
            <a:ext cx="92367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2752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1016" y="1474169"/>
            <a:ext cx="184345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smtClean="0">
                <a:solidFill>
                  <a:srgbClr val="808080"/>
                </a:solidFill>
                <a:latin typeface="Franklin Gothic Book"/>
              </a:rPr>
              <a:t>Last Modified 6/1/2017 9:09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09524" y="3137655"/>
            <a:ext cx="17264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lang="en-US" sz="600" dirty="0" smtClean="0">
                <a:solidFill>
                  <a:srgbClr val="808080"/>
                </a:solidFill>
                <a:latin typeface="Franklin Gothic Book"/>
              </a:rPr>
              <a:t>Printed 3/21/2017 11:35 AM Central Standard Time</a:t>
            </a:r>
            <a:endParaRPr sz="600" dirty="0" smtClean="0">
              <a:solidFill>
                <a:srgbClr val="808080"/>
              </a:solidFill>
              <a:latin typeface="Franklin Gothic Book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4" y="3207"/>
            <a:ext cx="4087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FFFFFF"/>
                </a:solidFill>
                <a:latin typeface="Franklin Gothic Book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4" y="490162"/>
            <a:ext cx="872484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 smtClean="0">
                <a:solidFill>
                  <a:srgbClr val="808080"/>
                </a:solidFill>
                <a:latin typeface="Franklin Gothic Book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61984" y="4580768"/>
            <a:ext cx="8724842" cy="453276"/>
            <a:chOff x="161984" y="4580782"/>
            <a:chExt cx="8724842" cy="45327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61984" y="4580782"/>
              <a:ext cx="872484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641" indent="-85641">
                <a:defRPr lang="x-none"/>
              </a:pPr>
              <a:r>
                <a:rPr sz="800" dirty="0" smtClean="0">
                  <a:solidFill>
                    <a:srgbClr val="808080"/>
                  </a:solidFill>
                  <a:latin typeface="Franklin Gothic Book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61984" y="4910947"/>
              <a:ext cx="8658166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37758" indent="-437758" defTabSz="1192752"/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E </a:t>
              </a:r>
              <a:r>
                <a:rPr lang="x-none" sz="800" dirty="0">
                  <a:solidFill>
                    <a:srgbClr val="FFFFFF"/>
                  </a:solidFill>
                  <a:latin typeface="Franklin Gothic Book"/>
                </a:rPr>
                <a:t>: </a:t>
              </a:r>
              <a:r>
                <a:rPr lang="x-none" sz="800" dirty="0" smtClean="0">
                  <a:solidFill>
                    <a:srgbClr val="FFFFFF"/>
                  </a:solidFill>
                  <a:latin typeface="Franklin Gothic Book"/>
                </a:rPr>
                <a:t>Sourc</a:t>
              </a:r>
              <a:r>
                <a:rPr lang="en-US" sz="800" dirty="0" smtClean="0">
                  <a:solidFill>
                    <a:srgbClr val="FFFFFF"/>
                  </a:solidFill>
                  <a:latin typeface="Franklin Gothic Book"/>
                </a:rPr>
                <a:t>e</a:t>
              </a:r>
              <a:endParaRPr lang="x-none" sz="800" dirty="0">
                <a:solidFill>
                  <a:srgbClr val="FFFFFF"/>
                </a:solidFill>
                <a:latin typeface="Franklin Gothic Book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158" y="2291915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482156" y="1638462"/>
            <a:ext cx="4350891" cy="511437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Franklin Gothic Book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Franklin Gothic Book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443214" y="572847"/>
            <a:ext cx="402803" cy="150811"/>
            <a:chOff x="8346015" y="285750"/>
            <a:chExt cx="394760" cy="19707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46015" y="285750"/>
              <a:ext cx="394760" cy="19707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2752">
                <a:buClr>
                  <a:srgbClr val="0A1B2B"/>
                </a:buClr>
              </a:pPr>
              <a:r>
                <a:rPr lang="x-none" sz="800" dirty="0" smtClean="0">
                  <a:solidFill>
                    <a:srgbClr val="808080"/>
                  </a:solidFill>
                  <a:latin typeface="Franklin Gothic Book"/>
                </a:rPr>
                <a:t>STICKER</a:t>
              </a:r>
              <a:endParaRPr lang="x-none" sz="800" dirty="0">
                <a:solidFill>
                  <a:srgbClr val="808080"/>
                </a:solidFill>
                <a:latin typeface="Franklin Gothic Book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46015" y="285750"/>
              <a:ext cx="0" cy="19707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46015" y="482828"/>
              <a:ext cx="39476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8261468" y="567966"/>
            <a:ext cx="672067" cy="806648"/>
            <a:chOff x="7835905" y="279400"/>
            <a:chExt cx="878239" cy="1054120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624239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>
                  <a:solidFill>
                    <a:srgbClr val="000000"/>
                  </a:solidFill>
                  <a:latin typeface="Franklin Gothic Book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8025921" y="567966"/>
            <a:ext cx="907744" cy="602562"/>
            <a:chOff x="7540629" y="279400"/>
            <a:chExt cx="1186210" cy="78742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100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501"/>
              <a:ext cx="624236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8210442" y="546100"/>
            <a:ext cx="723090" cy="1033818"/>
            <a:chOff x="7769225" y="250825"/>
            <a:chExt cx="944913" cy="1350985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dirty="0">
                  <a:solidFill>
                    <a:srgbClr val="000000"/>
                  </a:solidFill>
                  <a:latin typeface="Franklin Gothic Book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624238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519">
                <a:buClr>
                  <a:srgbClr val="0A1B2B"/>
                </a:buClr>
              </a:pPr>
              <a:r>
                <a:rPr lang="x-none" sz="1200" dirty="0" smtClean="0">
                  <a:solidFill>
                    <a:srgbClr val="000000"/>
                  </a:solidFill>
                  <a:latin typeface="Franklin Gothic Book"/>
                </a:rPr>
                <a:t>Legend</a:t>
              </a:r>
              <a:endParaRPr lang="x-none" sz="1200" dirty="0">
                <a:solidFill>
                  <a:srgbClr val="000000"/>
                </a:solidFill>
                <a:latin typeface="Franklin Gothic Book"/>
              </a:endParaRPr>
            </a:p>
          </p:txBody>
        </p:sp>
      </p:grpSp>
      <p:sp>
        <p:nvSpPr>
          <p:cNvPr id="65" name="Rectangle 64"/>
          <p:cNvSpPr/>
          <p:nvPr userDrawn="1">
            <p:custDataLst>
              <p:tags r:id="rId8"/>
            </p:custDataLst>
          </p:nvPr>
        </p:nvSpPr>
        <p:spPr>
          <a:xfrm>
            <a:off x="8886826" y="4910933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GB" sz="12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 userDrawn="1"/>
        </p:nvSpPr>
        <p:spPr bwMode="gray">
          <a:xfrm>
            <a:off x="8962514" y="4922220"/>
            <a:ext cx="10579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FFFFFF"/>
                </a:solidFill>
              </a:rPr>
              <a:pPr algn="r"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014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2752" rtl="0" eaLnBrk="1" fontAlgn="base" hangingPunct="1">
        <a:spcBef>
          <a:spcPct val="0"/>
        </a:spcBef>
        <a:spcAft>
          <a:spcPct val="0"/>
        </a:spcAft>
        <a:tabLst>
          <a:tab pos="359516" algn="l"/>
        </a:tabLst>
        <a:defRPr lang="x-none" sz="2000" b="0" baseline="0">
          <a:solidFill>
            <a:schemeClr val="bg1"/>
          </a:solidFill>
          <a:latin typeface="Franklin Gothic Demi" panose="020B0703020102020204" pitchFamily="34" charset="0"/>
          <a:ea typeface="+mj-ea"/>
          <a:cs typeface="+mj-cs"/>
        </a:defRPr>
      </a:lvl1pPr>
      <a:lvl2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2pPr>
      <a:lvl3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3pPr>
      <a:lvl4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4pPr>
      <a:lvl5pPr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5pPr>
      <a:lvl6pPr marL="609062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6pPr>
      <a:lvl7pPr marL="121812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7pPr>
      <a:lvl8pPr marL="1827185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8pPr>
      <a:lvl9pPr marL="2436249" algn="l" defTabSz="1192752" rtl="0" eaLnBrk="1" fontAlgn="base" hangingPunct="1">
        <a:spcBef>
          <a:spcPct val="0"/>
        </a:spcBef>
        <a:spcAft>
          <a:spcPct val="0"/>
        </a:spcAft>
        <a:defRPr lang="x-none" sz="2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222" indent="-19062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609062" indent="-348947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818432" indent="-207254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6pPr>
      <a:lvl7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7pPr>
      <a:lvl8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8pPr>
      <a:lvl9pPr marL="998861" indent="-173415" algn="l" defTabSz="119275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62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5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49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10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7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34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97" algn="l" defTabSz="1218125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13" Type="http://schemas.openxmlformats.org/officeDocument/2006/relationships/tags" Target="../tags/tag344.xml"/><Relationship Id="rId18" Type="http://schemas.openxmlformats.org/officeDocument/2006/relationships/image" Target="../media/image22.jpeg"/><Relationship Id="rId3" Type="http://schemas.openxmlformats.org/officeDocument/2006/relationships/tags" Target="../tags/tag334.xml"/><Relationship Id="rId21" Type="http://schemas.openxmlformats.org/officeDocument/2006/relationships/slide" Target="slide22.xml"/><Relationship Id="rId7" Type="http://schemas.openxmlformats.org/officeDocument/2006/relationships/tags" Target="../tags/tag338.xml"/><Relationship Id="rId12" Type="http://schemas.openxmlformats.org/officeDocument/2006/relationships/tags" Target="../tags/tag343.xml"/><Relationship Id="rId17" Type="http://schemas.openxmlformats.org/officeDocument/2006/relationships/image" Target="../media/image11.emf"/><Relationship Id="rId2" Type="http://schemas.openxmlformats.org/officeDocument/2006/relationships/tags" Target="../tags/tag333.xml"/><Relationship Id="rId16" Type="http://schemas.openxmlformats.org/officeDocument/2006/relationships/oleObject" Target="../embeddings/oleObject40.bin"/><Relationship Id="rId20" Type="http://schemas.openxmlformats.org/officeDocument/2006/relationships/slide" Target="slide16.xml"/><Relationship Id="rId1" Type="http://schemas.openxmlformats.org/officeDocument/2006/relationships/vmlDrawing" Target="../drawings/vmlDrawing40.vml"/><Relationship Id="rId6" Type="http://schemas.openxmlformats.org/officeDocument/2006/relationships/tags" Target="../tags/tag337.xml"/><Relationship Id="rId11" Type="http://schemas.openxmlformats.org/officeDocument/2006/relationships/tags" Target="../tags/tag342.xml"/><Relationship Id="rId5" Type="http://schemas.openxmlformats.org/officeDocument/2006/relationships/tags" Target="../tags/tag336.xml"/><Relationship Id="rId15" Type="http://schemas.openxmlformats.org/officeDocument/2006/relationships/notesSlide" Target="../notesSlides/notesSlide10.xml"/><Relationship Id="rId10" Type="http://schemas.openxmlformats.org/officeDocument/2006/relationships/tags" Target="../tags/tag341.xml"/><Relationship Id="rId19" Type="http://schemas.openxmlformats.org/officeDocument/2006/relationships/slide" Target="slide3.xml"/><Relationship Id="rId4" Type="http://schemas.openxmlformats.org/officeDocument/2006/relationships/tags" Target="../tags/tag335.xml"/><Relationship Id="rId9" Type="http://schemas.openxmlformats.org/officeDocument/2006/relationships/tags" Target="../tags/tag340.xml"/><Relationship Id="rId14" Type="http://schemas.openxmlformats.org/officeDocument/2006/relationships/slideLayout" Target="../slideLayouts/slideLayout40.xml"/><Relationship Id="rId22" Type="http://schemas.openxmlformats.org/officeDocument/2006/relationships/slide" Target="slide2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tags" Target="../tags/tag356.xml"/><Relationship Id="rId18" Type="http://schemas.openxmlformats.org/officeDocument/2006/relationships/oleObject" Target="../embeddings/oleObject41.bin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17" Type="http://schemas.openxmlformats.org/officeDocument/2006/relationships/notesSlide" Target="../notesSlides/notesSlide11.xml"/><Relationship Id="rId2" Type="http://schemas.openxmlformats.org/officeDocument/2006/relationships/tags" Target="../tags/tag345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5" Type="http://schemas.openxmlformats.org/officeDocument/2006/relationships/tags" Target="../tags/tag348.xml"/><Relationship Id="rId15" Type="http://schemas.openxmlformats.org/officeDocument/2006/relationships/tags" Target="../tags/tag358.xml"/><Relationship Id="rId10" Type="http://schemas.openxmlformats.org/officeDocument/2006/relationships/tags" Target="../tags/tag353.xml"/><Relationship Id="rId19" Type="http://schemas.openxmlformats.org/officeDocument/2006/relationships/image" Target="../media/image16.emf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tags" Target="../tags/tag35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66.xml"/><Relationship Id="rId13" Type="http://schemas.openxmlformats.org/officeDocument/2006/relationships/image" Target="../media/image11.emf"/><Relationship Id="rId3" Type="http://schemas.openxmlformats.org/officeDocument/2006/relationships/tags" Target="../tags/tag361.xml"/><Relationship Id="rId7" Type="http://schemas.openxmlformats.org/officeDocument/2006/relationships/tags" Target="../tags/tag365.xml"/><Relationship Id="rId12" Type="http://schemas.openxmlformats.org/officeDocument/2006/relationships/oleObject" Target="../embeddings/oleObject43.bin"/><Relationship Id="rId2" Type="http://schemas.openxmlformats.org/officeDocument/2006/relationships/tags" Target="../tags/tag360.xml"/><Relationship Id="rId1" Type="http://schemas.openxmlformats.org/officeDocument/2006/relationships/vmlDrawing" Target="../drawings/vmlDrawing43.vml"/><Relationship Id="rId6" Type="http://schemas.openxmlformats.org/officeDocument/2006/relationships/tags" Target="../tags/tag364.xml"/><Relationship Id="rId11" Type="http://schemas.openxmlformats.org/officeDocument/2006/relationships/notesSlide" Target="../notesSlides/notesSlide13.xml"/><Relationship Id="rId5" Type="http://schemas.openxmlformats.org/officeDocument/2006/relationships/tags" Target="../tags/tag363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362.xml"/><Relationship Id="rId9" Type="http://schemas.openxmlformats.org/officeDocument/2006/relationships/tags" Target="../tags/tag36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75.xml"/><Relationship Id="rId13" Type="http://schemas.openxmlformats.org/officeDocument/2006/relationships/tags" Target="../tags/tag380.xml"/><Relationship Id="rId18" Type="http://schemas.openxmlformats.org/officeDocument/2006/relationships/notesSlide" Target="../notesSlides/notesSlide14.xml"/><Relationship Id="rId3" Type="http://schemas.openxmlformats.org/officeDocument/2006/relationships/tags" Target="../tags/tag370.xml"/><Relationship Id="rId7" Type="http://schemas.openxmlformats.org/officeDocument/2006/relationships/tags" Target="../tags/tag374.xml"/><Relationship Id="rId12" Type="http://schemas.openxmlformats.org/officeDocument/2006/relationships/tags" Target="../tags/tag379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369.xml"/><Relationship Id="rId16" Type="http://schemas.openxmlformats.org/officeDocument/2006/relationships/tags" Target="../tags/tag383.xml"/><Relationship Id="rId1" Type="http://schemas.openxmlformats.org/officeDocument/2006/relationships/tags" Target="../tags/tag368.xml"/><Relationship Id="rId6" Type="http://schemas.openxmlformats.org/officeDocument/2006/relationships/tags" Target="../tags/tag373.xml"/><Relationship Id="rId11" Type="http://schemas.openxmlformats.org/officeDocument/2006/relationships/tags" Target="../tags/tag378.xml"/><Relationship Id="rId5" Type="http://schemas.openxmlformats.org/officeDocument/2006/relationships/tags" Target="../tags/tag372.xml"/><Relationship Id="rId15" Type="http://schemas.openxmlformats.org/officeDocument/2006/relationships/tags" Target="../tags/tag382.xml"/><Relationship Id="rId10" Type="http://schemas.openxmlformats.org/officeDocument/2006/relationships/tags" Target="../tags/tag377.xml"/><Relationship Id="rId4" Type="http://schemas.openxmlformats.org/officeDocument/2006/relationships/tags" Target="../tags/tag371.xml"/><Relationship Id="rId9" Type="http://schemas.openxmlformats.org/officeDocument/2006/relationships/tags" Target="../tags/tag376.xml"/><Relationship Id="rId14" Type="http://schemas.openxmlformats.org/officeDocument/2006/relationships/tags" Target="../tags/tag38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tags" Target="../tags/tag38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6.emf"/><Relationship Id="rId11" Type="http://schemas.openxmlformats.org/officeDocument/2006/relationships/image" Target="../media/image30.png"/><Relationship Id="rId5" Type="http://schemas.openxmlformats.org/officeDocument/2006/relationships/oleObject" Target="../embeddings/oleObject44.bin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91.xml"/><Relationship Id="rId13" Type="http://schemas.openxmlformats.org/officeDocument/2006/relationships/tags" Target="../tags/tag396.xml"/><Relationship Id="rId18" Type="http://schemas.openxmlformats.org/officeDocument/2006/relationships/image" Target="../media/image22.jpeg"/><Relationship Id="rId3" Type="http://schemas.openxmlformats.org/officeDocument/2006/relationships/tags" Target="../tags/tag386.xml"/><Relationship Id="rId21" Type="http://schemas.openxmlformats.org/officeDocument/2006/relationships/slide" Target="slide22.xml"/><Relationship Id="rId7" Type="http://schemas.openxmlformats.org/officeDocument/2006/relationships/tags" Target="../tags/tag390.xml"/><Relationship Id="rId12" Type="http://schemas.openxmlformats.org/officeDocument/2006/relationships/tags" Target="../tags/tag395.xml"/><Relationship Id="rId17" Type="http://schemas.openxmlformats.org/officeDocument/2006/relationships/image" Target="../media/image11.emf"/><Relationship Id="rId2" Type="http://schemas.openxmlformats.org/officeDocument/2006/relationships/tags" Target="../tags/tag385.xml"/><Relationship Id="rId16" Type="http://schemas.openxmlformats.org/officeDocument/2006/relationships/oleObject" Target="../embeddings/oleObject45.bin"/><Relationship Id="rId20" Type="http://schemas.openxmlformats.org/officeDocument/2006/relationships/slide" Target="slide10.xml"/><Relationship Id="rId1" Type="http://schemas.openxmlformats.org/officeDocument/2006/relationships/vmlDrawing" Target="../drawings/vmlDrawing45.vml"/><Relationship Id="rId6" Type="http://schemas.openxmlformats.org/officeDocument/2006/relationships/tags" Target="../tags/tag389.xml"/><Relationship Id="rId11" Type="http://schemas.openxmlformats.org/officeDocument/2006/relationships/tags" Target="../tags/tag394.xml"/><Relationship Id="rId5" Type="http://schemas.openxmlformats.org/officeDocument/2006/relationships/tags" Target="../tags/tag388.xml"/><Relationship Id="rId15" Type="http://schemas.openxmlformats.org/officeDocument/2006/relationships/notesSlide" Target="../notesSlides/notesSlide16.xml"/><Relationship Id="rId10" Type="http://schemas.openxmlformats.org/officeDocument/2006/relationships/tags" Target="../tags/tag393.xml"/><Relationship Id="rId19" Type="http://schemas.openxmlformats.org/officeDocument/2006/relationships/slide" Target="slide3.xml"/><Relationship Id="rId4" Type="http://schemas.openxmlformats.org/officeDocument/2006/relationships/tags" Target="../tags/tag387.xml"/><Relationship Id="rId9" Type="http://schemas.openxmlformats.org/officeDocument/2006/relationships/tags" Target="../tags/tag392.xml"/><Relationship Id="rId14" Type="http://schemas.openxmlformats.org/officeDocument/2006/relationships/slideLayout" Target="../slideLayouts/slideLayout2.xml"/><Relationship Id="rId22" Type="http://schemas.openxmlformats.org/officeDocument/2006/relationships/slide" Target="slide2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13" Type="http://schemas.openxmlformats.org/officeDocument/2006/relationships/tags" Target="../tags/tag408.xml"/><Relationship Id="rId18" Type="http://schemas.openxmlformats.org/officeDocument/2006/relationships/oleObject" Target="../embeddings/oleObject46.bin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12" Type="http://schemas.openxmlformats.org/officeDocument/2006/relationships/tags" Target="../tags/tag407.xml"/><Relationship Id="rId17" Type="http://schemas.openxmlformats.org/officeDocument/2006/relationships/notesSlide" Target="../notesSlides/notesSlide17.xml"/><Relationship Id="rId2" Type="http://schemas.openxmlformats.org/officeDocument/2006/relationships/tags" Target="../tags/tag39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5.png"/><Relationship Id="rId1" Type="http://schemas.openxmlformats.org/officeDocument/2006/relationships/vmlDrawing" Target="../drawings/vmlDrawing46.vml"/><Relationship Id="rId6" Type="http://schemas.openxmlformats.org/officeDocument/2006/relationships/tags" Target="../tags/tag401.xml"/><Relationship Id="rId11" Type="http://schemas.openxmlformats.org/officeDocument/2006/relationships/tags" Target="../tags/tag406.xml"/><Relationship Id="rId5" Type="http://schemas.openxmlformats.org/officeDocument/2006/relationships/tags" Target="../tags/tag400.xml"/><Relationship Id="rId15" Type="http://schemas.openxmlformats.org/officeDocument/2006/relationships/tags" Target="../tags/tag410.xml"/><Relationship Id="rId10" Type="http://schemas.openxmlformats.org/officeDocument/2006/relationships/tags" Target="../tags/tag405.xml"/><Relationship Id="rId19" Type="http://schemas.openxmlformats.org/officeDocument/2006/relationships/image" Target="../media/image16.emf"/><Relationship Id="rId4" Type="http://schemas.openxmlformats.org/officeDocument/2006/relationships/tags" Target="../tags/tag399.xml"/><Relationship Id="rId9" Type="http://schemas.openxmlformats.org/officeDocument/2006/relationships/tags" Target="../tags/tag404.xml"/><Relationship Id="rId14" Type="http://schemas.openxmlformats.org/officeDocument/2006/relationships/tags" Target="../tags/tag40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417.xml"/><Relationship Id="rId13" Type="http://schemas.openxmlformats.org/officeDocument/2006/relationships/tags" Target="../tags/tag422.xml"/><Relationship Id="rId18" Type="http://schemas.openxmlformats.org/officeDocument/2006/relationships/tags" Target="../tags/tag427.xml"/><Relationship Id="rId26" Type="http://schemas.openxmlformats.org/officeDocument/2006/relationships/tags" Target="../tags/tag435.xml"/><Relationship Id="rId3" Type="http://schemas.openxmlformats.org/officeDocument/2006/relationships/tags" Target="../tags/tag412.xml"/><Relationship Id="rId21" Type="http://schemas.openxmlformats.org/officeDocument/2006/relationships/tags" Target="../tags/tag430.xml"/><Relationship Id="rId7" Type="http://schemas.openxmlformats.org/officeDocument/2006/relationships/tags" Target="../tags/tag416.xml"/><Relationship Id="rId12" Type="http://schemas.openxmlformats.org/officeDocument/2006/relationships/tags" Target="../tags/tag421.xml"/><Relationship Id="rId17" Type="http://schemas.openxmlformats.org/officeDocument/2006/relationships/tags" Target="../tags/tag426.xml"/><Relationship Id="rId25" Type="http://schemas.openxmlformats.org/officeDocument/2006/relationships/tags" Target="../tags/tag434.xml"/><Relationship Id="rId2" Type="http://schemas.openxmlformats.org/officeDocument/2006/relationships/tags" Target="../tags/tag411.xml"/><Relationship Id="rId16" Type="http://schemas.openxmlformats.org/officeDocument/2006/relationships/tags" Target="../tags/tag425.xml"/><Relationship Id="rId20" Type="http://schemas.openxmlformats.org/officeDocument/2006/relationships/tags" Target="../tags/tag429.xml"/><Relationship Id="rId29" Type="http://schemas.openxmlformats.org/officeDocument/2006/relationships/notesSlide" Target="../notesSlides/notesSlide18.xml"/><Relationship Id="rId1" Type="http://schemas.openxmlformats.org/officeDocument/2006/relationships/vmlDrawing" Target="../drawings/vmlDrawing47.vml"/><Relationship Id="rId6" Type="http://schemas.openxmlformats.org/officeDocument/2006/relationships/tags" Target="../tags/tag415.xml"/><Relationship Id="rId11" Type="http://schemas.openxmlformats.org/officeDocument/2006/relationships/tags" Target="../tags/tag420.xml"/><Relationship Id="rId24" Type="http://schemas.openxmlformats.org/officeDocument/2006/relationships/tags" Target="../tags/tag433.xml"/><Relationship Id="rId5" Type="http://schemas.openxmlformats.org/officeDocument/2006/relationships/tags" Target="../tags/tag414.xml"/><Relationship Id="rId15" Type="http://schemas.openxmlformats.org/officeDocument/2006/relationships/tags" Target="../tags/tag424.xml"/><Relationship Id="rId23" Type="http://schemas.openxmlformats.org/officeDocument/2006/relationships/tags" Target="../tags/tag432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419.xml"/><Relationship Id="rId19" Type="http://schemas.openxmlformats.org/officeDocument/2006/relationships/tags" Target="../tags/tag428.xml"/><Relationship Id="rId31" Type="http://schemas.openxmlformats.org/officeDocument/2006/relationships/image" Target="../media/image16.emf"/><Relationship Id="rId4" Type="http://schemas.openxmlformats.org/officeDocument/2006/relationships/tags" Target="../tags/tag413.xml"/><Relationship Id="rId9" Type="http://schemas.openxmlformats.org/officeDocument/2006/relationships/tags" Target="../tags/tag418.xml"/><Relationship Id="rId14" Type="http://schemas.openxmlformats.org/officeDocument/2006/relationships/tags" Target="../tags/tag423.xml"/><Relationship Id="rId22" Type="http://schemas.openxmlformats.org/officeDocument/2006/relationships/tags" Target="../tags/tag431.xml"/><Relationship Id="rId27" Type="http://schemas.openxmlformats.org/officeDocument/2006/relationships/tags" Target="../tags/tag436.xml"/><Relationship Id="rId30" Type="http://schemas.openxmlformats.org/officeDocument/2006/relationships/oleObject" Target="../embeddings/oleObject47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43.xml"/><Relationship Id="rId13" Type="http://schemas.openxmlformats.org/officeDocument/2006/relationships/tags" Target="../tags/tag448.xml"/><Relationship Id="rId18" Type="http://schemas.openxmlformats.org/officeDocument/2006/relationships/oleObject" Target="../embeddings/oleObject48.bin"/><Relationship Id="rId3" Type="http://schemas.openxmlformats.org/officeDocument/2006/relationships/tags" Target="../tags/tag438.xml"/><Relationship Id="rId21" Type="http://schemas.openxmlformats.org/officeDocument/2006/relationships/image" Target="../media/image37.png"/><Relationship Id="rId7" Type="http://schemas.openxmlformats.org/officeDocument/2006/relationships/tags" Target="../tags/tag442.xml"/><Relationship Id="rId12" Type="http://schemas.openxmlformats.org/officeDocument/2006/relationships/tags" Target="../tags/tag447.xml"/><Relationship Id="rId17" Type="http://schemas.openxmlformats.org/officeDocument/2006/relationships/notesSlide" Target="../notesSlides/notesSlide19.xml"/><Relationship Id="rId2" Type="http://schemas.openxmlformats.org/officeDocument/2006/relationships/tags" Target="../tags/tag43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6.png"/><Relationship Id="rId1" Type="http://schemas.openxmlformats.org/officeDocument/2006/relationships/vmlDrawing" Target="../drawings/vmlDrawing48.vml"/><Relationship Id="rId6" Type="http://schemas.openxmlformats.org/officeDocument/2006/relationships/tags" Target="../tags/tag441.xml"/><Relationship Id="rId11" Type="http://schemas.openxmlformats.org/officeDocument/2006/relationships/tags" Target="../tags/tag446.xml"/><Relationship Id="rId5" Type="http://schemas.openxmlformats.org/officeDocument/2006/relationships/tags" Target="../tags/tag440.xml"/><Relationship Id="rId15" Type="http://schemas.openxmlformats.org/officeDocument/2006/relationships/tags" Target="../tags/tag450.xml"/><Relationship Id="rId23" Type="http://schemas.openxmlformats.org/officeDocument/2006/relationships/image" Target="../media/image39.png"/><Relationship Id="rId10" Type="http://schemas.openxmlformats.org/officeDocument/2006/relationships/tags" Target="../tags/tag445.xml"/><Relationship Id="rId19" Type="http://schemas.openxmlformats.org/officeDocument/2006/relationships/image" Target="../media/image11.emf"/><Relationship Id="rId4" Type="http://schemas.openxmlformats.org/officeDocument/2006/relationships/tags" Target="../tags/tag439.xml"/><Relationship Id="rId9" Type="http://schemas.openxmlformats.org/officeDocument/2006/relationships/tags" Target="../tags/tag444.xml"/><Relationship Id="rId14" Type="http://schemas.openxmlformats.org/officeDocument/2006/relationships/tags" Target="../tags/tag449.xml"/><Relationship Id="rId22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28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6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12" Type="http://schemas.openxmlformats.org/officeDocument/2006/relationships/image" Target="../media/image41.png"/><Relationship Id="rId2" Type="http://schemas.openxmlformats.org/officeDocument/2006/relationships/tags" Target="../tags/tag45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6.emf"/><Relationship Id="rId11" Type="http://schemas.openxmlformats.org/officeDocument/2006/relationships/image" Target="../media/image40.png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28.png"/><Relationship Id="rId1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45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52.xml"/><Relationship Id="rId1" Type="http://schemas.openxmlformats.org/officeDocument/2006/relationships/vmlDrawing" Target="../drawings/vmlDrawing50.vml"/><Relationship Id="rId6" Type="http://schemas.openxmlformats.org/officeDocument/2006/relationships/tags" Target="../tags/tag456.xml"/><Relationship Id="rId5" Type="http://schemas.openxmlformats.org/officeDocument/2006/relationships/tags" Target="../tags/tag455.xml"/><Relationship Id="rId10" Type="http://schemas.openxmlformats.org/officeDocument/2006/relationships/image" Target="../media/image16.emf"/><Relationship Id="rId4" Type="http://schemas.openxmlformats.org/officeDocument/2006/relationships/tags" Target="../tags/tag454.xml"/><Relationship Id="rId9" Type="http://schemas.openxmlformats.org/officeDocument/2006/relationships/oleObject" Target="../embeddings/oleObject50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463.xml"/><Relationship Id="rId13" Type="http://schemas.openxmlformats.org/officeDocument/2006/relationships/tags" Target="../tags/tag468.xml"/><Relationship Id="rId18" Type="http://schemas.openxmlformats.org/officeDocument/2006/relationships/image" Target="../media/image22.jpeg"/><Relationship Id="rId3" Type="http://schemas.openxmlformats.org/officeDocument/2006/relationships/tags" Target="../tags/tag458.xml"/><Relationship Id="rId21" Type="http://schemas.openxmlformats.org/officeDocument/2006/relationships/slide" Target="slide16.xml"/><Relationship Id="rId7" Type="http://schemas.openxmlformats.org/officeDocument/2006/relationships/tags" Target="../tags/tag462.xml"/><Relationship Id="rId12" Type="http://schemas.openxmlformats.org/officeDocument/2006/relationships/tags" Target="../tags/tag467.xml"/><Relationship Id="rId17" Type="http://schemas.openxmlformats.org/officeDocument/2006/relationships/image" Target="../media/image11.emf"/><Relationship Id="rId2" Type="http://schemas.openxmlformats.org/officeDocument/2006/relationships/tags" Target="../tags/tag457.xml"/><Relationship Id="rId16" Type="http://schemas.openxmlformats.org/officeDocument/2006/relationships/oleObject" Target="../embeddings/oleObject51.bin"/><Relationship Id="rId20" Type="http://schemas.openxmlformats.org/officeDocument/2006/relationships/slide" Target="slide10.xml"/><Relationship Id="rId1" Type="http://schemas.openxmlformats.org/officeDocument/2006/relationships/vmlDrawing" Target="../drawings/vmlDrawing51.vml"/><Relationship Id="rId6" Type="http://schemas.openxmlformats.org/officeDocument/2006/relationships/tags" Target="../tags/tag461.xml"/><Relationship Id="rId11" Type="http://schemas.openxmlformats.org/officeDocument/2006/relationships/tags" Target="../tags/tag466.xml"/><Relationship Id="rId5" Type="http://schemas.openxmlformats.org/officeDocument/2006/relationships/tags" Target="../tags/tag460.xml"/><Relationship Id="rId15" Type="http://schemas.openxmlformats.org/officeDocument/2006/relationships/notesSlide" Target="../notesSlides/notesSlide22.xml"/><Relationship Id="rId10" Type="http://schemas.openxmlformats.org/officeDocument/2006/relationships/tags" Target="../tags/tag465.xml"/><Relationship Id="rId19" Type="http://schemas.openxmlformats.org/officeDocument/2006/relationships/slide" Target="slide3.xml"/><Relationship Id="rId4" Type="http://schemas.openxmlformats.org/officeDocument/2006/relationships/tags" Target="../tags/tag459.xml"/><Relationship Id="rId9" Type="http://schemas.openxmlformats.org/officeDocument/2006/relationships/tags" Target="../tags/tag464.xml"/><Relationship Id="rId14" Type="http://schemas.openxmlformats.org/officeDocument/2006/relationships/slideLayout" Target="../slideLayouts/slideLayout2.xml"/><Relationship Id="rId22" Type="http://schemas.openxmlformats.org/officeDocument/2006/relationships/slide" Target="slide2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475.xml"/><Relationship Id="rId13" Type="http://schemas.openxmlformats.org/officeDocument/2006/relationships/tags" Target="../tags/tag480.xml"/><Relationship Id="rId18" Type="http://schemas.openxmlformats.org/officeDocument/2006/relationships/oleObject" Target="../embeddings/oleObject52.bin"/><Relationship Id="rId3" Type="http://schemas.openxmlformats.org/officeDocument/2006/relationships/tags" Target="../tags/tag470.xml"/><Relationship Id="rId7" Type="http://schemas.openxmlformats.org/officeDocument/2006/relationships/tags" Target="../tags/tag474.xml"/><Relationship Id="rId12" Type="http://schemas.openxmlformats.org/officeDocument/2006/relationships/tags" Target="../tags/tag479.xml"/><Relationship Id="rId17" Type="http://schemas.openxmlformats.org/officeDocument/2006/relationships/notesSlide" Target="../notesSlides/notesSlide23.xml"/><Relationship Id="rId2" Type="http://schemas.openxmlformats.org/officeDocument/2006/relationships/tags" Target="../tags/tag469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52.vml"/><Relationship Id="rId6" Type="http://schemas.openxmlformats.org/officeDocument/2006/relationships/tags" Target="../tags/tag473.xml"/><Relationship Id="rId11" Type="http://schemas.openxmlformats.org/officeDocument/2006/relationships/tags" Target="../tags/tag478.xml"/><Relationship Id="rId5" Type="http://schemas.openxmlformats.org/officeDocument/2006/relationships/tags" Target="../tags/tag472.xml"/><Relationship Id="rId15" Type="http://schemas.openxmlformats.org/officeDocument/2006/relationships/tags" Target="../tags/tag482.xml"/><Relationship Id="rId10" Type="http://schemas.openxmlformats.org/officeDocument/2006/relationships/tags" Target="../tags/tag477.xml"/><Relationship Id="rId19" Type="http://schemas.openxmlformats.org/officeDocument/2006/relationships/image" Target="../media/image16.emf"/><Relationship Id="rId4" Type="http://schemas.openxmlformats.org/officeDocument/2006/relationships/tags" Target="../tags/tag471.xml"/><Relationship Id="rId9" Type="http://schemas.openxmlformats.org/officeDocument/2006/relationships/tags" Target="../tags/tag476.xml"/><Relationship Id="rId14" Type="http://schemas.openxmlformats.org/officeDocument/2006/relationships/tags" Target="../tags/tag48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489.xml"/><Relationship Id="rId13" Type="http://schemas.openxmlformats.org/officeDocument/2006/relationships/tags" Target="../tags/tag494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484.xml"/><Relationship Id="rId21" Type="http://schemas.openxmlformats.org/officeDocument/2006/relationships/image" Target="../media/image11.emf"/><Relationship Id="rId7" Type="http://schemas.openxmlformats.org/officeDocument/2006/relationships/tags" Target="../tags/tag488.xml"/><Relationship Id="rId12" Type="http://schemas.openxmlformats.org/officeDocument/2006/relationships/tags" Target="../tags/tag493.xml"/><Relationship Id="rId17" Type="http://schemas.openxmlformats.org/officeDocument/2006/relationships/tags" Target="../tags/tag498.xml"/><Relationship Id="rId2" Type="http://schemas.openxmlformats.org/officeDocument/2006/relationships/tags" Target="../tags/tag483.xml"/><Relationship Id="rId16" Type="http://schemas.openxmlformats.org/officeDocument/2006/relationships/tags" Target="../tags/tag497.xml"/><Relationship Id="rId20" Type="http://schemas.openxmlformats.org/officeDocument/2006/relationships/oleObject" Target="../embeddings/oleObject53.bin"/><Relationship Id="rId1" Type="http://schemas.openxmlformats.org/officeDocument/2006/relationships/vmlDrawing" Target="../drawings/vmlDrawing53.vml"/><Relationship Id="rId6" Type="http://schemas.openxmlformats.org/officeDocument/2006/relationships/tags" Target="../tags/tag487.xml"/><Relationship Id="rId11" Type="http://schemas.openxmlformats.org/officeDocument/2006/relationships/tags" Target="../tags/tag492.xml"/><Relationship Id="rId5" Type="http://schemas.openxmlformats.org/officeDocument/2006/relationships/tags" Target="../tags/tag486.xml"/><Relationship Id="rId15" Type="http://schemas.openxmlformats.org/officeDocument/2006/relationships/tags" Target="../tags/tag496.xml"/><Relationship Id="rId10" Type="http://schemas.openxmlformats.org/officeDocument/2006/relationships/tags" Target="../tags/tag491.xml"/><Relationship Id="rId19" Type="http://schemas.openxmlformats.org/officeDocument/2006/relationships/notesSlide" Target="../notesSlides/notesSlide24.xml"/><Relationship Id="rId4" Type="http://schemas.openxmlformats.org/officeDocument/2006/relationships/tags" Target="../tags/tag485.xml"/><Relationship Id="rId9" Type="http://schemas.openxmlformats.org/officeDocument/2006/relationships/tags" Target="../tags/tag490.xml"/><Relationship Id="rId14" Type="http://schemas.openxmlformats.org/officeDocument/2006/relationships/tags" Target="../tags/tag49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505.xml"/><Relationship Id="rId13" Type="http://schemas.openxmlformats.org/officeDocument/2006/relationships/tags" Target="../tags/tag510.xml"/><Relationship Id="rId18" Type="http://schemas.openxmlformats.org/officeDocument/2006/relationships/oleObject" Target="../embeddings/oleObject54.bin"/><Relationship Id="rId3" Type="http://schemas.openxmlformats.org/officeDocument/2006/relationships/tags" Target="../tags/tag500.xml"/><Relationship Id="rId21" Type="http://schemas.openxmlformats.org/officeDocument/2006/relationships/image" Target="../media/image43.png"/><Relationship Id="rId7" Type="http://schemas.openxmlformats.org/officeDocument/2006/relationships/tags" Target="../tags/tag504.xml"/><Relationship Id="rId12" Type="http://schemas.openxmlformats.org/officeDocument/2006/relationships/tags" Target="../tags/tag509.xml"/><Relationship Id="rId17" Type="http://schemas.openxmlformats.org/officeDocument/2006/relationships/notesSlide" Target="../notesSlides/notesSlide25.xml"/><Relationship Id="rId25" Type="http://schemas.openxmlformats.org/officeDocument/2006/relationships/image" Target="../media/image47.png"/><Relationship Id="rId2" Type="http://schemas.openxmlformats.org/officeDocument/2006/relationships/tags" Target="../tags/tag499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42.png"/><Relationship Id="rId1" Type="http://schemas.openxmlformats.org/officeDocument/2006/relationships/vmlDrawing" Target="../drawings/vmlDrawing54.vml"/><Relationship Id="rId6" Type="http://schemas.openxmlformats.org/officeDocument/2006/relationships/tags" Target="../tags/tag503.xml"/><Relationship Id="rId11" Type="http://schemas.openxmlformats.org/officeDocument/2006/relationships/tags" Target="../tags/tag508.xml"/><Relationship Id="rId24" Type="http://schemas.openxmlformats.org/officeDocument/2006/relationships/image" Target="../media/image46.png"/><Relationship Id="rId5" Type="http://schemas.openxmlformats.org/officeDocument/2006/relationships/tags" Target="../tags/tag502.xml"/><Relationship Id="rId15" Type="http://schemas.openxmlformats.org/officeDocument/2006/relationships/tags" Target="../tags/tag512.xml"/><Relationship Id="rId23" Type="http://schemas.openxmlformats.org/officeDocument/2006/relationships/image" Target="../media/image45.png"/><Relationship Id="rId10" Type="http://schemas.openxmlformats.org/officeDocument/2006/relationships/tags" Target="../tags/tag507.xml"/><Relationship Id="rId19" Type="http://schemas.openxmlformats.org/officeDocument/2006/relationships/image" Target="../media/image16.emf"/><Relationship Id="rId4" Type="http://schemas.openxmlformats.org/officeDocument/2006/relationships/tags" Target="../tags/tag501.xml"/><Relationship Id="rId9" Type="http://schemas.openxmlformats.org/officeDocument/2006/relationships/tags" Target="../tags/tag506.xml"/><Relationship Id="rId14" Type="http://schemas.openxmlformats.org/officeDocument/2006/relationships/tags" Target="../tags/tag511.xml"/><Relationship Id="rId22" Type="http://schemas.openxmlformats.org/officeDocument/2006/relationships/image" Target="../media/image4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6.xml"/><Relationship Id="rId3" Type="http://schemas.openxmlformats.org/officeDocument/2006/relationships/tags" Target="../tags/tag51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513.xml"/><Relationship Id="rId1" Type="http://schemas.openxmlformats.org/officeDocument/2006/relationships/vmlDrawing" Target="../drawings/vmlDrawing55.vml"/><Relationship Id="rId6" Type="http://schemas.openxmlformats.org/officeDocument/2006/relationships/tags" Target="../tags/tag517.xml"/><Relationship Id="rId5" Type="http://schemas.openxmlformats.org/officeDocument/2006/relationships/tags" Target="../tags/tag516.xml"/><Relationship Id="rId10" Type="http://schemas.openxmlformats.org/officeDocument/2006/relationships/image" Target="../media/image16.emf"/><Relationship Id="rId4" Type="http://schemas.openxmlformats.org/officeDocument/2006/relationships/tags" Target="../tags/tag515.xml"/><Relationship Id="rId9" Type="http://schemas.openxmlformats.org/officeDocument/2006/relationships/oleObject" Target="../embeddings/oleObject55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13" Type="http://schemas.openxmlformats.org/officeDocument/2006/relationships/oleObject" Target="../embeddings/oleObject56.bin"/><Relationship Id="rId3" Type="http://schemas.openxmlformats.org/officeDocument/2006/relationships/tags" Target="../tags/tag519.xml"/><Relationship Id="rId7" Type="http://schemas.openxmlformats.org/officeDocument/2006/relationships/tags" Target="../tags/tag523.xml"/><Relationship Id="rId12" Type="http://schemas.openxmlformats.org/officeDocument/2006/relationships/notesSlide" Target="../notesSlides/notesSlide27.xml"/><Relationship Id="rId2" Type="http://schemas.openxmlformats.org/officeDocument/2006/relationships/tags" Target="../tags/tag518.xml"/><Relationship Id="rId16" Type="http://schemas.openxmlformats.org/officeDocument/2006/relationships/slide" Target="slide3.xml"/><Relationship Id="rId1" Type="http://schemas.openxmlformats.org/officeDocument/2006/relationships/vmlDrawing" Target="../drawings/vmlDrawing56.vml"/><Relationship Id="rId6" Type="http://schemas.openxmlformats.org/officeDocument/2006/relationships/tags" Target="../tags/tag522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21.xml"/><Relationship Id="rId15" Type="http://schemas.openxmlformats.org/officeDocument/2006/relationships/image" Target="../media/image22.jpeg"/><Relationship Id="rId10" Type="http://schemas.openxmlformats.org/officeDocument/2006/relationships/tags" Target="../tags/tag526.xml"/><Relationship Id="rId4" Type="http://schemas.openxmlformats.org/officeDocument/2006/relationships/tags" Target="../tags/tag520.xml"/><Relationship Id="rId9" Type="http://schemas.openxmlformats.org/officeDocument/2006/relationships/tags" Target="../tags/tag525.xml"/><Relationship Id="rId14" Type="http://schemas.openxmlformats.org/officeDocument/2006/relationships/image" Target="../media/image11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533.xml"/><Relationship Id="rId13" Type="http://schemas.openxmlformats.org/officeDocument/2006/relationships/image" Target="../media/image48.jpeg"/><Relationship Id="rId3" Type="http://schemas.openxmlformats.org/officeDocument/2006/relationships/tags" Target="../tags/tag528.xml"/><Relationship Id="rId7" Type="http://schemas.openxmlformats.org/officeDocument/2006/relationships/tags" Target="../tags/tag532.xml"/><Relationship Id="rId12" Type="http://schemas.openxmlformats.org/officeDocument/2006/relationships/image" Target="../media/image16.emf"/><Relationship Id="rId2" Type="http://schemas.openxmlformats.org/officeDocument/2006/relationships/tags" Target="../tags/tag527.xml"/><Relationship Id="rId1" Type="http://schemas.openxmlformats.org/officeDocument/2006/relationships/vmlDrawing" Target="../drawings/vmlDrawing57.vml"/><Relationship Id="rId6" Type="http://schemas.openxmlformats.org/officeDocument/2006/relationships/tags" Target="../tags/tag531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530.xml"/><Relationship Id="rId10" Type="http://schemas.openxmlformats.org/officeDocument/2006/relationships/notesSlide" Target="../notesSlides/notesSlide28.xml"/><Relationship Id="rId4" Type="http://schemas.openxmlformats.org/officeDocument/2006/relationships/tags" Target="../tags/tag529.xml"/><Relationship Id="rId9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540.xml"/><Relationship Id="rId13" Type="http://schemas.openxmlformats.org/officeDocument/2006/relationships/notesSlide" Target="../notesSlides/notesSlide29.xml"/><Relationship Id="rId3" Type="http://schemas.openxmlformats.org/officeDocument/2006/relationships/tags" Target="../tags/tag535.xml"/><Relationship Id="rId7" Type="http://schemas.openxmlformats.org/officeDocument/2006/relationships/tags" Target="../tags/tag539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534.xml"/><Relationship Id="rId16" Type="http://schemas.openxmlformats.org/officeDocument/2006/relationships/image" Target="../media/image48.jpeg"/><Relationship Id="rId1" Type="http://schemas.openxmlformats.org/officeDocument/2006/relationships/vmlDrawing" Target="../drawings/vmlDrawing58.vml"/><Relationship Id="rId6" Type="http://schemas.openxmlformats.org/officeDocument/2006/relationships/tags" Target="../tags/tag538.xml"/><Relationship Id="rId11" Type="http://schemas.openxmlformats.org/officeDocument/2006/relationships/tags" Target="../tags/tag543.xml"/><Relationship Id="rId5" Type="http://schemas.openxmlformats.org/officeDocument/2006/relationships/tags" Target="../tags/tag537.xml"/><Relationship Id="rId15" Type="http://schemas.openxmlformats.org/officeDocument/2006/relationships/image" Target="../media/image16.emf"/><Relationship Id="rId10" Type="http://schemas.openxmlformats.org/officeDocument/2006/relationships/tags" Target="../tags/tag542.xml"/><Relationship Id="rId4" Type="http://schemas.openxmlformats.org/officeDocument/2006/relationships/tags" Target="../tags/tag536.xml"/><Relationship Id="rId9" Type="http://schemas.openxmlformats.org/officeDocument/2006/relationships/tags" Target="../tags/tag541.xml"/><Relationship Id="rId14" Type="http://schemas.openxmlformats.org/officeDocument/2006/relationships/oleObject" Target="../embeddings/oleObject5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tags" Target="../tags/tag301.xml"/><Relationship Id="rId18" Type="http://schemas.openxmlformats.org/officeDocument/2006/relationships/image" Target="../media/image22.jpeg"/><Relationship Id="rId3" Type="http://schemas.openxmlformats.org/officeDocument/2006/relationships/tags" Target="../tags/tag291.xml"/><Relationship Id="rId21" Type="http://schemas.openxmlformats.org/officeDocument/2006/relationships/slide" Target="slide22.xml"/><Relationship Id="rId7" Type="http://schemas.openxmlformats.org/officeDocument/2006/relationships/tags" Target="../tags/tag295.xml"/><Relationship Id="rId12" Type="http://schemas.openxmlformats.org/officeDocument/2006/relationships/tags" Target="../tags/tag300.xml"/><Relationship Id="rId17" Type="http://schemas.openxmlformats.org/officeDocument/2006/relationships/image" Target="../media/image11.emf"/><Relationship Id="rId2" Type="http://schemas.openxmlformats.org/officeDocument/2006/relationships/tags" Target="../tags/tag290.xml"/><Relationship Id="rId16" Type="http://schemas.openxmlformats.org/officeDocument/2006/relationships/oleObject" Target="../embeddings/oleObject36.bin"/><Relationship Id="rId20" Type="http://schemas.openxmlformats.org/officeDocument/2006/relationships/slide" Target="slide16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94.xml"/><Relationship Id="rId11" Type="http://schemas.openxmlformats.org/officeDocument/2006/relationships/tags" Target="../tags/tag299.xml"/><Relationship Id="rId5" Type="http://schemas.openxmlformats.org/officeDocument/2006/relationships/tags" Target="../tags/tag293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298.xml"/><Relationship Id="rId19" Type="http://schemas.openxmlformats.org/officeDocument/2006/relationships/slide" Target="slide10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slideLayout" Target="../slideLayouts/slideLayout2.xml"/><Relationship Id="rId22" Type="http://schemas.openxmlformats.org/officeDocument/2006/relationships/slide" Target="slide2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550.xml"/><Relationship Id="rId13" Type="http://schemas.openxmlformats.org/officeDocument/2006/relationships/image" Target="../media/image16.emf"/><Relationship Id="rId3" Type="http://schemas.openxmlformats.org/officeDocument/2006/relationships/tags" Target="../tags/tag545.xml"/><Relationship Id="rId7" Type="http://schemas.openxmlformats.org/officeDocument/2006/relationships/tags" Target="../tags/tag549.xml"/><Relationship Id="rId12" Type="http://schemas.openxmlformats.org/officeDocument/2006/relationships/oleObject" Target="../embeddings/oleObject59.bin"/><Relationship Id="rId2" Type="http://schemas.openxmlformats.org/officeDocument/2006/relationships/tags" Target="../tags/tag544.xml"/><Relationship Id="rId1" Type="http://schemas.openxmlformats.org/officeDocument/2006/relationships/vmlDrawing" Target="../drawings/vmlDrawing59.vml"/><Relationship Id="rId6" Type="http://schemas.openxmlformats.org/officeDocument/2006/relationships/tags" Target="../tags/tag548.xml"/><Relationship Id="rId11" Type="http://schemas.openxmlformats.org/officeDocument/2006/relationships/notesSlide" Target="../notesSlides/notesSlide30.xml"/><Relationship Id="rId5" Type="http://schemas.openxmlformats.org/officeDocument/2006/relationships/tags" Target="../tags/tag547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546.xml"/><Relationship Id="rId9" Type="http://schemas.openxmlformats.org/officeDocument/2006/relationships/tags" Target="../tags/tag551.xml"/><Relationship Id="rId14" Type="http://schemas.openxmlformats.org/officeDocument/2006/relationships/image" Target="../media/image48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558.xml"/><Relationship Id="rId13" Type="http://schemas.openxmlformats.org/officeDocument/2006/relationships/image" Target="../media/image16.emf"/><Relationship Id="rId3" Type="http://schemas.openxmlformats.org/officeDocument/2006/relationships/tags" Target="../tags/tag553.xml"/><Relationship Id="rId7" Type="http://schemas.openxmlformats.org/officeDocument/2006/relationships/tags" Target="../tags/tag557.xml"/><Relationship Id="rId12" Type="http://schemas.openxmlformats.org/officeDocument/2006/relationships/oleObject" Target="../embeddings/oleObject60.bin"/><Relationship Id="rId2" Type="http://schemas.openxmlformats.org/officeDocument/2006/relationships/tags" Target="../tags/tag552.xml"/><Relationship Id="rId1" Type="http://schemas.openxmlformats.org/officeDocument/2006/relationships/vmlDrawing" Target="../drawings/vmlDrawing60.vml"/><Relationship Id="rId6" Type="http://schemas.openxmlformats.org/officeDocument/2006/relationships/tags" Target="../tags/tag556.xml"/><Relationship Id="rId11" Type="http://schemas.openxmlformats.org/officeDocument/2006/relationships/notesSlide" Target="../notesSlides/notesSlide31.xml"/><Relationship Id="rId5" Type="http://schemas.openxmlformats.org/officeDocument/2006/relationships/tags" Target="../tags/tag555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554.xml"/><Relationship Id="rId9" Type="http://schemas.openxmlformats.org/officeDocument/2006/relationships/tags" Target="../tags/tag559.xml"/><Relationship Id="rId14" Type="http://schemas.openxmlformats.org/officeDocument/2006/relationships/image" Target="../media/image48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566.xml"/><Relationship Id="rId13" Type="http://schemas.openxmlformats.org/officeDocument/2006/relationships/image" Target="../media/image16.emf"/><Relationship Id="rId3" Type="http://schemas.openxmlformats.org/officeDocument/2006/relationships/tags" Target="../tags/tag561.xml"/><Relationship Id="rId7" Type="http://schemas.openxmlformats.org/officeDocument/2006/relationships/tags" Target="../tags/tag565.xml"/><Relationship Id="rId12" Type="http://schemas.openxmlformats.org/officeDocument/2006/relationships/oleObject" Target="../embeddings/oleObject61.bin"/><Relationship Id="rId2" Type="http://schemas.openxmlformats.org/officeDocument/2006/relationships/tags" Target="../tags/tag560.xml"/><Relationship Id="rId1" Type="http://schemas.openxmlformats.org/officeDocument/2006/relationships/vmlDrawing" Target="../drawings/vmlDrawing61.vml"/><Relationship Id="rId6" Type="http://schemas.openxmlformats.org/officeDocument/2006/relationships/tags" Target="../tags/tag564.xml"/><Relationship Id="rId11" Type="http://schemas.openxmlformats.org/officeDocument/2006/relationships/notesSlide" Target="../notesSlides/notesSlide32.xml"/><Relationship Id="rId5" Type="http://schemas.openxmlformats.org/officeDocument/2006/relationships/tags" Target="../tags/tag563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562.xml"/><Relationship Id="rId9" Type="http://schemas.openxmlformats.org/officeDocument/2006/relationships/tags" Target="../tags/tag567.xml"/><Relationship Id="rId14" Type="http://schemas.openxmlformats.org/officeDocument/2006/relationships/image" Target="../media/image48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53.png"/><Relationship Id="rId3" Type="http://schemas.openxmlformats.org/officeDocument/2006/relationships/tags" Target="../tags/tag569.xml"/><Relationship Id="rId7" Type="http://schemas.openxmlformats.org/officeDocument/2006/relationships/image" Target="../media/image16.emf"/><Relationship Id="rId12" Type="http://schemas.openxmlformats.org/officeDocument/2006/relationships/image" Target="../media/image52.png"/><Relationship Id="rId2" Type="http://schemas.openxmlformats.org/officeDocument/2006/relationships/tags" Target="../tags/tag568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11" Type="http://schemas.openxmlformats.org/officeDocument/2006/relationships/image" Target="../media/image51.png"/><Relationship Id="rId5" Type="http://schemas.openxmlformats.org/officeDocument/2006/relationships/notesSlide" Target="../notesSlides/notesSlide33.xml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9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57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63.bin"/><Relationship Id="rId4" Type="http://schemas.openxmlformats.org/officeDocument/2006/relationships/notesSlide" Target="../notesSlides/notesSlide34.xml"/><Relationship Id="rId9" Type="http://schemas.openxmlformats.org/officeDocument/2006/relationships/image" Target="../media/image55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emf"/><Relationship Id="rId2" Type="http://schemas.openxmlformats.org/officeDocument/2006/relationships/tags" Target="../tags/tag571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image" Target="../media/image56.png"/><Relationship Id="rId10" Type="http://schemas.openxmlformats.org/officeDocument/2006/relationships/image" Target="../media/image58.png"/><Relationship Id="rId4" Type="http://schemas.openxmlformats.org/officeDocument/2006/relationships/notesSlide" Target="../notesSlides/notesSlide35.xml"/><Relationship Id="rId9" Type="http://schemas.openxmlformats.org/officeDocument/2006/relationships/image" Target="../media/image57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572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0.png"/><Relationship Id="rId2" Type="http://schemas.openxmlformats.org/officeDocument/2006/relationships/tags" Target="../tags/tag573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3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4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3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30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tags" Target="../tags/tag307.xml"/><Relationship Id="rId5" Type="http://schemas.openxmlformats.org/officeDocument/2006/relationships/tags" Target="../tags/tag306.xml"/><Relationship Id="rId10" Type="http://schemas.openxmlformats.org/officeDocument/2006/relationships/hyperlink" Target="http://ftp.dot.state.tx.us/pub/txdot/tpp/workflow.pdf" TargetMode="External"/><Relationship Id="rId4" Type="http://schemas.openxmlformats.org/officeDocument/2006/relationships/tags" Target="../tags/tag305.xml"/><Relationship Id="rId9" Type="http://schemas.openxmlformats.org/officeDocument/2006/relationships/image" Target="../media/image2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7" Type="http://schemas.openxmlformats.org/officeDocument/2006/relationships/image" Target="../media/image16.emf"/><Relationship Id="rId2" Type="http://schemas.openxmlformats.org/officeDocument/2006/relationships/tags" Target="../tags/tag308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tags" Target="../tags/tag311.xml"/><Relationship Id="rId7" Type="http://schemas.openxmlformats.org/officeDocument/2006/relationships/image" Target="../media/image11.emf"/><Relationship Id="rId2" Type="http://schemas.openxmlformats.org/officeDocument/2006/relationships/tags" Target="../tags/tag310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emf"/><Relationship Id="rId2" Type="http://schemas.openxmlformats.org/officeDocument/2006/relationships/tags" Target="../tags/tag312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317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316.xml"/><Relationship Id="rId9" Type="http://schemas.openxmlformats.org/officeDocument/2006/relationships/tags" Target="../tags/tag3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13" Type="http://schemas.openxmlformats.org/officeDocument/2006/relationships/notesSlide" Target="../notesSlides/notesSlide9.xml"/><Relationship Id="rId3" Type="http://schemas.openxmlformats.org/officeDocument/2006/relationships/tags" Target="../tags/tag324.xml"/><Relationship Id="rId7" Type="http://schemas.openxmlformats.org/officeDocument/2006/relationships/tags" Target="../tags/tag328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11" Type="http://schemas.openxmlformats.org/officeDocument/2006/relationships/tags" Target="../tags/tag332.xml"/><Relationship Id="rId5" Type="http://schemas.openxmlformats.org/officeDocument/2006/relationships/tags" Target="../tags/tag326.xml"/><Relationship Id="rId10" Type="http://schemas.openxmlformats.org/officeDocument/2006/relationships/tags" Target="../tags/tag331.xml"/><Relationship Id="rId4" Type="http://schemas.openxmlformats.org/officeDocument/2006/relationships/tags" Target="../tags/tag325.xml"/><Relationship Id="rId9" Type="http://schemas.openxmlformats.org/officeDocument/2006/relationships/tags" Target="../tags/tag3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435332"/>
            <a:ext cx="4191000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Project Development &amp; Delivery at </a:t>
            </a:r>
            <a:r>
              <a:rPr lang="en-US" dirty="0" err="1" smtClean="0"/>
              <a:t>TxDO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1010" y="3450432"/>
            <a:ext cx="4191000" cy="830997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 smtClean="0"/>
              <a:t>Catherine McCreight, MBA</a:t>
            </a:r>
          </a:p>
          <a:p>
            <a:r>
              <a:rPr lang="en-US" sz="1600" i="1" dirty="0" smtClean="0"/>
              <a:t>Sr. transportation planner</a:t>
            </a:r>
            <a:endParaRPr lang="en-US" sz="1600" i="1" dirty="0" smtClean="0"/>
          </a:p>
          <a:p>
            <a:endParaRPr lang="en-US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535347" y="4715943"/>
            <a:ext cx="1303867" cy="246136"/>
          </a:xfrm>
          <a:prstGeom prst="rect">
            <a:avLst/>
          </a:prstGeom>
          <a:noFill/>
        </p:spPr>
        <p:txBody>
          <a:bodyPr wrap="square" lIns="91356" tIns="45678" rIns="91356" bIns="45678" rtlCol="0">
            <a:spAutoFit/>
          </a:bodyPr>
          <a:lstStyle/>
          <a:p>
            <a:pPr algn="r"/>
            <a:r>
              <a:rPr lang="en-US" sz="1000" dirty="0" smtClean="0">
                <a:solidFill>
                  <a:schemeClr val="bg1"/>
                </a:solidFill>
                <a:latin typeface="+mj-lt"/>
              </a:rPr>
              <a:t>October 2019</a:t>
            </a:r>
            <a:endParaRPr lang="en-US" sz="1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57187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4327451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08"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latin typeface="Franklin Gothic Book" panose="020B0503020102090204" pitchFamily="34" charset="0"/>
              <a:sym typeface="Franklin Gothic Book" panose="020B050302010209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947161" y="482600"/>
            <a:ext cx="5196841" cy="4229100"/>
            <a:chOff x="3947159" y="482600"/>
            <a:chExt cx="5196841" cy="4229100"/>
          </a:xfrm>
        </p:grpSpPr>
        <p:pic>
          <p:nvPicPr>
            <p:cNvPr id="3" name="Picture 2"/>
            <p:cNvPicPr>
              <a:picLocks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39" r="9039"/>
            <a:stretch/>
          </p:blipFill>
          <p:spPr>
            <a:xfrm>
              <a:off x="3947160" y="482600"/>
              <a:ext cx="5196840" cy="4229100"/>
            </a:xfrm>
            <a:prstGeom prst="rect">
              <a:avLst/>
            </a:prstGeom>
          </p:spPr>
        </p:pic>
        <p:sp>
          <p:nvSpPr>
            <p:cNvPr id="7" name="Rectangle 6"/>
            <p:cNvSpPr>
              <a:spLocks/>
            </p:cNvSpPr>
            <p:nvPr/>
          </p:nvSpPr>
          <p:spPr>
            <a:xfrm>
              <a:off x="3947159" y="482600"/>
              <a:ext cx="3930015" cy="42291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fld id="{736AB9FE-D634-405C-BC98-8B45F0377B79}" type="datetime'Contents'">
              <a:rPr lang="en-US" altLang="en-US"/>
              <a:pPr/>
              <a:t>Contents</a:t>
            </a:fld>
            <a:endParaRPr lang="en-US" dirty="0"/>
          </a:p>
        </p:txBody>
      </p:sp>
      <p:sp>
        <p:nvSpPr>
          <p:cNvPr id="22" name="Text Placeholder 2">
            <a:hlinkClick r:id="rId19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1926" y="536575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/>
              <a:t>Chapter 1: Overview of Project Development and </a:t>
            </a:r>
            <a:r>
              <a:rPr lang="en-US" altLang="en-US" b="1" dirty="0" smtClean="0"/>
              <a:t>Delivery</a:t>
            </a:r>
            <a:endParaRPr lang="en-US" b="1" dirty="0"/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1926" y="942975"/>
            <a:ext cx="5260975" cy="4079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xtLst/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>
              <a:buClr>
                <a:schemeClr val="bg1"/>
              </a:buClr>
            </a:pPr>
            <a:r>
              <a:rPr lang="en-US" altLang="en-US" b="1" dirty="0" smtClean="0">
                <a:solidFill>
                  <a:schemeClr val="bg1"/>
                </a:solidFill>
              </a:rPr>
              <a:t>Performance Based </a:t>
            </a:r>
            <a:r>
              <a:rPr lang="en-US" altLang="en-US" b="1" dirty="0">
                <a:solidFill>
                  <a:schemeClr val="bg1"/>
                </a:solidFill>
              </a:rPr>
              <a:t>Planning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9" name="Text Placeholder 2">
            <a:hlinkClick r:id="rId20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1926" y="1350963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/>
              <a:t>Quarterly Review Process</a:t>
            </a:r>
            <a:endParaRPr lang="en-US" dirty="0"/>
          </a:p>
        </p:txBody>
      </p:sp>
      <p:sp>
        <p:nvSpPr>
          <p:cNvPr id="92" name="Text Placeholder 2">
            <a:hlinkClick r:id="rId21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1926" y="1757363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80893" tIns="80893" rIns="0" bIns="82480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Project Delivery and Governance </a:t>
            </a:r>
            <a:endParaRPr lang="en-US" dirty="0"/>
          </a:p>
        </p:txBody>
      </p:sp>
      <p:sp>
        <p:nvSpPr>
          <p:cNvPr id="50" name="Text Placeholder 2">
            <a:hlinkClick r:id="rId22" action="ppaction://hlinksldjump"/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1926" y="2165350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2: Project </a:t>
            </a:r>
            <a:r>
              <a:rPr lang="en-US" altLang="en-US" dirty="0" smtClean="0"/>
              <a:t>Initiation/ Planning</a:t>
            </a:r>
            <a:endParaRPr lang="en-US" dirty="0"/>
          </a:p>
        </p:txBody>
      </p:sp>
      <p:sp>
        <p:nvSpPr>
          <p:cNvPr id="65" name="Text Placeholder 2">
            <a:hlinkClick r:id="" action="ppaction://noaction"/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61926" y="2571750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3: Preliminary Engineering</a:t>
            </a:r>
            <a:endParaRPr lang="en-US" dirty="0"/>
          </a:p>
        </p:txBody>
      </p:sp>
      <p:sp>
        <p:nvSpPr>
          <p:cNvPr id="70" name="Text Placeholder 2">
            <a:hlinkClick r:id="" action="ppaction://noaction"/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1926" y="2978150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4: Plans, Specifications, and </a:t>
            </a:r>
            <a:r>
              <a:rPr lang="en-US" altLang="en-US" dirty="0" smtClean="0"/>
              <a:t>Estimate </a:t>
            </a:r>
            <a:r>
              <a:rPr lang="en-US" altLang="en-US" dirty="0"/>
              <a:t>(PS&amp;E)</a:t>
            </a:r>
          </a:p>
        </p:txBody>
      </p:sp>
      <p:sp>
        <p:nvSpPr>
          <p:cNvPr id="75" name="Text Placeholder 2">
            <a:hlinkClick r:id="" action="ppaction://noaction"/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61926" y="3386138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5: Letting </a:t>
            </a:r>
          </a:p>
        </p:txBody>
      </p:sp>
      <p:sp>
        <p:nvSpPr>
          <p:cNvPr id="80" name="Text Placeholder 2">
            <a:hlinkClick r:id="" action="ppaction://noaction"/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61926" y="3792538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2480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6: Construction </a:t>
            </a:r>
          </a:p>
        </p:txBody>
      </p:sp>
      <p:sp>
        <p:nvSpPr>
          <p:cNvPr id="85" name="Text Placeholder 2">
            <a:hlinkClick r:id="" action="ppaction://noaction"/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1926" y="4200525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7: Summary &amp; Review</a:t>
            </a:r>
            <a:endParaRPr lang="en-US" dirty="0"/>
          </a:p>
        </p:txBody>
      </p:sp>
      <p:sp>
        <p:nvSpPr>
          <p:cNvPr id="93" name="Marvin Title Tracker Circle"/>
          <p:cNvSpPr/>
          <p:nvPr/>
        </p:nvSpPr>
        <p:spPr>
          <a:xfrm>
            <a:off x="479371" y="991114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A</a:t>
            </a:r>
          </a:p>
        </p:txBody>
      </p:sp>
      <p:sp>
        <p:nvSpPr>
          <p:cNvPr id="94" name="Marvin Title Tracker Circle"/>
          <p:cNvSpPr/>
          <p:nvPr/>
        </p:nvSpPr>
        <p:spPr>
          <a:xfrm>
            <a:off x="479371" y="1389140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B</a:t>
            </a:r>
          </a:p>
        </p:txBody>
      </p:sp>
      <p:sp>
        <p:nvSpPr>
          <p:cNvPr id="95" name="Marvin Title Tracker Circle"/>
          <p:cNvSpPr/>
          <p:nvPr/>
        </p:nvSpPr>
        <p:spPr>
          <a:xfrm>
            <a:off x="479371" y="178716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780115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377682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425" name="think-cell Slide" r:id="rId18" imgW="526" imgH="526" progId="TCLayout.ActiveDocument.1">
                  <p:embed/>
                </p:oleObj>
              </mc:Choice>
              <mc:Fallback>
                <p:oleObj name="think-cell Slide" r:id="rId18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8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4071" y="1992045"/>
            <a:ext cx="2513715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efine clear key performance measure (KPM) goals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evelop planning targets for each District &amp; MPO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Align with strategic objectives and support compliance with State Legislative requirements</a:t>
            </a:r>
            <a:endParaRPr lang="en-US" dirty="0">
              <a:latin typeface="Franklin Gothic Book"/>
            </a:endParaRPr>
          </a:p>
        </p:txBody>
      </p:sp>
      <p:grpSp>
        <p:nvGrpSpPr>
          <p:cNvPr id="23" name="Flow 66"/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440953" y="708572"/>
            <a:ext cx="2738928" cy="1194775"/>
            <a:chOff x="503236" y="883132"/>
            <a:chExt cx="2619469" cy="914401"/>
          </a:xfrm>
        </p:grpSpPr>
        <p:sp>
          <p:nvSpPr>
            <p:cNvPr id="24" name="Freeform 23"/>
            <p:cNvSpPr/>
            <p:nvPr>
              <p:custDataLst>
                <p:tags r:id="rId14"/>
              </p:custDataLst>
            </p:nvPr>
          </p:nvSpPr>
          <p:spPr bwMode="auto">
            <a:xfrm>
              <a:off x="503236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9" y="0"/>
                  </a:lnTo>
                  <a:lnTo>
                    <a:pt x="1828800" y="457200"/>
                  </a:lnTo>
                  <a:lnTo>
                    <a:pt x="1713889" y="914401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</p:spPr>
          <p:txBody>
            <a:bodyPr wrap="none" rtlCol="0" anchor="ctr">
              <a:noAutofit/>
            </a:bodyPr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27" name="TextBox 9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54036" y="1156856"/>
              <a:ext cx="2404077" cy="341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Plan</a:t>
              </a:r>
            </a:p>
            <a:p>
              <a:pPr algn="ctr"/>
              <a:r>
                <a:rPr lang="en-US" sz="1300" dirty="0">
                  <a:solidFill>
                    <a:schemeClr val="bg1">
                      <a:lumMod val="95000"/>
                    </a:schemeClr>
                  </a:solidFill>
                </a:rPr>
                <a:t>(Performance based planning, PBP)</a:t>
              </a:r>
            </a:p>
          </p:txBody>
        </p:sp>
      </p:grpSp>
      <p:sp>
        <p:nvSpPr>
          <p:cNvPr id="28" name="Rectangle 28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68847" y="1992045"/>
            <a:ext cx="2428366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istricts program a mix of projects to help meet their KPM goals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Manage portfolio to maintain the right volume and mix of projects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efined meeting cadence standardized throughout state</a:t>
            </a:r>
            <a:endParaRPr lang="en-US" dirty="0">
              <a:latin typeface="Franklin Gothic Book"/>
            </a:endParaRPr>
          </a:p>
        </p:txBody>
      </p:sp>
      <p:grpSp>
        <p:nvGrpSpPr>
          <p:cNvPr id="29" name="Flow 50"/>
          <p:cNvGrpSpPr/>
          <p:nvPr>
            <p:custDataLst>
              <p:tags r:id="rId6"/>
            </p:custDataLst>
          </p:nvPr>
        </p:nvGrpSpPr>
        <p:grpSpPr>
          <a:xfrm>
            <a:off x="3230384" y="708572"/>
            <a:ext cx="2738928" cy="1194775"/>
            <a:chOff x="3171005" y="883132"/>
            <a:chExt cx="2619469" cy="914401"/>
          </a:xfrm>
        </p:grpSpPr>
        <p:sp>
          <p:nvSpPr>
            <p:cNvPr id="30" name="Freeform 29"/>
            <p:cNvSpPr/>
            <p:nvPr>
              <p:custDataLst>
                <p:tags r:id="rId12"/>
              </p:custDataLst>
            </p:nvPr>
          </p:nvSpPr>
          <p:spPr bwMode="auto">
            <a:xfrm>
              <a:off x="3171005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9" y="0"/>
                  </a:lnTo>
                  <a:lnTo>
                    <a:pt x="1828800" y="457200"/>
                  </a:lnTo>
                  <a:lnTo>
                    <a:pt x="1713889" y="914401"/>
                  </a:lnTo>
                  <a:lnTo>
                    <a:pt x="0" y="914400"/>
                  </a:lnTo>
                  <a:lnTo>
                    <a:pt x="114911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31" name="TextBox 9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386397" y="1156870"/>
              <a:ext cx="2239484" cy="341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Manage</a:t>
              </a:r>
            </a:p>
            <a:p>
              <a:pPr algn="ctr"/>
              <a:r>
                <a:rPr lang="en-US" sz="1300" b="1" dirty="0">
                  <a:solidFill>
                    <a:schemeClr val="bg1">
                      <a:lumMod val="95000"/>
                    </a:schemeClr>
                  </a:solidFill>
                </a:rPr>
                <a:t>(Quarterly review process, QRP)</a:t>
              </a:r>
            </a:p>
          </p:txBody>
        </p:sp>
      </p:grpSp>
      <p:sp>
        <p:nvSpPr>
          <p:cNvPr id="13" name="Rectangle 28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24997" y="1992031"/>
            <a:ext cx="2461649" cy="2659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Standardized workflow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Track projects from start to finish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Defined roles and responsibilities 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Pro-active collaboration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Individual projects are delivered on time and at budgeted cost to minimize delays and cost overruns</a:t>
            </a:r>
          </a:p>
        </p:txBody>
      </p:sp>
      <p:grpSp>
        <p:nvGrpSpPr>
          <p:cNvPr id="10" name="Flow 90"/>
          <p:cNvGrpSpPr/>
          <p:nvPr>
            <p:custDataLst>
              <p:tags r:id="rId8"/>
            </p:custDataLst>
          </p:nvPr>
        </p:nvGrpSpPr>
        <p:grpSpPr>
          <a:xfrm>
            <a:off x="6019816" y="708572"/>
            <a:ext cx="2738928" cy="1194775"/>
            <a:chOff x="5838774" y="883132"/>
            <a:chExt cx="2619469" cy="914401"/>
          </a:xfrm>
        </p:grpSpPr>
        <p:sp>
          <p:nvSpPr>
            <p:cNvPr id="11" name="Freeform 10"/>
            <p:cNvSpPr/>
            <p:nvPr>
              <p:custDataLst>
                <p:tags r:id="rId10"/>
              </p:custDataLst>
            </p:nvPr>
          </p:nvSpPr>
          <p:spPr bwMode="auto">
            <a:xfrm>
              <a:off x="5838774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8" y="0"/>
                  </a:lnTo>
                  <a:lnTo>
                    <a:pt x="1828800" y="457200"/>
                  </a:lnTo>
                  <a:lnTo>
                    <a:pt x="1713888" y="914401"/>
                  </a:lnTo>
                  <a:lnTo>
                    <a:pt x="0" y="914400"/>
                  </a:lnTo>
                  <a:lnTo>
                    <a:pt x="114911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12" name="TextBox 9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054166" y="1080306"/>
              <a:ext cx="2239484" cy="4946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 smtClean="0">
                  <a:solidFill>
                    <a:schemeClr val="bg1">
                      <a:lumMod val="95000"/>
                    </a:schemeClr>
                  </a:solidFill>
                  <a:latin typeface="Franklin Gothic Book"/>
                </a:rPr>
                <a:t>Deliver</a:t>
              </a:r>
            </a:p>
            <a:p>
              <a:pPr algn="ctr"/>
              <a:r>
                <a:rPr lang="en-US" sz="1300" b="1" dirty="0">
                  <a:solidFill>
                    <a:schemeClr val="bg1">
                      <a:lumMod val="95000"/>
                    </a:schemeClr>
                  </a:solidFill>
                  <a:latin typeface="Franklin Gothic Book"/>
                </a:rPr>
                <a:t>(Project Delivery and Governance, PD&amp;G)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</p:spPr>
        <p:txBody>
          <a:bodyPr/>
          <a:lstStyle/>
          <a:p>
            <a:pPr marL="366385">
              <a:tabLst/>
            </a:pPr>
            <a:r>
              <a:rPr lang="en-US" dirty="0"/>
              <a:t>Role of Performance Based Planning (</a:t>
            </a:r>
            <a:r>
              <a:rPr lang="en-US" dirty="0" smtClean="0"/>
              <a:t>PBP) </a:t>
            </a:r>
            <a:endParaRPr lang="en-US" dirty="0"/>
          </a:p>
        </p:txBody>
      </p:sp>
      <p:sp>
        <p:nvSpPr>
          <p:cNvPr id="37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A</a:t>
            </a:r>
          </a:p>
        </p:txBody>
      </p:sp>
      <p:sp>
        <p:nvSpPr>
          <p:cNvPr id="32" name="Rectangle 3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210942" y="501355"/>
            <a:ext cx="5850249" cy="4149866"/>
          </a:xfrm>
          <a:prstGeom prst="rect">
            <a:avLst/>
          </a:prstGeom>
          <a:solidFill>
            <a:schemeClr val="bg2">
              <a:alpha val="91000"/>
            </a:schemeClr>
          </a:solidFill>
          <a:ln w="9525">
            <a:solidFill>
              <a:schemeClr val="bg2">
                <a:alpha val="7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501" tIns="72501" rIns="72501" bIns="72501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4738" eaLnBrk="1" hangingPunct="1">
              <a:buClr>
                <a:schemeClr val="tx2"/>
              </a:buClr>
              <a:defRPr sz="1524" baseline="0">
                <a:latin typeface="+mn-lt"/>
                <a:cs typeface="Arial"/>
              </a:defRPr>
            </a:lvl1pPr>
            <a:lvl2pPr marL="193543" indent="-191957" defTabSz="89473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24" baseline="0">
                <a:latin typeface="+mn-lt"/>
              </a:defRPr>
            </a:lvl2pPr>
            <a:lvl3pPr marL="456888" indent="-261760" defTabSz="89473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24" baseline="0">
                <a:latin typeface="+mn-lt"/>
              </a:defRPr>
            </a:lvl3pPr>
            <a:lvl4pPr marL="613945" indent="-155468" defTabSz="89473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24" baseline="0">
                <a:latin typeface="+mn-lt"/>
              </a:defRPr>
            </a:lvl4pPr>
            <a:lvl5pPr marL="749297" indent="-130086" defTabSz="89473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24" baseline="0">
                <a:latin typeface="+mn-lt"/>
              </a:defRPr>
            </a:lvl5pPr>
            <a:lvl6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6pPr>
            <a:lvl7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7pPr>
            <a:lvl8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8pPr>
            <a:lvl9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9pPr>
          </a:lstStyle>
          <a:p>
            <a:pPr>
              <a:buClr>
                <a:srgbClr val="132A53"/>
              </a:buClr>
            </a:pPr>
            <a:endParaRPr lang="en-US" sz="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428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51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6385" fontAlgn="auto">
              <a:spcAft>
                <a:spcPts val="0"/>
              </a:spcAft>
              <a:tabLst/>
            </a:pPr>
            <a:r>
              <a:rPr lang="en-US" dirty="0"/>
              <a:t>Role of Performance Based Planning </a:t>
            </a:r>
            <a:endParaRPr lang="en-US" sz="3200" kern="1200" dirty="0">
              <a:solidFill>
                <a:sysClr val="window" lastClr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5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A</a:t>
            </a:r>
          </a:p>
        </p:txBody>
      </p:sp>
      <p:cxnSp>
        <p:nvCxnSpPr>
          <p:cNvPr id="86" name="AutoShape 3"/>
          <p:cNvCxnSpPr>
            <a:cxnSpLocks noChangeShapeType="1"/>
            <a:stCxn id="89" idx="3"/>
            <a:endCxn id="90" idx="1"/>
          </p:cNvCxnSpPr>
          <p:nvPr/>
        </p:nvCxnSpPr>
        <p:spPr bwMode="auto">
          <a:xfrm flipV="1">
            <a:off x="2377224" y="2750801"/>
            <a:ext cx="512518" cy="1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88" name="AutoShape 9"/>
          <p:cNvCxnSpPr>
            <a:cxnSpLocks noChangeShapeType="1"/>
            <a:stCxn id="89" idx="3"/>
            <a:endCxn id="92" idx="1"/>
          </p:cNvCxnSpPr>
          <p:nvPr/>
        </p:nvCxnSpPr>
        <p:spPr bwMode="auto">
          <a:xfrm flipV="1">
            <a:off x="2377224" y="1499036"/>
            <a:ext cx="512518" cy="1251765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89" name="Rectangle 286"/>
          <p:cNvSpPr txBox="1">
            <a:spLocks noChangeArrowheads="1"/>
          </p:cNvSpPr>
          <p:nvPr/>
        </p:nvSpPr>
        <p:spPr bwMode="auto">
          <a:xfrm>
            <a:off x="963756" y="2192172"/>
            <a:ext cx="1413468" cy="111728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vert="horz" wrap="square" lIns="55925" tIns="55925" rIns="55925" bIns="5592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>
                <a:solidFill>
                  <a:schemeClr val="bg1"/>
                </a:solidFill>
              </a:rPr>
              <a:t>Performance Based Planning</a:t>
            </a:r>
          </a:p>
          <a:p>
            <a:r>
              <a:rPr lang="en-US" sz="1400" dirty="0">
                <a:solidFill>
                  <a:schemeClr val="bg1"/>
                </a:solidFill>
              </a:rPr>
              <a:t>(PBP)</a:t>
            </a:r>
          </a:p>
        </p:txBody>
      </p:sp>
      <p:cxnSp>
        <p:nvCxnSpPr>
          <p:cNvPr id="26" name="AutoShape 9"/>
          <p:cNvCxnSpPr>
            <a:cxnSpLocks noChangeShapeType="1"/>
            <a:stCxn id="89" idx="3"/>
            <a:endCxn id="91" idx="1"/>
          </p:cNvCxnSpPr>
          <p:nvPr/>
        </p:nvCxnSpPr>
        <p:spPr bwMode="auto">
          <a:xfrm>
            <a:off x="2377224" y="2750801"/>
            <a:ext cx="512518" cy="1100954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34" name="Straight Connector 33"/>
          <p:cNvCxnSpPr>
            <a:cxnSpLocks/>
          </p:cNvCxnSpPr>
          <p:nvPr/>
        </p:nvCxnSpPr>
        <p:spPr>
          <a:xfrm>
            <a:off x="4595631" y="2200323"/>
            <a:ext cx="358461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4595631" y="3301277"/>
            <a:ext cx="358461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286"/>
          <p:cNvSpPr txBox="1">
            <a:spLocks noChangeArrowheads="1"/>
          </p:cNvSpPr>
          <p:nvPr/>
        </p:nvSpPr>
        <p:spPr bwMode="auto">
          <a:xfrm>
            <a:off x="2889756" y="917352"/>
            <a:ext cx="1650303" cy="116339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vert="horz" wrap="square" lIns="137034" tIns="55925" rIns="55925" bIns="5592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  <a:ea typeface="ＭＳ Ｐゴシック"/>
              </a:rPr>
              <a:t>Facilitate adherence to State and Federal rules and regulations</a:t>
            </a:r>
          </a:p>
        </p:txBody>
      </p:sp>
      <p:sp>
        <p:nvSpPr>
          <p:cNvPr id="98" name="Rectangle 4"/>
          <p:cNvSpPr txBox="1">
            <a:spLocks/>
          </p:cNvSpPr>
          <p:nvPr/>
        </p:nvSpPr>
        <p:spPr>
          <a:xfrm>
            <a:off x="4595631" y="917338"/>
            <a:ext cx="358461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088" indent="-247650" defTabSz="913526" eaLnBrk="1" hangingPunct="1">
              <a:buClr>
                <a:schemeClr val="tx2"/>
              </a:buClr>
              <a:buSzPct val="110000"/>
              <a:buFont typeface="Arial" charset="0"/>
              <a:buChar char="–"/>
              <a:defRPr baseline="0">
                <a:latin typeface="+mn-lt"/>
              </a:defRPr>
            </a:lvl3pPr>
            <a:lvl4pPr marL="631825" indent="-185738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98513" indent="-16668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400" dirty="0"/>
              <a:t>Enable TxDOT to </a:t>
            </a:r>
            <a:r>
              <a:rPr lang="en-US" sz="1400" b="1" dirty="0"/>
              <a:t>comply with</a:t>
            </a:r>
            <a:r>
              <a:rPr lang="en-US" sz="1400" dirty="0"/>
              <a:t> </a:t>
            </a:r>
            <a:r>
              <a:rPr lang="en-US" sz="1400" b="1" dirty="0"/>
              <a:t>the performance metric portion </a:t>
            </a:r>
            <a:r>
              <a:rPr lang="en-US" sz="1400" dirty="0"/>
              <a:t>of State laws (HB20 , SB312) and Federal requirements (MAP-21 and FAST Act)</a:t>
            </a:r>
          </a:p>
          <a:p>
            <a:pPr lvl="1">
              <a:spcBef>
                <a:spcPts val="0"/>
              </a:spcBef>
            </a:pPr>
            <a:r>
              <a:rPr lang="en-US" sz="1400" dirty="0"/>
              <a:t>Implement </a:t>
            </a:r>
            <a:r>
              <a:rPr lang="en-US" sz="1400" b="1" dirty="0"/>
              <a:t>standardized</a:t>
            </a:r>
            <a:r>
              <a:rPr lang="en-US" sz="1400" dirty="0"/>
              <a:t> </a:t>
            </a:r>
            <a:r>
              <a:rPr lang="en-US" sz="1400" b="1" dirty="0"/>
              <a:t>project scoring and selection </a:t>
            </a:r>
            <a:r>
              <a:rPr lang="en-US" sz="1400" dirty="0"/>
              <a:t>criteria</a:t>
            </a:r>
          </a:p>
        </p:txBody>
      </p:sp>
      <p:sp>
        <p:nvSpPr>
          <p:cNvPr id="28" name="Oval 33"/>
          <p:cNvSpPr>
            <a:spLocks noChangeArrowheads="1"/>
          </p:cNvSpPr>
          <p:nvPr/>
        </p:nvSpPr>
        <p:spPr bwMode="gray">
          <a:xfrm>
            <a:off x="2777358" y="1396878"/>
            <a:ext cx="204314" cy="20431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 marL="233015" indent="-233015" algn="ctr">
              <a:spcAft>
                <a:spcPct val="50000"/>
              </a:spcAft>
              <a:buClr>
                <a:schemeClr val="tx2"/>
              </a:buClr>
            </a:pPr>
            <a:r>
              <a:rPr lang="en-US" sz="1400" b="1" dirty="0">
                <a:solidFill>
                  <a:schemeClr val="accent3"/>
                </a:solidFill>
                <a:latin typeface="+mn-lt"/>
              </a:rPr>
              <a:t>A</a:t>
            </a:r>
          </a:p>
        </p:txBody>
      </p:sp>
      <p:sp>
        <p:nvSpPr>
          <p:cNvPr id="49" name="Rectangle 4"/>
          <p:cNvSpPr txBox="1">
            <a:spLocks/>
          </p:cNvSpPr>
          <p:nvPr/>
        </p:nvSpPr>
        <p:spPr>
          <a:xfrm>
            <a:off x="4595631" y="2319913"/>
            <a:ext cx="3584614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088" indent="-247650" defTabSz="913526" eaLnBrk="1" hangingPunct="1">
              <a:buClr>
                <a:schemeClr val="tx2"/>
              </a:buClr>
              <a:buSzPct val="110000"/>
              <a:buFont typeface="Arial" charset="0"/>
              <a:buChar char="–"/>
              <a:defRPr baseline="0">
                <a:latin typeface="+mn-lt"/>
              </a:defRPr>
            </a:lvl3pPr>
            <a:lvl4pPr marL="631825" indent="-185738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98513" indent="-16668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en-US" sz="1400" dirty="0"/>
              <a:t>Allow TxDOT to </a:t>
            </a:r>
            <a:r>
              <a:rPr lang="en-US" sz="1400" b="1" dirty="0"/>
              <a:t>optimize allocations among funding categories </a:t>
            </a:r>
            <a:r>
              <a:rPr lang="en-US" sz="1400" dirty="0"/>
              <a:t>to maximize alignment of projects in the portfolio to TxDOT’s strategic objectives</a:t>
            </a:r>
          </a:p>
        </p:txBody>
      </p:sp>
      <p:sp>
        <p:nvSpPr>
          <p:cNvPr id="90" name="Rectangle 286"/>
          <p:cNvSpPr txBox="1">
            <a:spLocks noChangeArrowheads="1"/>
          </p:cNvSpPr>
          <p:nvPr/>
        </p:nvSpPr>
        <p:spPr bwMode="auto">
          <a:xfrm>
            <a:off x="2889756" y="2319913"/>
            <a:ext cx="1650303" cy="86177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vert="horz" wrap="square" lIns="137034" tIns="55925" rIns="55925" bIns="5592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  <a:ea typeface="ＭＳ Ｐゴシック"/>
              </a:rPr>
              <a:t>Align planning with strategic objectives</a:t>
            </a:r>
          </a:p>
        </p:txBody>
      </p:sp>
      <p:sp>
        <p:nvSpPr>
          <p:cNvPr id="32" name="Oval 33"/>
          <p:cNvSpPr>
            <a:spLocks noChangeArrowheads="1"/>
          </p:cNvSpPr>
          <p:nvPr/>
        </p:nvSpPr>
        <p:spPr bwMode="gray">
          <a:xfrm>
            <a:off x="2777358" y="2648643"/>
            <a:ext cx="204314" cy="20431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 marL="233015" indent="-233015" algn="ctr">
              <a:spcAft>
                <a:spcPct val="50000"/>
              </a:spcAft>
              <a:buClr>
                <a:schemeClr val="tx2"/>
              </a:buClr>
            </a:pPr>
            <a:r>
              <a:rPr lang="en-US" sz="1400" b="1" dirty="0">
                <a:solidFill>
                  <a:schemeClr val="accent3"/>
                </a:solidFill>
                <a:latin typeface="+mn-lt"/>
              </a:rPr>
              <a:t>B</a:t>
            </a:r>
          </a:p>
        </p:txBody>
      </p:sp>
      <p:sp>
        <p:nvSpPr>
          <p:cNvPr id="97" name="Rectangle 4"/>
          <p:cNvSpPr txBox="1">
            <a:spLocks/>
          </p:cNvSpPr>
          <p:nvPr/>
        </p:nvSpPr>
        <p:spPr>
          <a:xfrm>
            <a:off x="4595631" y="3420868"/>
            <a:ext cx="3584614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46088" indent="-247650" defTabSz="913526" eaLnBrk="1" hangingPunct="1">
              <a:buClr>
                <a:schemeClr val="tx2"/>
              </a:buClr>
              <a:buSzPct val="110000"/>
              <a:buFont typeface="Arial" charset="0"/>
              <a:buChar char="–"/>
              <a:defRPr baseline="0">
                <a:latin typeface="+mn-lt"/>
              </a:defRPr>
            </a:lvl3pPr>
            <a:lvl4pPr marL="631825" indent="-185738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98513" indent="-16668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en-US" sz="1400" dirty="0"/>
              <a:t>Enable TxDOT to </a:t>
            </a:r>
            <a:r>
              <a:rPr lang="en-US" sz="1400" b="1" dirty="0"/>
              <a:t>monitor impact of previous investment allocation decisions </a:t>
            </a:r>
            <a:r>
              <a:rPr lang="en-US" sz="1400" dirty="0"/>
              <a:t>to system performance improvements over a period of time</a:t>
            </a:r>
          </a:p>
        </p:txBody>
      </p:sp>
      <p:sp>
        <p:nvSpPr>
          <p:cNvPr id="91" name="Rectangle 286"/>
          <p:cNvSpPr txBox="1">
            <a:spLocks noChangeArrowheads="1"/>
          </p:cNvSpPr>
          <p:nvPr/>
        </p:nvSpPr>
        <p:spPr bwMode="auto">
          <a:xfrm>
            <a:off x="2889756" y="3420868"/>
            <a:ext cx="1650303" cy="86177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vert="horz" wrap="square" lIns="137034" tIns="55925" rIns="55925" bIns="55925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  <a:ea typeface="ＭＳ Ｐゴシック"/>
              </a:rPr>
              <a:t>Enables improved project performance tracking</a:t>
            </a:r>
          </a:p>
        </p:txBody>
      </p:sp>
      <p:sp>
        <p:nvSpPr>
          <p:cNvPr id="33" name="Oval 33"/>
          <p:cNvSpPr>
            <a:spLocks noChangeArrowheads="1"/>
          </p:cNvSpPr>
          <p:nvPr/>
        </p:nvSpPr>
        <p:spPr bwMode="gray">
          <a:xfrm>
            <a:off x="2777358" y="3749598"/>
            <a:ext cx="204314" cy="20431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 marL="233015" indent="-233015" algn="ctr">
              <a:spcAft>
                <a:spcPct val="50000"/>
              </a:spcAft>
              <a:buClr>
                <a:schemeClr val="tx2"/>
              </a:buClr>
            </a:pPr>
            <a:r>
              <a:rPr lang="en-US" sz="1400" b="1" dirty="0">
                <a:solidFill>
                  <a:schemeClr val="accent3"/>
                </a:solidFill>
                <a:latin typeface="+mn-lt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3243074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4450476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42" name="think-cell Slide" r:id="rId12" imgW="353" imgH="353" progId="TCLayout.ActiveDocument.1">
                  <p:embed/>
                </p:oleObj>
              </mc:Choice>
              <mc:Fallback>
                <p:oleObj name="think-cell Slide" r:id="rId12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4" name="Group 323"/>
          <p:cNvGrpSpPr/>
          <p:nvPr/>
        </p:nvGrpSpPr>
        <p:grpSpPr>
          <a:xfrm>
            <a:off x="0" y="894919"/>
            <a:ext cx="9144000" cy="486719"/>
            <a:chOff x="0" y="895350"/>
            <a:chExt cx="9144000" cy="486719"/>
          </a:xfrm>
        </p:grpSpPr>
        <p:sp>
          <p:nvSpPr>
            <p:cNvPr id="325" name="Rectangle 324"/>
            <p:cNvSpPr>
              <a:spLocks/>
            </p:cNvSpPr>
            <p:nvPr/>
          </p:nvSpPr>
          <p:spPr>
            <a:xfrm>
              <a:off x="0" y="895350"/>
              <a:ext cx="9144000" cy="486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326" name="Straight Connector 325"/>
            <p:cNvCxnSpPr>
              <a:cxnSpLocks/>
            </p:cNvCxnSpPr>
            <p:nvPr/>
          </p:nvCxnSpPr>
          <p:spPr>
            <a:xfrm>
              <a:off x="0" y="895350"/>
              <a:ext cx="9144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7" name="Rectangle 326"/>
          <p:cNvSpPr/>
          <p:nvPr/>
        </p:nvSpPr>
        <p:spPr>
          <a:xfrm>
            <a:off x="7683592" y="895364"/>
            <a:ext cx="1460409" cy="3826787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28" name="TextBox 327"/>
          <p:cNvSpPr txBox="1"/>
          <p:nvPr/>
        </p:nvSpPr>
        <p:spPr>
          <a:xfrm>
            <a:off x="7801902" y="988518"/>
            <a:ext cx="1215099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Candidate projects are scored and ranked for its ability to improve system performance aligned with the department’s strategic objectives</a:t>
            </a:r>
          </a:p>
        </p:txBody>
      </p:sp>
      <p:sp>
        <p:nvSpPr>
          <p:cNvPr id="25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Franklin Gothic Demi" panose="020B0703020102020204" pitchFamily="34" charset="0"/>
              </a:rPr>
              <a:t>2</a:t>
            </a:r>
          </a:p>
        </p:txBody>
      </p:sp>
      <p:sp>
        <p:nvSpPr>
          <p:cNvPr id="162" name="Freeform 161"/>
          <p:cNvSpPr>
            <a:spLocks/>
          </p:cNvSpPr>
          <p:nvPr/>
        </p:nvSpPr>
        <p:spPr bwMode="gray">
          <a:xfrm>
            <a:off x="2233381" y="1521565"/>
            <a:ext cx="4328095" cy="2839350"/>
          </a:xfrm>
          <a:custGeom>
            <a:avLst/>
            <a:gdLst>
              <a:gd name="T0" fmla="*/ 328 w 3864"/>
              <a:gd name="T1" fmla="*/ 0 h 2252"/>
              <a:gd name="T2" fmla="*/ 2268 w 3864"/>
              <a:gd name="T3" fmla="*/ 764 h 2252"/>
              <a:gd name="T4" fmla="*/ 3748 w 3864"/>
              <a:gd name="T5" fmla="*/ 896 h 2252"/>
              <a:gd name="T6" fmla="*/ 3864 w 3864"/>
              <a:gd name="T7" fmla="*/ 1124 h 2252"/>
              <a:gd name="T8" fmla="*/ 3748 w 3864"/>
              <a:gd name="T9" fmla="*/ 1364 h 2252"/>
              <a:gd name="T10" fmla="*/ 2276 w 3864"/>
              <a:gd name="T11" fmla="*/ 1496 h 2252"/>
              <a:gd name="T12" fmla="*/ 324 w 3864"/>
              <a:gd name="T13" fmla="*/ 2252 h 2252"/>
              <a:gd name="T14" fmla="*/ 328 w 3864"/>
              <a:gd name="T15" fmla="*/ 0 h 22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864" h="2252">
                <a:moveTo>
                  <a:pt x="328" y="0"/>
                </a:moveTo>
                <a:cubicBezTo>
                  <a:pt x="868" y="276"/>
                  <a:pt x="1868" y="700"/>
                  <a:pt x="2268" y="764"/>
                </a:cubicBezTo>
                <a:cubicBezTo>
                  <a:pt x="2668" y="828"/>
                  <a:pt x="3304" y="888"/>
                  <a:pt x="3748" y="896"/>
                </a:cubicBezTo>
                <a:cubicBezTo>
                  <a:pt x="3835" y="830"/>
                  <a:pt x="3864" y="1046"/>
                  <a:pt x="3864" y="1124"/>
                </a:cubicBezTo>
                <a:cubicBezTo>
                  <a:pt x="3864" y="1202"/>
                  <a:pt x="3840" y="1454"/>
                  <a:pt x="3748" y="1364"/>
                </a:cubicBezTo>
                <a:cubicBezTo>
                  <a:pt x="3120" y="1380"/>
                  <a:pt x="2564" y="1460"/>
                  <a:pt x="2276" y="1496"/>
                </a:cubicBezTo>
                <a:cubicBezTo>
                  <a:pt x="1988" y="1532"/>
                  <a:pt x="1248" y="1820"/>
                  <a:pt x="324" y="2252"/>
                </a:cubicBezTo>
                <a:cubicBezTo>
                  <a:pt x="0" y="1961"/>
                  <a:pt x="5" y="252"/>
                  <a:pt x="328" y="0"/>
                </a:cubicBezTo>
                <a:close/>
              </a:path>
            </a:pathLst>
          </a:custGeom>
          <a:noFill/>
          <a:ln w="12700">
            <a:solidFill>
              <a:schemeClr val="accent3"/>
            </a:solidFill>
            <a:prstDash val="solid"/>
            <a:round/>
            <a:headEnd/>
            <a:tailEnd/>
          </a:ln>
          <a:effectLst/>
          <a:extLst/>
        </p:spPr>
        <p:txBody>
          <a:bodyPr lIns="91356" tIns="45678" rIns="91356" bIns="45678">
            <a:noAutofit/>
          </a:bodyPr>
          <a:lstStyle/>
          <a:p>
            <a:pPr>
              <a:defRPr/>
            </a:pPr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5" name="AutoShape 69"/>
          <p:cNvSpPr>
            <a:spLocks noChangeArrowheads="1"/>
          </p:cNvSpPr>
          <p:nvPr/>
        </p:nvSpPr>
        <p:spPr bwMode="gray">
          <a:xfrm>
            <a:off x="4020623" y="1676015"/>
            <a:ext cx="282024" cy="2523805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6" name="Freeform 165"/>
          <p:cNvSpPr>
            <a:spLocks/>
          </p:cNvSpPr>
          <p:nvPr/>
        </p:nvSpPr>
        <p:spPr bwMode="gray">
          <a:xfrm>
            <a:off x="3681254" y="1693528"/>
            <a:ext cx="363965" cy="2490209"/>
          </a:xfrm>
          <a:custGeom>
            <a:avLst/>
            <a:gdLst/>
            <a:ahLst/>
            <a:cxnLst>
              <a:cxn ang="0">
                <a:pos x="0" y="120"/>
              </a:cxn>
              <a:cxn ang="0">
                <a:pos x="0" y="1576"/>
              </a:cxn>
              <a:cxn ang="0">
                <a:pos x="240" y="1704"/>
              </a:cxn>
              <a:cxn ang="0">
                <a:pos x="240" y="0"/>
              </a:cxn>
              <a:cxn ang="0">
                <a:pos x="0" y="120"/>
              </a:cxn>
            </a:cxnLst>
            <a:rect l="0" t="0" r="r" b="b"/>
            <a:pathLst>
              <a:path w="241" h="1705">
                <a:moveTo>
                  <a:pt x="0" y="120"/>
                </a:moveTo>
                <a:lnTo>
                  <a:pt x="0" y="1576"/>
                </a:lnTo>
                <a:lnTo>
                  <a:pt x="240" y="1704"/>
                </a:lnTo>
                <a:lnTo>
                  <a:pt x="240" y="0"/>
                </a:lnTo>
                <a:lnTo>
                  <a:pt x="0" y="120"/>
                </a:lnTo>
                <a:close/>
              </a:path>
            </a:pathLst>
          </a:custGeom>
          <a:noFill/>
          <a:ln w="50800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7" name="Freeform 166"/>
          <p:cNvSpPr>
            <a:spLocks/>
          </p:cNvSpPr>
          <p:nvPr/>
        </p:nvSpPr>
        <p:spPr bwMode="gray">
          <a:xfrm>
            <a:off x="3681254" y="1751950"/>
            <a:ext cx="363965" cy="176724"/>
          </a:xfrm>
          <a:custGeom>
            <a:avLst/>
            <a:gdLst/>
            <a:ahLst/>
            <a:cxnLst>
              <a:cxn ang="0">
                <a:pos x="0" y="120"/>
              </a:cxn>
              <a:cxn ang="0">
                <a:pos x="240" y="0"/>
              </a:cxn>
            </a:cxnLst>
            <a:rect l="0" t="0" r="r" b="b"/>
            <a:pathLst>
              <a:path w="241" h="121">
                <a:moveTo>
                  <a:pt x="0" y="120"/>
                </a:moveTo>
                <a:lnTo>
                  <a:pt x="240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8" name="Freeform 167"/>
          <p:cNvSpPr>
            <a:spLocks/>
          </p:cNvSpPr>
          <p:nvPr/>
        </p:nvSpPr>
        <p:spPr bwMode="gray">
          <a:xfrm>
            <a:off x="3681254" y="1822055"/>
            <a:ext cx="351885" cy="165040"/>
          </a:xfrm>
          <a:custGeom>
            <a:avLst/>
            <a:gdLst/>
            <a:ahLst/>
            <a:cxnLst>
              <a:cxn ang="0">
                <a:pos x="0" y="112"/>
              </a:cxn>
              <a:cxn ang="0">
                <a:pos x="232" y="0"/>
              </a:cxn>
            </a:cxnLst>
            <a:rect l="0" t="0" r="r" b="b"/>
            <a:pathLst>
              <a:path w="233" h="113">
                <a:moveTo>
                  <a:pt x="0" y="112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9" name="Freeform 168"/>
          <p:cNvSpPr>
            <a:spLocks/>
          </p:cNvSpPr>
          <p:nvPr/>
        </p:nvSpPr>
        <p:spPr bwMode="gray">
          <a:xfrm>
            <a:off x="3681254" y="1892157"/>
            <a:ext cx="351885" cy="153354"/>
          </a:xfrm>
          <a:custGeom>
            <a:avLst/>
            <a:gdLst/>
            <a:ahLst/>
            <a:cxnLst>
              <a:cxn ang="0">
                <a:pos x="0" y="104"/>
              </a:cxn>
              <a:cxn ang="0">
                <a:pos x="232" y="0"/>
              </a:cxn>
            </a:cxnLst>
            <a:rect l="0" t="0" r="r" b="b"/>
            <a:pathLst>
              <a:path w="233" h="105">
                <a:moveTo>
                  <a:pt x="0" y="104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0" name="Freeform 169"/>
          <p:cNvSpPr>
            <a:spLocks/>
          </p:cNvSpPr>
          <p:nvPr/>
        </p:nvSpPr>
        <p:spPr bwMode="gray">
          <a:xfrm>
            <a:off x="3681254" y="1962262"/>
            <a:ext cx="351885" cy="141674"/>
          </a:xfrm>
          <a:custGeom>
            <a:avLst/>
            <a:gdLst/>
            <a:ahLst/>
            <a:cxnLst>
              <a:cxn ang="0">
                <a:pos x="0" y="96"/>
              </a:cxn>
              <a:cxn ang="0">
                <a:pos x="232" y="0"/>
              </a:cxn>
            </a:cxnLst>
            <a:rect l="0" t="0" r="r" b="b"/>
            <a:pathLst>
              <a:path w="233" h="97">
                <a:moveTo>
                  <a:pt x="0" y="96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1" name="Freeform 170"/>
          <p:cNvSpPr>
            <a:spLocks/>
          </p:cNvSpPr>
          <p:nvPr/>
        </p:nvSpPr>
        <p:spPr bwMode="gray">
          <a:xfrm>
            <a:off x="3681254" y="2032381"/>
            <a:ext cx="351885" cy="129985"/>
          </a:xfrm>
          <a:custGeom>
            <a:avLst/>
            <a:gdLst/>
            <a:ahLst/>
            <a:cxnLst>
              <a:cxn ang="0">
                <a:pos x="0" y="88"/>
              </a:cxn>
              <a:cxn ang="0">
                <a:pos x="232" y="0"/>
              </a:cxn>
            </a:cxnLst>
            <a:rect l="0" t="0" r="r" b="b"/>
            <a:pathLst>
              <a:path w="233" h="89">
                <a:moveTo>
                  <a:pt x="0" y="88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2" name="Freeform 171"/>
          <p:cNvSpPr>
            <a:spLocks/>
          </p:cNvSpPr>
          <p:nvPr/>
        </p:nvSpPr>
        <p:spPr bwMode="gray">
          <a:xfrm>
            <a:off x="3681254" y="2102476"/>
            <a:ext cx="363965" cy="118305"/>
          </a:xfrm>
          <a:custGeom>
            <a:avLst/>
            <a:gdLst/>
            <a:ahLst/>
            <a:cxnLst>
              <a:cxn ang="0">
                <a:pos x="0" y="80"/>
              </a:cxn>
              <a:cxn ang="0">
                <a:pos x="240" y="0"/>
              </a:cxn>
            </a:cxnLst>
            <a:rect l="0" t="0" r="r" b="b"/>
            <a:pathLst>
              <a:path w="241" h="81">
                <a:moveTo>
                  <a:pt x="0" y="80"/>
                </a:moveTo>
                <a:lnTo>
                  <a:pt x="240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3" name="Freeform 172"/>
          <p:cNvSpPr>
            <a:spLocks/>
          </p:cNvSpPr>
          <p:nvPr/>
        </p:nvSpPr>
        <p:spPr bwMode="gray">
          <a:xfrm>
            <a:off x="3681254" y="2172582"/>
            <a:ext cx="351885" cy="106616"/>
          </a:xfrm>
          <a:custGeom>
            <a:avLst/>
            <a:gdLst/>
            <a:ahLst/>
            <a:cxnLst>
              <a:cxn ang="0">
                <a:pos x="0" y="72"/>
              </a:cxn>
              <a:cxn ang="0">
                <a:pos x="232" y="0"/>
              </a:cxn>
            </a:cxnLst>
            <a:rect l="0" t="0" r="r" b="b"/>
            <a:pathLst>
              <a:path w="233" h="73">
                <a:moveTo>
                  <a:pt x="0" y="72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4" name="Freeform 173"/>
          <p:cNvSpPr>
            <a:spLocks/>
          </p:cNvSpPr>
          <p:nvPr/>
        </p:nvSpPr>
        <p:spPr bwMode="gray">
          <a:xfrm>
            <a:off x="3681254" y="2242690"/>
            <a:ext cx="351885" cy="94938"/>
          </a:xfrm>
          <a:custGeom>
            <a:avLst/>
            <a:gdLst/>
            <a:ahLst/>
            <a:cxnLst>
              <a:cxn ang="0">
                <a:pos x="0" y="64"/>
              </a:cxn>
              <a:cxn ang="0">
                <a:pos x="232" y="0"/>
              </a:cxn>
            </a:cxnLst>
            <a:rect l="0" t="0" r="r" b="b"/>
            <a:pathLst>
              <a:path w="233" h="65">
                <a:moveTo>
                  <a:pt x="0" y="64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5" name="Freeform 174"/>
          <p:cNvSpPr>
            <a:spLocks/>
          </p:cNvSpPr>
          <p:nvPr/>
        </p:nvSpPr>
        <p:spPr bwMode="gray">
          <a:xfrm>
            <a:off x="3681254" y="2312793"/>
            <a:ext cx="351885" cy="83250"/>
          </a:xfrm>
          <a:custGeom>
            <a:avLst/>
            <a:gdLst/>
            <a:ahLst/>
            <a:cxnLst>
              <a:cxn ang="0">
                <a:pos x="0" y="56"/>
              </a:cxn>
              <a:cxn ang="0">
                <a:pos x="232" y="0"/>
              </a:cxn>
            </a:cxnLst>
            <a:rect l="0" t="0" r="r" b="b"/>
            <a:pathLst>
              <a:path w="233" h="57">
                <a:moveTo>
                  <a:pt x="0" y="56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6" name="Freeform 175"/>
          <p:cNvSpPr>
            <a:spLocks/>
          </p:cNvSpPr>
          <p:nvPr/>
        </p:nvSpPr>
        <p:spPr bwMode="gray">
          <a:xfrm>
            <a:off x="3681254" y="2382896"/>
            <a:ext cx="363965" cy="71568"/>
          </a:xfrm>
          <a:custGeom>
            <a:avLst/>
            <a:gdLst/>
            <a:ahLst/>
            <a:cxnLst>
              <a:cxn ang="0">
                <a:pos x="0" y="48"/>
              </a:cxn>
              <a:cxn ang="0">
                <a:pos x="240" y="0"/>
              </a:cxn>
            </a:cxnLst>
            <a:rect l="0" t="0" r="r" b="b"/>
            <a:pathLst>
              <a:path w="241" h="49">
                <a:moveTo>
                  <a:pt x="0" y="48"/>
                </a:moveTo>
                <a:lnTo>
                  <a:pt x="240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7" name="Freeform 176"/>
          <p:cNvSpPr>
            <a:spLocks/>
          </p:cNvSpPr>
          <p:nvPr/>
        </p:nvSpPr>
        <p:spPr bwMode="gray">
          <a:xfrm>
            <a:off x="3681254" y="2453003"/>
            <a:ext cx="363965" cy="59887"/>
          </a:xfrm>
          <a:custGeom>
            <a:avLst/>
            <a:gdLst/>
            <a:ahLst/>
            <a:cxnLst>
              <a:cxn ang="0">
                <a:pos x="0" y="40"/>
              </a:cxn>
              <a:cxn ang="0">
                <a:pos x="240" y="0"/>
              </a:cxn>
            </a:cxnLst>
            <a:rect l="0" t="0" r="r" b="b"/>
            <a:pathLst>
              <a:path w="241" h="41">
                <a:moveTo>
                  <a:pt x="0" y="40"/>
                </a:moveTo>
                <a:lnTo>
                  <a:pt x="240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8" name="Freeform 177"/>
          <p:cNvSpPr>
            <a:spLocks/>
          </p:cNvSpPr>
          <p:nvPr/>
        </p:nvSpPr>
        <p:spPr bwMode="gray">
          <a:xfrm>
            <a:off x="3681254" y="2523109"/>
            <a:ext cx="363965" cy="48195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240" y="0"/>
              </a:cxn>
            </a:cxnLst>
            <a:rect l="0" t="0" r="r" b="b"/>
            <a:pathLst>
              <a:path w="241" h="33">
                <a:moveTo>
                  <a:pt x="0" y="32"/>
                </a:moveTo>
                <a:lnTo>
                  <a:pt x="240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9" name="Freeform 178"/>
          <p:cNvSpPr>
            <a:spLocks/>
          </p:cNvSpPr>
          <p:nvPr/>
        </p:nvSpPr>
        <p:spPr bwMode="gray">
          <a:xfrm>
            <a:off x="3681254" y="2593215"/>
            <a:ext cx="351885" cy="36517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232" y="0"/>
              </a:cxn>
            </a:cxnLst>
            <a:rect l="0" t="0" r="r" b="b"/>
            <a:pathLst>
              <a:path w="233" h="25">
                <a:moveTo>
                  <a:pt x="0" y="24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0" name="Freeform 179"/>
          <p:cNvSpPr>
            <a:spLocks/>
          </p:cNvSpPr>
          <p:nvPr/>
        </p:nvSpPr>
        <p:spPr bwMode="gray">
          <a:xfrm>
            <a:off x="3681254" y="2651640"/>
            <a:ext cx="351885" cy="48195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232" y="0"/>
              </a:cxn>
            </a:cxnLst>
            <a:rect l="0" t="0" r="r" b="b"/>
            <a:pathLst>
              <a:path w="233" h="33">
                <a:moveTo>
                  <a:pt x="0" y="32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1" name="Freeform 180"/>
          <p:cNvSpPr>
            <a:spLocks/>
          </p:cNvSpPr>
          <p:nvPr/>
        </p:nvSpPr>
        <p:spPr bwMode="gray">
          <a:xfrm>
            <a:off x="3681254" y="2721744"/>
            <a:ext cx="351885" cy="36517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232" y="0"/>
              </a:cxn>
            </a:cxnLst>
            <a:rect l="0" t="0" r="r" b="b"/>
            <a:pathLst>
              <a:path w="233" h="25">
                <a:moveTo>
                  <a:pt x="0" y="24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2" name="Freeform 181"/>
          <p:cNvSpPr>
            <a:spLocks/>
          </p:cNvSpPr>
          <p:nvPr/>
        </p:nvSpPr>
        <p:spPr bwMode="gray">
          <a:xfrm>
            <a:off x="3681254" y="2791843"/>
            <a:ext cx="351885" cy="24832"/>
          </a:xfrm>
          <a:custGeom>
            <a:avLst/>
            <a:gdLst/>
            <a:ahLst/>
            <a:cxnLst>
              <a:cxn ang="0">
                <a:pos x="0" y="16"/>
              </a:cxn>
              <a:cxn ang="0">
                <a:pos x="232" y="0"/>
              </a:cxn>
            </a:cxnLst>
            <a:rect l="0" t="0" r="r" b="b"/>
            <a:pathLst>
              <a:path w="233" h="17">
                <a:moveTo>
                  <a:pt x="0" y="16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3" name="Freeform 182"/>
          <p:cNvSpPr>
            <a:spLocks/>
          </p:cNvSpPr>
          <p:nvPr/>
        </p:nvSpPr>
        <p:spPr bwMode="gray">
          <a:xfrm>
            <a:off x="3681254" y="2861954"/>
            <a:ext cx="351885" cy="13144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232" y="0"/>
              </a:cxn>
            </a:cxnLst>
            <a:rect l="0" t="0" r="r" b="b"/>
            <a:pathLst>
              <a:path w="233" h="9">
                <a:moveTo>
                  <a:pt x="0" y="8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4" name="Freeform 183"/>
          <p:cNvSpPr>
            <a:spLocks/>
          </p:cNvSpPr>
          <p:nvPr/>
        </p:nvSpPr>
        <p:spPr bwMode="gray">
          <a:xfrm>
            <a:off x="3681254" y="2932058"/>
            <a:ext cx="351885" cy="146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0"/>
              </a:cxn>
            </a:cxnLst>
            <a:rect l="0" t="0" r="r" b="b"/>
            <a:pathLst>
              <a:path w="233" h="1">
                <a:moveTo>
                  <a:pt x="0" y="0"/>
                </a:moveTo>
                <a:lnTo>
                  <a:pt x="232" y="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5" name="Freeform 184"/>
          <p:cNvSpPr>
            <a:spLocks/>
          </p:cNvSpPr>
          <p:nvPr/>
        </p:nvSpPr>
        <p:spPr bwMode="gray">
          <a:xfrm>
            <a:off x="3681254" y="3936903"/>
            <a:ext cx="363965" cy="17672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40" y="120"/>
              </a:cxn>
            </a:cxnLst>
            <a:rect l="0" t="0" r="r" b="b"/>
            <a:pathLst>
              <a:path w="241" h="121">
                <a:moveTo>
                  <a:pt x="0" y="0"/>
                </a:moveTo>
                <a:lnTo>
                  <a:pt x="240" y="12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6" name="Freeform 185"/>
          <p:cNvSpPr>
            <a:spLocks/>
          </p:cNvSpPr>
          <p:nvPr/>
        </p:nvSpPr>
        <p:spPr bwMode="gray">
          <a:xfrm>
            <a:off x="3681254" y="3878484"/>
            <a:ext cx="351885" cy="16504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112"/>
              </a:cxn>
            </a:cxnLst>
            <a:rect l="0" t="0" r="r" b="b"/>
            <a:pathLst>
              <a:path w="233" h="113">
                <a:moveTo>
                  <a:pt x="0" y="0"/>
                </a:moveTo>
                <a:lnTo>
                  <a:pt x="232" y="112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7" name="Freeform 186"/>
          <p:cNvSpPr>
            <a:spLocks/>
          </p:cNvSpPr>
          <p:nvPr/>
        </p:nvSpPr>
        <p:spPr bwMode="gray">
          <a:xfrm>
            <a:off x="3681254" y="3820066"/>
            <a:ext cx="351885" cy="15335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104"/>
              </a:cxn>
            </a:cxnLst>
            <a:rect l="0" t="0" r="r" b="b"/>
            <a:pathLst>
              <a:path w="233" h="105">
                <a:moveTo>
                  <a:pt x="0" y="0"/>
                </a:moveTo>
                <a:lnTo>
                  <a:pt x="232" y="104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8" name="Freeform 187"/>
          <p:cNvSpPr>
            <a:spLocks/>
          </p:cNvSpPr>
          <p:nvPr/>
        </p:nvSpPr>
        <p:spPr bwMode="gray">
          <a:xfrm>
            <a:off x="3681254" y="3761643"/>
            <a:ext cx="351885" cy="14167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96"/>
              </a:cxn>
            </a:cxnLst>
            <a:rect l="0" t="0" r="r" b="b"/>
            <a:pathLst>
              <a:path w="233" h="97">
                <a:moveTo>
                  <a:pt x="0" y="0"/>
                </a:moveTo>
                <a:lnTo>
                  <a:pt x="232" y="96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9" name="Freeform 188"/>
          <p:cNvSpPr>
            <a:spLocks/>
          </p:cNvSpPr>
          <p:nvPr/>
        </p:nvSpPr>
        <p:spPr bwMode="gray">
          <a:xfrm>
            <a:off x="3681254" y="3703232"/>
            <a:ext cx="351885" cy="12998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88"/>
              </a:cxn>
            </a:cxnLst>
            <a:rect l="0" t="0" r="r" b="b"/>
            <a:pathLst>
              <a:path w="233" h="89">
                <a:moveTo>
                  <a:pt x="0" y="0"/>
                </a:moveTo>
                <a:lnTo>
                  <a:pt x="232" y="88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90" name="Freeform 189"/>
          <p:cNvSpPr>
            <a:spLocks/>
          </p:cNvSpPr>
          <p:nvPr/>
        </p:nvSpPr>
        <p:spPr bwMode="gray">
          <a:xfrm>
            <a:off x="3681254" y="3644801"/>
            <a:ext cx="363965" cy="11830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40" y="80"/>
              </a:cxn>
            </a:cxnLst>
            <a:rect l="0" t="0" r="r" b="b"/>
            <a:pathLst>
              <a:path w="241" h="81">
                <a:moveTo>
                  <a:pt x="0" y="0"/>
                </a:moveTo>
                <a:lnTo>
                  <a:pt x="240" y="8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91" name="Freeform 190"/>
          <p:cNvSpPr>
            <a:spLocks/>
          </p:cNvSpPr>
          <p:nvPr/>
        </p:nvSpPr>
        <p:spPr bwMode="gray">
          <a:xfrm>
            <a:off x="3681254" y="3586380"/>
            <a:ext cx="351885" cy="10661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72"/>
              </a:cxn>
            </a:cxnLst>
            <a:rect l="0" t="0" r="r" b="b"/>
            <a:pathLst>
              <a:path w="233" h="73">
                <a:moveTo>
                  <a:pt x="0" y="0"/>
                </a:moveTo>
                <a:lnTo>
                  <a:pt x="232" y="72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92" name="Freeform 191"/>
          <p:cNvSpPr>
            <a:spLocks/>
          </p:cNvSpPr>
          <p:nvPr/>
        </p:nvSpPr>
        <p:spPr bwMode="gray">
          <a:xfrm>
            <a:off x="3681254" y="3527960"/>
            <a:ext cx="351885" cy="949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64"/>
              </a:cxn>
            </a:cxnLst>
            <a:rect l="0" t="0" r="r" b="b"/>
            <a:pathLst>
              <a:path w="233" h="65">
                <a:moveTo>
                  <a:pt x="0" y="0"/>
                </a:moveTo>
                <a:lnTo>
                  <a:pt x="232" y="64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93" name="Freeform 192"/>
          <p:cNvSpPr>
            <a:spLocks/>
          </p:cNvSpPr>
          <p:nvPr/>
        </p:nvSpPr>
        <p:spPr bwMode="gray">
          <a:xfrm>
            <a:off x="3681254" y="3469533"/>
            <a:ext cx="351885" cy="832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56"/>
              </a:cxn>
            </a:cxnLst>
            <a:rect l="0" t="0" r="r" b="b"/>
            <a:pathLst>
              <a:path w="233" h="57">
                <a:moveTo>
                  <a:pt x="0" y="0"/>
                </a:moveTo>
                <a:lnTo>
                  <a:pt x="232" y="56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94" name="Freeform 193"/>
          <p:cNvSpPr>
            <a:spLocks/>
          </p:cNvSpPr>
          <p:nvPr/>
        </p:nvSpPr>
        <p:spPr bwMode="gray">
          <a:xfrm>
            <a:off x="3681254" y="3411113"/>
            <a:ext cx="363965" cy="7156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40" y="48"/>
              </a:cxn>
            </a:cxnLst>
            <a:rect l="0" t="0" r="r" b="b"/>
            <a:pathLst>
              <a:path w="241" h="49">
                <a:moveTo>
                  <a:pt x="0" y="0"/>
                </a:moveTo>
                <a:lnTo>
                  <a:pt x="240" y="48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95" name="Freeform 194"/>
          <p:cNvSpPr>
            <a:spLocks/>
          </p:cNvSpPr>
          <p:nvPr/>
        </p:nvSpPr>
        <p:spPr bwMode="gray">
          <a:xfrm>
            <a:off x="3681254" y="3352691"/>
            <a:ext cx="363965" cy="598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40" y="40"/>
              </a:cxn>
            </a:cxnLst>
            <a:rect l="0" t="0" r="r" b="b"/>
            <a:pathLst>
              <a:path w="241" h="41">
                <a:moveTo>
                  <a:pt x="0" y="0"/>
                </a:moveTo>
                <a:lnTo>
                  <a:pt x="240" y="40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96" name="Freeform 195"/>
          <p:cNvSpPr>
            <a:spLocks/>
          </p:cNvSpPr>
          <p:nvPr/>
        </p:nvSpPr>
        <p:spPr bwMode="gray">
          <a:xfrm>
            <a:off x="3681254" y="3294278"/>
            <a:ext cx="363965" cy="4819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40" y="32"/>
              </a:cxn>
            </a:cxnLst>
            <a:rect l="0" t="0" r="r" b="b"/>
            <a:pathLst>
              <a:path w="241" h="33">
                <a:moveTo>
                  <a:pt x="0" y="0"/>
                </a:moveTo>
                <a:lnTo>
                  <a:pt x="240" y="32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97" name="Freeform 196"/>
          <p:cNvSpPr>
            <a:spLocks/>
          </p:cNvSpPr>
          <p:nvPr/>
        </p:nvSpPr>
        <p:spPr bwMode="gray">
          <a:xfrm>
            <a:off x="3681254" y="3235849"/>
            <a:ext cx="351885" cy="3651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24"/>
              </a:cxn>
            </a:cxnLst>
            <a:rect l="0" t="0" r="r" b="b"/>
            <a:pathLst>
              <a:path w="233" h="25">
                <a:moveTo>
                  <a:pt x="0" y="0"/>
                </a:moveTo>
                <a:lnTo>
                  <a:pt x="232" y="24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98" name="Freeform 197"/>
          <p:cNvSpPr>
            <a:spLocks/>
          </p:cNvSpPr>
          <p:nvPr/>
        </p:nvSpPr>
        <p:spPr bwMode="gray">
          <a:xfrm>
            <a:off x="3681254" y="3165743"/>
            <a:ext cx="351885" cy="4819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32"/>
              </a:cxn>
            </a:cxnLst>
            <a:rect l="0" t="0" r="r" b="b"/>
            <a:pathLst>
              <a:path w="233" h="33">
                <a:moveTo>
                  <a:pt x="0" y="0"/>
                </a:moveTo>
                <a:lnTo>
                  <a:pt x="232" y="32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99" name="Freeform 198"/>
          <p:cNvSpPr>
            <a:spLocks/>
          </p:cNvSpPr>
          <p:nvPr/>
        </p:nvSpPr>
        <p:spPr bwMode="gray">
          <a:xfrm>
            <a:off x="3681254" y="3107326"/>
            <a:ext cx="351885" cy="3651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24"/>
              </a:cxn>
            </a:cxnLst>
            <a:rect l="0" t="0" r="r" b="b"/>
            <a:pathLst>
              <a:path w="233" h="25">
                <a:moveTo>
                  <a:pt x="0" y="0"/>
                </a:moveTo>
                <a:lnTo>
                  <a:pt x="232" y="24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0" name="Freeform 199"/>
          <p:cNvSpPr>
            <a:spLocks/>
          </p:cNvSpPr>
          <p:nvPr/>
        </p:nvSpPr>
        <p:spPr bwMode="gray">
          <a:xfrm>
            <a:off x="3681254" y="3048902"/>
            <a:ext cx="351885" cy="2483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16"/>
              </a:cxn>
            </a:cxnLst>
            <a:rect l="0" t="0" r="r" b="b"/>
            <a:pathLst>
              <a:path w="233" h="17">
                <a:moveTo>
                  <a:pt x="0" y="0"/>
                </a:moveTo>
                <a:lnTo>
                  <a:pt x="232" y="16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1" name="Freeform 200"/>
          <p:cNvSpPr>
            <a:spLocks/>
          </p:cNvSpPr>
          <p:nvPr/>
        </p:nvSpPr>
        <p:spPr bwMode="gray">
          <a:xfrm>
            <a:off x="3681254" y="2990482"/>
            <a:ext cx="351885" cy="131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32" y="8"/>
              </a:cxn>
            </a:cxnLst>
            <a:rect l="0" t="0" r="r" b="b"/>
            <a:pathLst>
              <a:path w="233" h="9">
                <a:moveTo>
                  <a:pt x="0" y="0"/>
                </a:moveTo>
                <a:lnTo>
                  <a:pt x="232" y="8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2" name="Freeform 201"/>
          <p:cNvSpPr>
            <a:spLocks/>
          </p:cNvSpPr>
          <p:nvPr/>
        </p:nvSpPr>
        <p:spPr bwMode="gray">
          <a:xfrm>
            <a:off x="3753737" y="1833739"/>
            <a:ext cx="1508" cy="219810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504"/>
              </a:cxn>
            </a:cxnLst>
            <a:rect l="0" t="0" r="r" b="b"/>
            <a:pathLst>
              <a:path w="1" h="1505">
                <a:moveTo>
                  <a:pt x="0" y="0"/>
                </a:moveTo>
                <a:lnTo>
                  <a:pt x="0" y="1504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3" name="Freeform 202"/>
          <p:cNvSpPr>
            <a:spLocks/>
          </p:cNvSpPr>
          <p:nvPr/>
        </p:nvSpPr>
        <p:spPr bwMode="gray">
          <a:xfrm>
            <a:off x="3826232" y="1798686"/>
            <a:ext cx="1508" cy="226821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552"/>
              </a:cxn>
            </a:cxnLst>
            <a:rect l="0" t="0" r="r" b="b"/>
            <a:pathLst>
              <a:path w="1" h="1553">
                <a:moveTo>
                  <a:pt x="0" y="0"/>
                </a:moveTo>
                <a:lnTo>
                  <a:pt x="0" y="1552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4" name="Freeform 203"/>
          <p:cNvSpPr>
            <a:spLocks/>
          </p:cNvSpPr>
          <p:nvPr/>
        </p:nvSpPr>
        <p:spPr bwMode="gray">
          <a:xfrm>
            <a:off x="3898723" y="1751964"/>
            <a:ext cx="1508" cy="235000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08"/>
              </a:cxn>
            </a:cxnLst>
            <a:rect l="0" t="0" r="r" b="b"/>
            <a:pathLst>
              <a:path w="1" h="1609">
                <a:moveTo>
                  <a:pt x="0" y="0"/>
                </a:moveTo>
                <a:lnTo>
                  <a:pt x="0" y="1608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6" name="Oval 205"/>
          <p:cNvSpPr/>
          <p:nvPr/>
        </p:nvSpPr>
        <p:spPr bwMode="gray">
          <a:xfrm>
            <a:off x="2624934" y="3491003"/>
            <a:ext cx="442605" cy="426606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07" name="Oval 206"/>
          <p:cNvSpPr/>
          <p:nvPr/>
        </p:nvSpPr>
        <p:spPr bwMode="gray">
          <a:xfrm>
            <a:off x="2624929" y="2972333"/>
            <a:ext cx="151465" cy="145993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08" name="Oval 207"/>
          <p:cNvSpPr/>
          <p:nvPr/>
        </p:nvSpPr>
        <p:spPr bwMode="gray">
          <a:xfrm>
            <a:off x="3006719" y="3049400"/>
            <a:ext cx="151465" cy="145993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09" name="Oval 208"/>
          <p:cNvSpPr/>
          <p:nvPr/>
        </p:nvSpPr>
        <p:spPr bwMode="gray">
          <a:xfrm>
            <a:off x="2695261" y="3941678"/>
            <a:ext cx="267821" cy="258145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10" name="Oval 209"/>
          <p:cNvSpPr/>
          <p:nvPr/>
        </p:nvSpPr>
        <p:spPr bwMode="gray">
          <a:xfrm>
            <a:off x="3258025" y="2861833"/>
            <a:ext cx="206072" cy="198630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11" name="Oval 210"/>
          <p:cNvSpPr/>
          <p:nvPr/>
        </p:nvSpPr>
        <p:spPr bwMode="gray">
          <a:xfrm>
            <a:off x="3330634" y="3046006"/>
            <a:ext cx="139882" cy="134825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12" name="Oval 211"/>
          <p:cNvSpPr/>
          <p:nvPr/>
        </p:nvSpPr>
        <p:spPr bwMode="gray">
          <a:xfrm>
            <a:off x="3155649" y="3061171"/>
            <a:ext cx="151465" cy="145993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13" name="Oval 212"/>
          <p:cNvSpPr/>
          <p:nvPr/>
        </p:nvSpPr>
        <p:spPr bwMode="gray">
          <a:xfrm>
            <a:off x="3312114" y="3388003"/>
            <a:ext cx="151465" cy="145993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14" name="Oval 213"/>
          <p:cNvSpPr/>
          <p:nvPr/>
        </p:nvSpPr>
        <p:spPr bwMode="gray">
          <a:xfrm>
            <a:off x="3130607" y="3353638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15" name="Oval 214"/>
          <p:cNvSpPr/>
          <p:nvPr/>
        </p:nvSpPr>
        <p:spPr bwMode="gray">
          <a:xfrm>
            <a:off x="3193320" y="3485182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16" name="Oval 215"/>
          <p:cNvSpPr/>
          <p:nvPr/>
        </p:nvSpPr>
        <p:spPr bwMode="gray">
          <a:xfrm>
            <a:off x="3074059" y="3540388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17" name="Oval 216"/>
          <p:cNvSpPr/>
          <p:nvPr/>
        </p:nvSpPr>
        <p:spPr bwMode="gray">
          <a:xfrm>
            <a:off x="3157279" y="3629932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18" name="Oval 217"/>
          <p:cNvSpPr/>
          <p:nvPr/>
        </p:nvSpPr>
        <p:spPr bwMode="gray">
          <a:xfrm>
            <a:off x="3262450" y="3615000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19" name="Oval 218"/>
          <p:cNvSpPr/>
          <p:nvPr/>
        </p:nvSpPr>
        <p:spPr bwMode="gray">
          <a:xfrm>
            <a:off x="2764854" y="3316630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20" name="Oval 219"/>
          <p:cNvSpPr/>
          <p:nvPr/>
        </p:nvSpPr>
        <p:spPr bwMode="gray">
          <a:xfrm>
            <a:off x="3007728" y="3941827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21" name="Oval 220"/>
          <p:cNvSpPr/>
          <p:nvPr/>
        </p:nvSpPr>
        <p:spPr bwMode="gray">
          <a:xfrm>
            <a:off x="2995315" y="3270273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22" name="Oval 221"/>
          <p:cNvSpPr/>
          <p:nvPr/>
        </p:nvSpPr>
        <p:spPr bwMode="gray">
          <a:xfrm>
            <a:off x="3051887" y="3424551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23" name="Oval 222"/>
          <p:cNvSpPr/>
          <p:nvPr/>
        </p:nvSpPr>
        <p:spPr bwMode="gray">
          <a:xfrm>
            <a:off x="3258646" y="3281551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24" name="Oval 223"/>
          <p:cNvSpPr/>
          <p:nvPr/>
        </p:nvSpPr>
        <p:spPr bwMode="gray">
          <a:xfrm>
            <a:off x="3236770" y="3403592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25" name="Oval 224"/>
          <p:cNvSpPr/>
          <p:nvPr/>
        </p:nvSpPr>
        <p:spPr bwMode="gray">
          <a:xfrm>
            <a:off x="2905149" y="3354177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26" name="Oval 225"/>
          <p:cNvSpPr/>
          <p:nvPr/>
        </p:nvSpPr>
        <p:spPr bwMode="gray">
          <a:xfrm>
            <a:off x="3059388" y="3627844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27" name="Oval 226"/>
          <p:cNvSpPr/>
          <p:nvPr/>
        </p:nvSpPr>
        <p:spPr bwMode="gray">
          <a:xfrm>
            <a:off x="3074186" y="3368158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28" name="Oval 227"/>
          <p:cNvSpPr/>
          <p:nvPr/>
        </p:nvSpPr>
        <p:spPr bwMode="gray">
          <a:xfrm>
            <a:off x="3010137" y="3368158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29" name="Oval 228"/>
          <p:cNvSpPr/>
          <p:nvPr/>
        </p:nvSpPr>
        <p:spPr bwMode="gray">
          <a:xfrm>
            <a:off x="3140855" y="3491698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30" name="Oval 229"/>
          <p:cNvSpPr/>
          <p:nvPr/>
        </p:nvSpPr>
        <p:spPr bwMode="gray">
          <a:xfrm>
            <a:off x="3081176" y="3294290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31" name="Oval 230"/>
          <p:cNvSpPr/>
          <p:nvPr/>
        </p:nvSpPr>
        <p:spPr bwMode="gray">
          <a:xfrm>
            <a:off x="3186745" y="3429121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32" name="Oval 231"/>
          <p:cNvSpPr/>
          <p:nvPr/>
        </p:nvSpPr>
        <p:spPr bwMode="gray">
          <a:xfrm>
            <a:off x="3208320" y="3568174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33" name="Oval 232"/>
          <p:cNvSpPr/>
          <p:nvPr/>
        </p:nvSpPr>
        <p:spPr bwMode="gray">
          <a:xfrm>
            <a:off x="3330619" y="3598962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34" name="Oval 233"/>
          <p:cNvSpPr/>
          <p:nvPr/>
        </p:nvSpPr>
        <p:spPr bwMode="gray">
          <a:xfrm>
            <a:off x="3380653" y="3562969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35" name="Oval 234"/>
          <p:cNvSpPr/>
          <p:nvPr/>
        </p:nvSpPr>
        <p:spPr bwMode="gray">
          <a:xfrm>
            <a:off x="3396796" y="3311919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36" name="Oval 235"/>
          <p:cNvSpPr/>
          <p:nvPr/>
        </p:nvSpPr>
        <p:spPr bwMode="gray">
          <a:xfrm>
            <a:off x="3351154" y="3322827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37" name="Oval 236"/>
          <p:cNvSpPr/>
          <p:nvPr/>
        </p:nvSpPr>
        <p:spPr bwMode="gray">
          <a:xfrm>
            <a:off x="3334515" y="3348053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38" name="Oval 237"/>
          <p:cNvSpPr/>
          <p:nvPr/>
        </p:nvSpPr>
        <p:spPr bwMode="gray">
          <a:xfrm>
            <a:off x="3295887" y="3556790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39" name="Oval 238"/>
          <p:cNvSpPr/>
          <p:nvPr/>
        </p:nvSpPr>
        <p:spPr bwMode="gray">
          <a:xfrm>
            <a:off x="2768236" y="2997064"/>
            <a:ext cx="151465" cy="145993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40" name="Oval 239"/>
          <p:cNvSpPr/>
          <p:nvPr/>
        </p:nvSpPr>
        <p:spPr bwMode="gray">
          <a:xfrm>
            <a:off x="2942230" y="3010915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41" name="Oval 240"/>
          <p:cNvSpPr/>
          <p:nvPr/>
        </p:nvSpPr>
        <p:spPr bwMode="gray">
          <a:xfrm>
            <a:off x="2702003" y="3116937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42" name="Oval 241"/>
          <p:cNvSpPr/>
          <p:nvPr/>
        </p:nvSpPr>
        <p:spPr bwMode="gray">
          <a:xfrm>
            <a:off x="2806721" y="3162770"/>
            <a:ext cx="65531" cy="63164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43" name="Oval 242"/>
          <p:cNvSpPr/>
          <p:nvPr/>
        </p:nvSpPr>
        <p:spPr bwMode="gray">
          <a:xfrm>
            <a:off x="2889628" y="3136938"/>
            <a:ext cx="65531" cy="63164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44" name="Oval 243"/>
          <p:cNvSpPr/>
          <p:nvPr/>
        </p:nvSpPr>
        <p:spPr bwMode="gray">
          <a:xfrm>
            <a:off x="3167626" y="3023359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45" name="Oval 244"/>
          <p:cNvSpPr/>
          <p:nvPr/>
        </p:nvSpPr>
        <p:spPr bwMode="gray">
          <a:xfrm>
            <a:off x="3449476" y="3070048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46" name="Oval 245"/>
          <p:cNvSpPr/>
          <p:nvPr/>
        </p:nvSpPr>
        <p:spPr bwMode="gray">
          <a:xfrm>
            <a:off x="2954331" y="3099931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47" name="Oval 246"/>
          <p:cNvSpPr/>
          <p:nvPr/>
        </p:nvSpPr>
        <p:spPr bwMode="gray">
          <a:xfrm>
            <a:off x="2958417" y="3167596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48" name="Oval 247"/>
          <p:cNvSpPr/>
          <p:nvPr/>
        </p:nvSpPr>
        <p:spPr bwMode="gray">
          <a:xfrm>
            <a:off x="2998536" y="3174095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49" name="Oval 248"/>
          <p:cNvSpPr/>
          <p:nvPr/>
        </p:nvSpPr>
        <p:spPr bwMode="gray">
          <a:xfrm>
            <a:off x="3191789" y="2735198"/>
            <a:ext cx="151465" cy="145993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50" name="Oval 249"/>
          <p:cNvSpPr/>
          <p:nvPr/>
        </p:nvSpPr>
        <p:spPr bwMode="gray">
          <a:xfrm>
            <a:off x="3366240" y="2750978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51" name="Oval 250"/>
          <p:cNvSpPr/>
          <p:nvPr/>
        </p:nvSpPr>
        <p:spPr bwMode="gray">
          <a:xfrm>
            <a:off x="2689968" y="2712106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52" name="Oval 251"/>
          <p:cNvSpPr/>
          <p:nvPr/>
        </p:nvSpPr>
        <p:spPr bwMode="gray">
          <a:xfrm>
            <a:off x="3074386" y="3764977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53" name="Oval 252"/>
          <p:cNvSpPr/>
          <p:nvPr/>
        </p:nvSpPr>
        <p:spPr bwMode="gray">
          <a:xfrm>
            <a:off x="3199672" y="3791876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54" name="Oval 253"/>
          <p:cNvSpPr/>
          <p:nvPr/>
        </p:nvSpPr>
        <p:spPr bwMode="gray">
          <a:xfrm>
            <a:off x="3304843" y="3776948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55" name="Oval 254"/>
          <p:cNvSpPr/>
          <p:nvPr/>
        </p:nvSpPr>
        <p:spPr bwMode="gray">
          <a:xfrm>
            <a:off x="2694416" y="3349746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56" name="Oval 255"/>
          <p:cNvSpPr/>
          <p:nvPr/>
        </p:nvSpPr>
        <p:spPr bwMode="gray">
          <a:xfrm>
            <a:off x="2819702" y="3376650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57" name="Oval 256"/>
          <p:cNvSpPr/>
          <p:nvPr/>
        </p:nvSpPr>
        <p:spPr bwMode="gray">
          <a:xfrm>
            <a:off x="2704149" y="2187674"/>
            <a:ext cx="442605" cy="426606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58" name="Oval 257"/>
          <p:cNvSpPr/>
          <p:nvPr/>
        </p:nvSpPr>
        <p:spPr bwMode="gray">
          <a:xfrm>
            <a:off x="3491921" y="2088378"/>
            <a:ext cx="151465" cy="145993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59" name="Oval 258"/>
          <p:cNvSpPr/>
          <p:nvPr/>
        </p:nvSpPr>
        <p:spPr bwMode="gray">
          <a:xfrm>
            <a:off x="3310416" y="2054017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60" name="Oval 259"/>
          <p:cNvSpPr/>
          <p:nvPr/>
        </p:nvSpPr>
        <p:spPr bwMode="gray">
          <a:xfrm>
            <a:off x="3096670" y="2240767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61" name="Oval 260"/>
          <p:cNvSpPr/>
          <p:nvPr/>
        </p:nvSpPr>
        <p:spPr bwMode="gray">
          <a:xfrm>
            <a:off x="3179892" y="2330310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62" name="Oval 261"/>
          <p:cNvSpPr/>
          <p:nvPr/>
        </p:nvSpPr>
        <p:spPr bwMode="gray">
          <a:xfrm>
            <a:off x="3285069" y="2315376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63" name="Oval 262"/>
          <p:cNvSpPr/>
          <p:nvPr/>
        </p:nvSpPr>
        <p:spPr bwMode="gray">
          <a:xfrm>
            <a:off x="2944664" y="1958674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64" name="Oval 263"/>
          <p:cNvSpPr/>
          <p:nvPr/>
        </p:nvSpPr>
        <p:spPr bwMode="gray">
          <a:xfrm>
            <a:off x="3175123" y="1970649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65" name="Oval 264"/>
          <p:cNvSpPr/>
          <p:nvPr/>
        </p:nvSpPr>
        <p:spPr bwMode="gray">
          <a:xfrm>
            <a:off x="3331495" y="1958674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66" name="Oval 265"/>
          <p:cNvSpPr/>
          <p:nvPr/>
        </p:nvSpPr>
        <p:spPr bwMode="gray">
          <a:xfrm>
            <a:off x="2874226" y="2050123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67" name="Oval 266"/>
          <p:cNvSpPr/>
          <p:nvPr/>
        </p:nvSpPr>
        <p:spPr bwMode="gray">
          <a:xfrm>
            <a:off x="2999511" y="2077026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68" name="Oval 267"/>
          <p:cNvSpPr/>
          <p:nvPr/>
        </p:nvSpPr>
        <p:spPr bwMode="gray">
          <a:xfrm>
            <a:off x="3104686" y="2062097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69" name="Oval 268"/>
          <p:cNvSpPr/>
          <p:nvPr/>
        </p:nvSpPr>
        <p:spPr bwMode="gray">
          <a:xfrm>
            <a:off x="3171929" y="2097219"/>
            <a:ext cx="151465" cy="145993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70" name="Oval 269"/>
          <p:cNvSpPr/>
          <p:nvPr/>
        </p:nvSpPr>
        <p:spPr bwMode="gray">
          <a:xfrm>
            <a:off x="3178203" y="2347444"/>
            <a:ext cx="267821" cy="258145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71" name="Oval 270"/>
          <p:cNvSpPr/>
          <p:nvPr/>
        </p:nvSpPr>
        <p:spPr bwMode="gray">
          <a:xfrm>
            <a:off x="3031614" y="1856080"/>
            <a:ext cx="151465" cy="145993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72" name="Oval 271"/>
          <p:cNvSpPr/>
          <p:nvPr/>
        </p:nvSpPr>
        <p:spPr bwMode="gray">
          <a:xfrm>
            <a:off x="2901164" y="1795399"/>
            <a:ext cx="151465" cy="145993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73" name="Oval 272"/>
          <p:cNvSpPr/>
          <p:nvPr/>
        </p:nvSpPr>
        <p:spPr bwMode="gray">
          <a:xfrm>
            <a:off x="2912523" y="2693699"/>
            <a:ext cx="267821" cy="258145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74" name="Oval 273"/>
          <p:cNvSpPr/>
          <p:nvPr/>
        </p:nvSpPr>
        <p:spPr bwMode="gray">
          <a:xfrm>
            <a:off x="2700661" y="2761342"/>
            <a:ext cx="267821" cy="258145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75" name="Oval 274"/>
          <p:cNvSpPr/>
          <p:nvPr/>
        </p:nvSpPr>
        <p:spPr bwMode="gray">
          <a:xfrm>
            <a:off x="2659682" y="3273231"/>
            <a:ext cx="89858" cy="86608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76" name="Oval 275"/>
          <p:cNvSpPr/>
          <p:nvPr/>
        </p:nvSpPr>
        <p:spPr bwMode="gray">
          <a:xfrm>
            <a:off x="2654523" y="3366631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77" name="Oval 276"/>
          <p:cNvSpPr/>
          <p:nvPr/>
        </p:nvSpPr>
        <p:spPr bwMode="gray">
          <a:xfrm>
            <a:off x="2647560" y="3124238"/>
            <a:ext cx="46153" cy="44489"/>
          </a:xfrm>
          <a:prstGeom prst="ellipse">
            <a:avLst/>
          </a:prstGeom>
          <a:solidFill>
            <a:srgbClr val="7030A0">
              <a:alpha val="5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77656" rIns="91356" bIns="77656" rtlCol="0" anchor="ctr" anchorCtr="0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78" name="AutoShape 25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07798" y="1039223"/>
            <a:ext cx="1033928" cy="36933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0" anchor="b">
            <a:spAutoFit/>
          </a:bodyPr>
          <a:lstStyle/>
          <a:p>
            <a:r>
              <a:rPr lang="en-US" b="1" dirty="0">
                <a:solidFill>
                  <a:srgbClr val="14385C"/>
                </a:solidFill>
                <a:latin typeface="+mn-lt"/>
              </a:rPr>
              <a:t>Plan Authority</a:t>
            </a:r>
          </a:p>
          <a:p>
            <a:r>
              <a:rPr lang="en-US" dirty="0">
                <a:solidFill>
                  <a:srgbClr val="000000"/>
                </a:solidFill>
                <a:latin typeface="+mn-lt"/>
              </a:rPr>
              <a:t>(10+ years)</a:t>
            </a:r>
            <a:endParaRPr lang="en-US" b="1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282" name="TextBox 281"/>
          <p:cNvSpPr txBox="1">
            <a:spLocks/>
          </p:cNvSpPr>
          <p:nvPr/>
        </p:nvSpPr>
        <p:spPr>
          <a:xfrm>
            <a:off x="2534721" y="3399131"/>
            <a:ext cx="1019674" cy="3529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69911" tIns="69911" rIns="69911" bIns="6991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marL="57094">
              <a:buClr>
                <a:srgbClr val="132A53"/>
              </a:buClr>
            </a:pPr>
            <a:r>
              <a:rPr lang="en-US" sz="1200" dirty="0">
                <a:solidFill>
                  <a:srgbClr val="000000"/>
                </a:solidFill>
              </a:rPr>
              <a:t>Connectivity</a:t>
            </a:r>
          </a:p>
        </p:txBody>
      </p:sp>
      <p:sp>
        <p:nvSpPr>
          <p:cNvPr id="279" name="TextBox 278"/>
          <p:cNvSpPr txBox="1">
            <a:spLocks/>
          </p:cNvSpPr>
          <p:nvPr/>
        </p:nvSpPr>
        <p:spPr>
          <a:xfrm>
            <a:off x="2534721" y="2130450"/>
            <a:ext cx="1019674" cy="3529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69911" tIns="69911" rIns="69911" bIns="6991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marL="57094">
              <a:buClr>
                <a:srgbClr val="132A53"/>
              </a:buClr>
            </a:pPr>
            <a:r>
              <a:rPr lang="en-US" sz="1200" dirty="0">
                <a:solidFill>
                  <a:srgbClr val="000000"/>
                </a:solidFill>
              </a:rPr>
              <a:t>Safety</a:t>
            </a:r>
          </a:p>
        </p:txBody>
      </p:sp>
      <p:sp>
        <p:nvSpPr>
          <p:cNvPr id="283" name="Oval 303"/>
          <p:cNvSpPr txBox="1"/>
          <p:nvPr>
            <p:custDataLst>
              <p:tags r:id="rId4"/>
            </p:custDataLst>
          </p:nvPr>
        </p:nvSpPr>
        <p:spPr>
          <a:xfrm>
            <a:off x="2438796" y="2212770"/>
            <a:ext cx="188285" cy="18828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02" tIns="0" rIns="3702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ctr">
              <a:buClr>
                <a:srgbClr val="132A53"/>
              </a:buClr>
            </a:pPr>
            <a:r>
              <a:rPr lang="en-US" sz="12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80" name="TextBox 279"/>
          <p:cNvSpPr txBox="1">
            <a:spLocks/>
          </p:cNvSpPr>
          <p:nvPr/>
        </p:nvSpPr>
        <p:spPr>
          <a:xfrm>
            <a:off x="2534721" y="2553344"/>
            <a:ext cx="1019674" cy="3529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44386" tIns="69911" rIns="44386" bIns="6991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marL="57094">
              <a:buClr>
                <a:srgbClr val="132A53"/>
              </a:buClr>
            </a:pPr>
            <a:r>
              <a:rPr lang="en-US" sz="1200" dirty="0">
                <a:solidFill>
                  <a:srgbClr val="000000"/>
                </a:solidFill>
              </a:rPr>
              <a:t>Preservation</a:t>
            </a:r>
          </a:p>
        </p:txBody>
      </p:sp>
      <p:sp>
        <p:nvSpPr>
          <p:cNvPr id="284" name="Oval 303"/>
          <p:cNvSpPr txBox="1"/>
          <p:nvPr>
            <p:custDataLst>
              <p:tags r:id="rId5"/>
            </p:custDataLst>
          </p:nvPr>
        </p:nvSpPr>
        <p:spPr>
          <a:xfrm>
            <a:off x="2438796" y="2635664"/>
            <a:ext cx="188285" cy="18828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02" tIns="0" rIns="3702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ctr">
              <a:buClr>
                <a:srgbClr val="132A53"/>
              </a:buClr>
            </a:pPr>
            <a:r>
              <a:rPr lang="en-US" sz="12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81" name="TextBox 280"/>
          <p:cNvSpPr txBox="1">
            <a:spLocks/>
          </p:cNvSpPr>
          <p:nvPr/>
        </p:nvSpPr>
        <p:spPr>
          <a:xfrm>
            <a:off x="2534721" y="2976237"/>
            <a:ext cx="1019674" cy="3529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69911" tIns="69911" rIns="69911" bIns="6991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marL="57094">
              <a:buClr>
                <a:srgbClr val="132A53"/>
              </a:buClr>
            </a:pPr>
            <a:r>
              <a:rPr lang="en-US" sz="1200" dirty="0">
                <a:solidFill>
                  <a:srgbClr val="000000"/>
                </a:solidFill>
              </a:rPr>
              <a:t>Congestion </a:t>
            </a:r>
          </a:p>
        </p:txBody>
      </p:sp>
      <p:sp>
        <p:nvSpPr>
          <p:cNvPr id="285" name="Oval 303"/>
          <p:cNvSpPr txBox="1"/>
          <p:nvPr>
            <p:custDataLst>
              <p:tags r:id="rId6"/>
            </p:custDataLst>
          </p:nvPr>
        </p:nvSpPr>
        <p:spPr>
          <a:xfrm>
            <a:off x="2438796" y="3058557"/>
            <a:ext cx="188285" cy="18828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02" tIns="0" rIns="3702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ctr">
              <a:buClr>
                <a:srgbClr val="132A53"/>
              </a:buClr>
            </a:pPr>
            <a:r>
              <a:rPr lang="en-US" sz="12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86" name="Oval 303"/>
          <p:cNvSpPr txBox="1"/>
          <p:nvPr>
            <p:custDataLst>
              <p:tags r:id="rId7"/>
            </p:custDataLst>
          </p:nvPr>
        </p:nvSpPr>
        <p:spPr>
          <a:xfrm>
            <a:off x="2438796" y="3481451"/>
            <a:ext cx="188285" cy="18828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02" tIns="0" rIns="3702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ctr">
              <a:buClr>
                <a:srgbClr val="132A53"/>
              </a:buClr>
            </a:pPr>
            <a:r>
              <a:rPr lang="en-US" sz="1200" dirty="0">
                <a:solidFill>
                  <a:srgbClr val="FFFFFF"/>
                </a:solidFill>
              </a:rPr>
              <a:t>4</a:t>
            </a:r>
          </a:p>
        </p:txBody>
      </p:sp>
      <p:cxnSp>
        <p:nvCxnSpPr>
          <p:cNvPr id="287" name="Straight Arrow Connector 286"/>
          <p:cNvCxnSpPr/>
          <p:nvPr/>
        </p:nvCxnSpPr>
        <p:spPr>
          <a:xfrm>
            <a:off x="3588841" y="2306898"/>
            <a:ext cx="227314" cy="0"/>
          </a:xfrm>
          <a:prstGeom prst="straightConnector1">
            <a:avLst/>
          </a:prstGeom>
          <a:ln w="952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Arrow Connector 287"/>
          <p:cNvCxnSpPr/>
          <p:nvPr/>
        </p:nvCxnSpPr>
        <p:spPr>
          <a:xfrm>
            <a:off x="3588841" y="2729792"/>
            <a:ext cx="227314" cy="0"/>
          </a:xfrm>
          <a:prstGeom prst="straightConnector1">
            <a:avLst/>
          </a:prstGeom>
          <a:ln w="952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Arrow Connector 288"/>
          <p:cNvCxnSpPr/>
          <p:nvPr/>
        </p:nvCxnSpPr>
        <p:spPr>
          <a:xfrm>
            <a:off x="3588841" y="3152686"/>
            <a:ext cx="227314" cy="0"/>
          </a:xfrm>
          <a:prstGeom prst="straightConnector1">
            <a:avLst/>
          </a:prstGeom>
          <a:ln w="952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Arrow Connector 289"/>
          <p:cNvCxnSpPr/>
          <p:nvPr/>
        </p:nvCxnSpPr>
        <p:spPr>
          <a:xfrm>
            <a:off x="3588841" y="3575580"/>
            <a:ext cx="227314" cy="0"/>
          </a:xfrm>
          <a:prstGeom prst="straightConnector1">
            <a:avLst/>
          </a:prstGeom>
          <a:ln w="952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Freeform 204"/>
          <p:cNvSpPr>
            <a:spLocks/>
          </p:cNvSpPr>
          <p:nvPr/>
        </p:nvSpPr>
        <p:spPr bwMode="gray">
          <a:xfrm>
            <a:off x="4006142" y="1709528"/>
            <a:ext cx="1508" cy="243179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64"/>
              </a:cxn>
            </a:cxnLst>
            <a:rect l="0" t="0" r="r" b="b"/>
            <a:pathLst>
              <a:path w="1" h="1665">
                <a:moveTo>
                  <a:pt x="0" y="0"/>
                </a:moveTo>
                <a:lnTo>
                  <a:pt x="0" y="1664"/>
                </a:lnTo>
              </a:path>
            </a:pathLst>
          </a:custGeom>
          <a:noFill/>
          <a:ln w="12700">
            <a:solidFill>
              <a:schemeClr val="accent6"/>
            </a:solidFill>
            <a:round/>
            <a:headEnd type="none" w="med" len="med"/>
            <a:tailEnd type="none" w="med" len="med"/>
          </a:ln>
          <a:effectLst/>
        </p:spPr>
        <p:txBody>
          <a:bodyPr wrap="none" lIns="91356" tIns="45678" rIns="91356" bIns="45678" anchor="ctr">
            <a:noAutofit/>
          </a:bodyPr>
          <a:lstStyle/>
          <a:p>
            <a:endParaRPr lang="en-US" b="1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98" name="TextBox 297"/>
          <p:cNvSpPr txBox="1"/>
          <p:nvPr/>
        </p:nvSpPr>
        <p:spPr>
          <a:xfrm>
            <a:off x="4077920" y="1685166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99" name="TextBox 298"/>
          <p:cNvSpPr txBox="1"/>
          <p:nvPr/>
        </p:nvSpPr>
        <p:spPr>
          <a:xfrm>
            <a:off x="4077920" y="4018388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12</a:t>
            </a:r>
          </a:p>
        </p:txBody>
      </p:sp>
      <p:sp>
        <p:nvSpPr>
          <p:cNvPr id="300" name="TextBox 299"/>
          <p:cNvSpPr txBox="1"/>
          <p:nvPr/>
        </p:nvSpPr>
        <p:spPr>
          <a:xfrm>
            <a:off x="4077920" y="3806278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11</a:t>
            </a:r>
          </a:p>
        </p:txBody>
      </p:sp>
      <p:sp>
        <p:nvSpPr>
          <p:cNvPr id="301" name="TextBox 300"/>
          <p:cNvSpPr txBox="1"/>
          <p:nvPr/>
        </p:nvSpPr>
        <p:spPr>
          <a:xfrm>
            <a:off x="4077920" y="3594167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10</a:t>
            </a:r>
          </a:p>
        </p:txBody>
      </p:sp>
      <p:sp>
        <p:nvSpPr>
          <p:cNvPr id="302" name="TextBox 301"/>
          <p:cNvSpPr txBox="1"/>
          <p:nvPr/>
        </p:nvSpPr>
        <p:spPr>
          <a:xfrm>
            <a:off x="4077920" y="3382056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9</a:t>
            </a:r>
          </a:p>
        </p:txBody>
      </p:sp>
      <p:sp>
        <p:nvSpPr>
          <p:cNvPr id="303" name="TextBox 302"/>
          <p:cNvSpPr txBox="1"/>
          <p:nvPr/>
        </p:nvSpPr>
        <p:spPr>
          <a:xfrm>
            <a:off x="4077920" y="3169944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8</a:t>
            </a:r>
          </a:p>
        </p:txBody>
      </p:sp>
      <p:sp>
        <p:nvSpPr>
          <p:cNvPr id="304" name="TextBox 303"/>
          <p:cNvSpPr txBox="1"/>
          <p:nvPr/>
        </p:nvSpPr>
        <p:spPr>
          <a:xfrm>
            <a:off x="4077920" y="2957833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305" name="TextBox 304"/>
          <p:cNvSpPr txBox="1"/>
          <p:nvPr/>
        </p:nvSpPr>
        <p:spPr>
          <a:xfrm>
            <a:off x="4077920" y="2745722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306" name="TextBox 305"/>
          <p:cNvSpPr txBox="1"/>
          <p:nvPr/>
        </p:nvSpPr>
        <p:spPr>
          <a:xfrm>
            <a:off x="4077920" y="2533611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307" name="TextBox 306"/>
          <p:cNvSpPr txBox="1"/>
          <p:nvPr/>
        </p:nvSpPr>
        <p:spPr>
          <a:xfrm>
            <a:off x="4077920" y="2321500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08" name="TextBox 307"/>
          <p:cNvSpPr txBox="1"/>
          <p:nvPr/>
        </p:nvSpPr>
        <p:spPr>
          <a:xfrm>
            <a:off x="4077920" y="2109388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09" name="TextBox 308"/>
          <p:cNvSpPr txBox="1"/>
          <p:nvPr/>
        </p:nvSpPr>
        <p:spPr>
          <a:xfrm>
            <a:off x="4077920" y="1897277"/>
            <a:ext cx="20112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r">
              <a:buClr>
                <a:srgbClr val="132A53"/>
              </a:buClr>
            </a:pPr>
            <a:r>
              <a:rPr lang="en-US" sz="1200" b="1" dirty="0">
                <a:solidFill>
                  <a:srgbClr val="FFFFFF"/>
                </a:solidFill>
              </a:rPr>
              <a:t>2</a:t>
            </a:r>
          </a:p>
        </p:txBody>
      </p:sp>
      <p:cxnSp>
        <p:nvCxnSpPr>
          <p:cNvPr id="296" name="Straight Connector 295"/>
          <p:cNvCxnSpPr/>
          <p:nvPr/>
        </p:nvCxnSpPr>
        <p:spPr>
          <a:xfrm flipH="1">
            <a:off x="4144121" y="1650274"/>
            <a:ext cx="789791" cy="206"/>
          </a:xfrm>
          <a:prstGeom prst="line">
            <a:avLst/>
          </a:prstGeom>
          <a:ln w="9525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/>
          <p:cNvCxnSpPr/>
          <p:nvPr/>
        </p:nvCxnSpPr>
        <p:spPr>
          <a:xfrm>
            <a:off x="751240" y="1631224"/>
            <a:ext cx="1769493" cy="0"/>
          </a:xfrm>
          <a:prstGeom prst="line">
            <a:avLst/>
          </a:prstGeom>
          <a:ln w="9525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162"/>
          <p:cNvSpPr>
            <a:spLocks/>
          </p:cNvSpPr>
          <p:nvPr/>
        </p:nvSpPr>
        <p:spPr>
          <a:xfrm>
            <a:off x="4482372" y="1386184"/>
            <a:ext cx="2906960" cy="4615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56" tIns="45678" rIns="91356" bIns="45678" rtlCol="0" anchor="ctr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Funds are allocated </a:t>
            </a:r>
            <a:r>
              <a:rPr lang="en-US" dirty="0">
                <a:solidFill>
                  <a:schemeClr val="tx1"/>
                </a:solidFill>
              </a:rPr>
              <a:t>across 4 </a:t>
            </a:r>
            <a:r>
              <a:rPr lang="en-US" b="1" dirty="0">
                <a:solidFill>
                  <a:srgbClr val="14385C"/>
                </a:solidFill>
              </a:rPr>
              <a:t>strategic objectives </a:t>
            </a:r>
            <a:r>
              <a:rPr lang="en-US" dirty="0">
                <a:solidFill>
                  <a:schemeClr val="tx1"/>
                </a:solidFill>
              </a:rPr>
              <a:t>related to departmental goal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95" name="Rectangle 294"/>
          <p:cNvSpPr>
            <a:spLocks/>
          </p:cNvSpPr>
          <p:nvPr/>
        </p:nvSpPr>
        <p:spPr>
          <a:xfrm>
            <a:off x="147880" y="1502788"/>
            <a:ext cx="1520973" cy="4615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678" tIns="45678" rIns="45678" bIns="45678" rtlCol="0" anchor="ctr">
            <a:spAutoFit/>
          </a:bodyPr>
          <a:lstStyle/>
          <a:p>
            <a:r>
              <a:rPr lang="en-US" b="1" dirty="0">
                <a:solidFill>
                  <a:srgbClr val="14385C"/>
                </a:solidFill>
              </a:rPr>
              <a:t>Performance  assessment proces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4" name="Title 1"/>
          <p:cNvSpPr>
            <a:spLocks noGrp="1"/>
          </p:cNvSpPr>
          <p:nvPr>
            <p:ph type="title"/>
          </p:nvPr>
        </p:nvSpPr>
        <p:spPr>
          <a:xfrm>
            <a:off x="161984" y="100997"/>
            <a:ext cx="8802608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01972"/>
            <a:r>
              <a:rPr lang="en-US" dirty="0"/>
              <a:t>Performance assessment in project selection</a:t>
            </a:r>
          </a:p>
        </p:txBody>
      </p:sp>
      <p:sp>
        <p:nvSpPr>
          <p:cNvPr id="291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Franklin Gothic Demi" panose="020B0703020102020204" pitchFamily="34" charset="0"/>
              </a:rPr>
              <a:t>B</a:t>
            </a:r>
          </a:p>
        </p:txBody>
      </p:sp>
      <p:sp>
        <p:nvSpPr>
          <p:cNvPr id="160" name="TextBox 159"/>
          <p:cNvSpPr txBox="1">
            <a:spLocks/>
          </p:cNvSpPr>
          <p:nvPr/>
        </p:nvSpPr>
        <p:spPr>
          <a:xfrm>
            <a:off x="4685243" y="3366529"/>
            <a:ext cx="1019674" cy="3529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69911" tIns="69911" rIns="69911" bIns="6991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marL="57094">
              <a:buClr>
                <a:srgbClr val="132A53"/>
              </a:buClr>
            </a:pPr>
            <a:r>
              <a:rPr lang="en-US" sz="1200" dirty="0">
                <a:solidFill>
                  <a:srgbClr val="000000"/>
                </a:solidFill>
              </a:rPr>
              <a:t>Economy</a:t>
            </a:r>
          </a:p>
        </p:txBody>
      </p:sp>
      <p:sp>
        <p:nvSpPr>
          <p:cNvPr id="161" name="Oval 303"/>
          <p:cNvSpPr txBox="1"/>
          <p:nvPr>
            <p:custDataLst>
              <p:tags r:id="rId8"/>
            </p:custDataLst>
          </p:nvPr>
        </p:nvSpPr>
        <p:spPr>
          <a:xfrm>
            <a:off x="4589319" y="3448849"/>
            <a:ext cx="188285" cy="18828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02" tIns="0" rIns="3702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ctr">
              <a:buClr>
                <a:srgbClr val="132A53"/>
              </a:buClr>
            </a:pPr>
            <a:r>
              <a:rPr lang="en-US" sz="120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313" name="TextBox 312"/>
          <p:cNvSpPr txBox="1">
            <a:spLocks/>
          </p:cNvSpPr>
          <p:nvPr/>
        </p:nvSpPr>
        <p:spPr>
          <a:xfrm>
            <a:off x="5892226" y="3366529"/>
            <a:ext cx="1051845" cy="3529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69911" tIns="69911" rIns="69911" bIns="6991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marL="57094">
              <a:buClr>
                <a:srgbClr val="132A53"/>
              </a:buClr>
            </a:pPr>
            <a:r>
              <a:rPr lang="en-US" sz="1200" dirty="0">
                <a:solidFill>
                  <a:srgbClr val="000000"/>
                </a:solidFill>
              </a:rPr>
              <a:t>Environment</a:t>
            </a:r>
          </a:p>
        </p:txBody>
      </p:sp>
      <p:sp>
        <p:nvSpPr>
          <p:cNvPr id="314" name="Oval 303"/>
          <p:cNvSpPr txBox="1"/>
          <p:nvPr>
            <p:custDataLst>
              <p:tags r:id="rId9"/>
            </p:custDataLst>
          </p:nvPr>
        </p:nvSpPr>
        <p:spPr>
          <a:xfrm>
            <a:off x="5796301" y="3448849"/>
            <a:ext cx="188285" cy="18828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vert="horz" wrap="square" lIns="3702" tIns="0" rIns="3702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76901" eaLnBrk="1" hangingPunct="1">
              <a:buClr>
                <a:schemeClr val="tx2"/>
              </a:buClr>
              <a:defRPr sz="1493" baseline="0">
                <a:latin typeface="+mn-lt"/>
              </a:defRPr>
            </a:lvl1pPr>
            <a:lvl2pPr marL="189685" indent="-188130" defTabSz="87690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93" baseline="0">
                <a:latin typeface="+mn-lt"/>
              </a:defRPr>
            </a:lvl2pPr>
            <a:lvl3pPr marL="447780" indent="-256541" defTabSz="87690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493" baseline="0">
                <a:latin typeface="+mn-lt"/>
              </a:defRPr>
            </a:lvl3pPr>
            <a:lvl4pPr marL="601704" indent="-152369" defTabSz="87690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493" baseline="0">
                <a:latin typeface="+mn-lt"/>
              </a:defRPr>
            </a:lvl4pPr>
            <a:lvl5pPr marL="734359" indent="-127493" defTabSz="87690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493" baseline="0">
                <a:latin typeface="+mn-lt"/>
              </a:defRPr>
            </a:lvl5pPr>
            <a:lvl6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6pPr>
            <a:lvl7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7pPr>
            <a:lvl8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8pPr>
            <a:lvl9pPr marL="734359" indent="-127493" defTabSz="87690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587" baseline="0">
                <a:latin typeface="+mn-lt"/>
              </a:defRPr>
            </a:lvl9pPr>
          </a:lstStyle>
          <a:p>
            <a:pPr algn="ctr">
              <a:buClr>
                <a:srgbClr val="132A53"/>
              </a:buClr>
            </a:pPr>
            <a:r>
              <a:rPr lang="en-US" sz="1200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315" name="Rectangle 314"/>
          <p:cNvSpPr>
            <a:spLocks/>
          </p:cNvSpPr>
          <p:nvPr/>
        </p:nvSpPr>
        <p:spPr>
          <a:xfrm>
            <a:off x="4679586" y="3992874"/>
            <a:ext cx="2906960" cy="4615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56" tIns="45678" rIns="91356" bIns="45678" rtlCol="0" anchor="ctr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Effects on the Economy and Effects on the Environment are also considered</a:t>
            </a:r>
          </a:p>
        </p:txBody>
      </p:sp>
      <p:cxnSp>
        <p:nvCxnSpPr>
          <p:cNvPr id="316" name="Straight Connector 315"/>
          <p:cNvCxnSpPr/>
          <p:nvPr/>
        </p:nvCxnSpPr>
        <p:spPr>
          <a:xfrm>
            <a:off x="5707196" y="3485886"/>
            <a:ext cx="1" cy="482676"/>
          </a:xfrm>
          <a:prstGeom prst="line">
            <a:avLst/>
          </a:prstGeom>
          <a:ln w="9525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316"/>
          <p:cNvCxnSpPr/>
          <p:nvPr/>
        </p:nvCxnSpPr>
        <p:spPr>
          <a:xfrm>
            <a:off x="6954238" y="3485886"/>
            <a:ext cx="1" cy="482676"/>
          </a:xfrm>
          <a:prstGeom prst="line">
            <a:avLst/>
          </a:prstGeom>
          <a:ln w="9525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4" name="Right Arrow 293"/>
          <p:cNvSpPr>
            <a:spLocks/>
          </p:cNvSpPr>
          <p:nvPr/>
        </p:nvSpPr>
        <p:spPr>
          <a:xfrm>
            <a:off x="1231022" y="2486443"/>
            <a:ext cx="912394" cy="782990"/>
          </a:xfrm>
          <a:prstGeom prst="rightArrow">
            <a:avLst>
              <a:gd name="adj1" fmla="val 58520"/>
              <a:gd name="adj2" fmla="val 2586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56" tIns="45678" rIns="91356" bIns="45678" rtlCol="0" anchor="ctr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rridor</a:t>
            </a:r>
          </a:p>
          <a:p>
            <a:r>
              <a:rPr lang="en-US" b="1" dirty="0">
                <a:solidFill>
                  <a:schemeClr val="bg1"/>
                </a:solidFill>
              </a:rPr>
              <a:t>Studies</a:t>
            </a:r>
          </a:p>
        </p:txBody>
      </p:sp>
      <p:cxnSp>
        <p:nvCxnSpPr>
          <p:cNvPr id="310" name="Straight Connector 309"/>
          <p:cNvCxnSpPr>
            <a:stCxn id="315" idx="1"/>
          </p:cNvCxnSpPr>
          <p:nvPr/>
        </p:nvCxnSpPr>
        <p:spPr>
          <a:xfrm flipH="1">
            <a:off x="4161636" y="4223664"/>
            <a:ext cx="517950" cy="0"/>
          </a:xfrm>
          <a:prstGeom prst="line">
            <a:avLst/>
          </a:prstGeom>
          <a:ln w="9525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329557" y="4462185"/>
            <a:ext cx="1814577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329543" y="4360916"/>
            <a:ext cx="0" cy="20019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/>
          <p:cNvCxnSpPr/>
          <p:nvPr/>
        </p:nvCxnSpPr>
        <p:spPr>
          <a:xfrm>
            <a:off x="4144120" y="4360916"/>
            <a:ext cx="0" cy="20019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2515731" y="4462189"/>
            <a:ext cx="1370718" cy="276914"/>
          </a:xfrm>
          <a:prstGeom prst="rect">
            <a:avLst/>
          </a:prstGeom>
          <a:noFill/>
        </p:spPr>
        <p:txBody>
          <a:bodyPr wrap="none" lIns="91356" tIns="45678" rIns="91356" bIns="45678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  <a:latin typeface="+mn-lt"/>
              </a:rPr>
              <a:t>PBP Initial Scoring</a:t>
            </a:r>
          </a:p>
        </p:txBody>
      </p:sp>
    </p:spTree>
    <p:extLst>
      <p:ext uri="{BB962C8B-B14F-4D97-AF65-F5344CB8AC3E}">
        <p14:creationId xmlns:p14="http://schemas.microsoft.com/office/powerpoint/2010/main" val="33093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6385">
              <a:tabLst/>
            </a:pPr>
            <a:r>
              <a:rPr lang="en-US" dirty="0" smtClean="0"/>
              <a:t>Examples of Potential Key Performance Measures</a:t>
            </a:r>
            <a:endParaRPr lang="en-US" dirty="0"/>
          </a:p>
        </p:txBody>
      </p:sp>
      <p:sp>
        <p:nvSpPr>
          <p:cNvPr id="25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A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33688" y="937466"/>
            <a:ext cx="3416807" cy="3261233"/>
            <a:chOff x="707779" y="1003724"/>
            <a:chExt cx="3416807" cy="3261233"/>
          </a:xfrm>
        </p:grpSpPr>
        <p:sp>
          <p:nvSpPr>
            <p:cNvPr id="11" name="Rectangle 10"/>
            <p:cNvSpPr>
              <a:spLocks/>
            </p:cNvSpPr>
            <p:nvPr/>
          </p:nvSpPr>
          <p:spPr>
            <a:xfrm>
              <a:off x="707779" y="1003724"/>
              <a:ext cx="351183" cy="1536258"/>
            </a:xfrm>
            <a:prstGeom prst="rect">
              <a:avLst/>
            </a:prstGeom>
            <a:solidFill>
              <a:srgbClr val="11325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Safety</a:t>
              </a:r>
            </a:p>
          </p:txBody>
        </p:sp>
        <p:sp>
          <p:nvSpPr>
            <p:cNvPr id="12" name="Rectangle 1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266828" y="1003724"/>
              <a:ext cx="2857758" cy="242525"/>
            </a:xfrm>
            <a:prstGeom prst="rect">
              <a:avLst/>
            </a:prstGeom>
            <a:solidFill>
              <a:srgbClr val="113252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Fatalities</a:t>
              </a:r>
            </a:p>
          </p:txBody>
        </p:sp>
        <p:sp>
          <p:nvSpPr>
            <p:cNvPr id="13" name="Rectangle 1"/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1266828" y="1434968"/>
              <a:ext cx="2857758" cy="242525"/>
            </a:xfrm>
            <a:prstGeom prst="rect">
              <a:avLst/>
            </a:prstGeom>
            <a:solidFill>
              <a:srgbClr val="113252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Incapacitating Injuries</a:t>
              </a:r>
            </a:p>
          </p:txBody>
        </p:sp>
        <p:sp>
          <p:nvSpPr>
            <p:cNvPr id="14" name="Rectangle 1"/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1266828" y="1866212"/>
              <a:ext cx="2857758" cy="242525"/>
            </a:xfrm>
            <a:prstGeom prst="rect">
              <a:avLst/>
            </a:prstGeom>
            <a:solidFill>
              <a:srgbClr val="113252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Safety Project Classification</a:t>
              </a:r>
            </a:p>
          </p:txBody>
        </p:sp>
        <p:sp>
          <p:nvSpPr>
            <p:cNvPr id="15" name="Rectangle 1"/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266828" y="2297456"/>
              <a:ext cx="2857758" cy="242525"/>
            </a:xfrm>
            <a:prstGeom prst="rect">
              <a:avLst/>
            </a:prstGeom>
            <a:solidFill>
              <a:srgbClr val="113252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Hurricane Evacuation Route</a:t>
              </a:r>
            </a:p>
          </p:txBody>
        </p:sp>
        <p:sp>
          <p:nvSpPr>
            <p:cNvPr id="16" name="Rectangle 1"/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1266828" y="2728700"/>
              <a:ext cx="2857758" cy="242525"/>
            </a:xfrm>
            <a:prstGeom prst="rect">
              <a:avLst/>
            </a:prstGeom>
            <a:solidFill>
              <a:srgbClr val="CC6A18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Rural Mobility</a:t>
              </a:r>
            </a:p>
          </p:txBody>
        </p:sp>
        <p:sp>
          <p:nvSpPr>
            <p:cNvPr id="17" name="Rectangle 1"/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1266828" y="3159944"/>
              <a:ext cx="2857758" cy="242525"/>
            </a:xfrm>
            <a:prstGeom prst="rect">
              <a:avLst/>
            </a:prstGeom>
            <a:solidFill>
              <a:srgbClr val="CC6A18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Connecting Activity Centers</a:t>
              </a:r>
            </a:p>
          </p:txBody>
        </p:sp>
        <p:sp>
          <p:nvSpPr>
            <p:cNvPr id="18" name="Rectangle 1"/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266828" y="3591188"/>
              <a:ext cx="2857758" cy="242525"/>
            </a:xfrm>
            <a:prstGeom prst="rect">
              <a:avLst/>
            </a:prstGeom>
            <a:solidFill>
              <a:srgbClr val="CC6A18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Access to Ports of Entry</a:t>
              </a:r>
            </a:p>
          </p:txBody>
        </p:sp>
        <p:sp>
          <p:nvSpPr>
            <p:cNvPr id="19" name="Rectangle 1"/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1266828" y="4022432"/>
              <a:ext cx="2857758" cy="242525"/>
            </a:xfrm>
            <a:prstGeom prst="rect">
              <a:avLst/>
            </a:prstGeom>
            <a:solidFill>
              <a:srgbClr val="CC6A18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Connectivity to Adjacent States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617184" y="937463"/>
            <a:ext cx="3837717" cy="2829990"/>
            <a:chOff x="4524405" y="1003724"/>
            <a:chExt cx="3837717" cy="2829989"/>
          </a:xfrm>
        </p:grpSpPr>
        <p:sp>
          <p:nvSpPr>
            <p:cNvPr id="27" name="Rectangle 26"/>
            <p:cNvSpPr>
              <a:spLocks/>
            </p:cNvSpPr>
            <p:nvPr/>
          </p:nvSpPr>
          <p:spPr>
            <a:xfrm>
              <a:off x="4524405" y="1003724"/>
              <a:ext cx="351183" cy="1542676"/>
            </a:xfrm>
            <a:prstGeom prst="rect">
              <a:avLst/>
            </a:prstGeom>
            <a:solidFill>
              <a:srgbClr val="6899C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800" b="1" dirty="0">
                  <a:solidFill>
                    <a:schemeClr val="bg1"/>
                  </a:solidFill>
                </a:rPr>
                <a:t>Preservation</a:t>
              </a:r>
            </a:p>
          </p:txBody>
        </p:sp>
        <p:sp>
          <p:nvSpPr>
            <p:cNvPr id="30" name="Rectangle 1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5083454" y="1434968"/>
              <a:ext cx="3278668" cy="242525"/>
            </a:xfrm>
            <a:prstGeom prst="rect">
              <a:avLst/>
            </a:prstGeom>
            <a:solidFill>
              <a:srgbClr val="6899C6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Bridge Sufficiency Rating</a:t>
              </a:r>
            </a:p>
          </p:txBody>
        </p:sp>
        <p:sp>
          <p:nvSpPr>
            <p:cNvPr id="31" name="Rectangle 1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5083454" y="1853910"/>
              <a:ext cx="3278668" cy="242525"/>
            </a:xfrm>
            <a:prstGeom prst="rect">
              <a:avLst/>
            </a:prstGeom>
            <a:solidFill>
              <a:srgbClr val="6899C6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Roadway Ride Score</a:t>
              </a:r>
            </a:p>
          </p:txBody>
        </p:sp>
        <p:sp>
          <p:nvSpPr>
            <p:cNvPr id="32" name="Rectangle 1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5064404" y="2303874"/>
              <a:ext cx="3278668" cy="242525"/>
            </a:xfrm>
            <a:prstGeom prst="rect">
              <a:avLst/>
            </a:prstGeom>
            <a:solidFill>
              <a:srgbClr val="6899C6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Roadway Distress Score</a:t>
              </a:r>
            </a:p>
          </p:txBody>
        </p:sp>
        <p:sp>
          <p:nvSpPr>
            <p:cNvPr id="33" name="Rectangle 1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5083454" y="3211873"/>
              <a:ext cx="3278668" cy="242525"/>
            </a:xfrm>
            <a:prstGeom prst="rect">
              <a:avLst/>
            </a:prstGeom>
            <a:solidFill>
              <a:srgbClr val="F6B900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Future Congestion Addressed</a:t>
              </a:r>
            </a:p>
          </p:txBody>
        </p:sp>
        <p:sp>
          <p:nvSpPr>
            <p:cNvPr id="34" name="Rectangle 1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5083454" y="3591188"/>
              <a:ext cx="3278668" cy="242525"/>
            </a:xfrm>
            <a:prstGeom prst="rect">
              <a:avLst/>
            </a:prstGeom>
            <a:solidFill>
              <a:srgbClr val="F6B900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Intermodal Connector</a:t>
              </a:r>
            </a:p>
          </p:txBody>
        </p:sp>
        <p:sp>
          <p:nvSpPr>
            <p:cNvPr id="36" name="Rectangle 1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5083454" y="1022166"/>
              <a:ext cx="3278668" cy="242525"/>
            </a:xfrm>
            <a:prstGeom prst="rect">
              <a:avLst/>
            </a:prstGeom>
            <a:solidFill>
              <a:srgbClr val="6899C6"/>
            </a:solidFill>
            <a:ln>
              <a:noFill/>
            </a:ln>
          </p:spPr>
          <p:txBody>
            <a:bodyPr vert="horz" wrap="square" lIns="18288" tIns="18288" rIns="18288" bIns="18288" rtlCol="0" anchor="ctr" anchorCtr="0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700" b="1" dirty="0">
                  <a:solidFill>
                    <a:schemeClr val="bg1"/>
                  </a:solidFill>
                </a:rPr>
                <a:t>Structurally Deficient Bridges Repl.</a:t>
              </a:r>
            </a:p>
          </p:txBody>
        </p:sp>
      </p:grpSp>
      <p:sp>
        <p:nvSpPr>
          <p:cNvPr id="37" name="Rectangle 36"/>
          <p:cNvSpPr>
            <a:spLocks/>
          </p:cNvSpPr>
          <p:nvPr/>
        </p:nvSpPr>
        <p:spPr>
          <a:xfrm>
            <a:off x="833688" y="2694932"/>
            <a:ext cx="351183" cy="1536258"/>
          </a:xfrm>
          <a:prstGeom prst="rect">
            <a:avLst/>
          </a:prstGeom>
          <a:solidFill>
            <a:srgbClr val="CC6A1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356" tIns="45678" rIns="91356" bIns="45678"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Connectivity</a:t>
            </a:r>
          </a:p>
        </p:txBody>
      </p:sp>
      <p:sp>
        <p:nvSpPr>
          <p:cNvPr id="38" name="Rectang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76219" y="2697308"/>
            <a:ext cx="3278668" cy="242525"/>
          </a:xfrm>
          <a:prstGeom prst="rect">
            <a:avLst/>
          </a:prstGeom>
          <a:solidFill>
            <a:srgbClr val="F6B900"/>
          </a:solidFill>
          <a:ln>
            <a:noFill/>
          </a:ln>
        </p:spPr>
        <p:txBody>
          <a:bodyPr vert="horz" wrap="square" lIns="18274" tIns="18274" rIns="18274" bIns="18274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700" b="1" dirty="0">
                <a:solidFill>
                  <a:schemeClr val="bg1"/>
                </a:solidFill>
              </a:rPr>
              <a:t>Current Congestion Addressed</a:t>
            </a:r>
          </a:p>
        </p:txBody>
      </p:sp>
      <p:sp>
        <p:nvSpPr>
          <p:cNvPr id="39" name="Rectangle 38"/>
          <p:cNvSpPr>
            <a:spLocks/>
          </p:cNvSpPr>
          <p:nvPr/>
        </p:nvSpPr>
        <p:spPr>
          <a:xfrm>
            <a:off x="4617184" y="2662440"/>
            <a:ext cx="351183" cy="1542676"/>
          </a:xfrm>
          <a:prstGeom prst="rect">
            <a:avLst/>
          </a:prstGeom>
          <a:solidFill>
            <a:srgbClr val="F6B9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356" tIns="45678" rIns="91356" bIns="45678"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Congestion</a:t>
            </a:r>
          </a:p>
        </p:txBody>
      </p:sp>
      <p:sp>
        <p:nvSpPr>
          <p:cNvPr id="45" name="Rectangle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176219" y="3923510"/>
            <a:ext cx="3278668" cy="242525"/>
          </a:xfrm>
          <a:prstGeom prst="rect">
            <a:avLst/>
          </a:prstGeom>
          <a:solidFill>
            <a:srgbClr val="F6B900"/>
          </a:solidFill>
          <a:ln>
            <a:noFill/>
          </a:ln>
        </p:spPr>
        <p:txBody>
          <a:bodyPr vert="horz" wrap="square" lIns="18274" tIns="18274" rIns="18274" bIns="18274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1700" b="1" dirty="0">
                <a:solidFill>
                  <a:schemeClr val="bg1"/>
                </a:solidFill>
              </a:rPr>
              <a:t>New Connectivity</a:t>
            </a:r>
          </a:p>
        </p:txBody>
      </p:sp>
    </p:spTree>
    <p:extLst>
      <p:ext uri="{BB962C8B-B14F-4D97-AF65-F5344CB8AC3E}">
        <p14:creationId xmlns:p14="http://schemas.microsoft.com/office/powerpoint/2010/main" val="2351431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6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oup 58"/>
          <p:cNvGrpSpPr/>
          <p:nvPr/>
        </p:nvGrpSpPr>
        <p:grpSpPr>
          <a:xfrm>
            <a:off x="0" y="977836"/>
            <a:ext cx="9144000" cy="486719"/>
            <a:chOff x="0" y="895350"/>
            <a:chExt cx="9144000" cy="486719"/>
          </a:xfrm>
        </p:grpSpPr>
        <p:sp>
          <p:nvSpPr>
            <p:cNvPr id="60" name="Rectangle 59"/>
            <p:cNvSpPr>
              <a:spLocks/>
            </p:cNvSpPr>
            <p:nvPr/>
          </p:nvSpPr>
          <p:spPr>
            <a:xfrm>
              <a:off x="0" y="895350"/>
              <a:ext cx="9144000" cy="486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61" name="Straight Connector 60"/>
            <p:cNvCxnSpPr>
              <a:cxnSpLocks/>
            </p:cNvCxnSpPr>
            <p:nvPr/>
          </p:nvCxnSpPr>
          <p:spPr>
            <a:xfrm>
              <a:off x="0" y="895350"/>
              <a:ext cx="9144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TextBox 78"/>
          <p:cNvSpPr txBox="1"/>
          <p:nvPr/>
        </p:nvSpPr>
        <p:spPr>
          <a:xfrm>
            <a:off x="192830" y="524857"/>
            <a:ext cx="459855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</a:rPr>
              <a:t>Key Stakeholders in PBP </a:t>
            </a:r>
            <a:br>
              <a:rPr lang="en-US" sz="1400" b="1" dirty="0">
                <a:solidFill>
                  <a:schemeClr val="accent2"/>
                </a:solidFill>
              </a:rPr>
            </a:br>
            <a:r>
              <a:rPr lang="en-US" sz="1400" b="1" dirty="0">
                <a:solidFill>
                  <a:schemeClr val="accent2"/>
                </a:solidFill>
              </a:rPr>
              <a:t>Process:</a:t>
            </a:r>
          </a:p>
        </p:txBody>
      </p:sp>
      <p:sp>
        <p:nvSpPr>
          <p:cNvPr id="51" name="5. Source"/>
          <p:cNvSpPr>
            <a:spLocks noChangeArrowheads="1"/>
          </p:cNvSpPr>
          <p:nvPr/>
        </p:nvSpPr>
        <p:spPr bwMode="gray">
          <a:xfrm>
            <a:off x="161984" y="4910947"/>
            <a:ext cx="86581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37758" indent="-437758" defTabSz="1192752"/>
            <a:r>
              <a:rPr lang="en-US" sz="800" dirty="0">
                <a:solidFill>
                  <a:schemeClr val="bg1"/>
                </a:solidFill>
                <a:latin typeface="+mn-lt"/>
              </a:rPr>
              <a:t>1 State/local elected officials, FHWA/FTA, System users, and any interested party.</a:t>
            </a:r>
            <a:endParaRPr lang="x-none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0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99690"/>
            <a:r>
              <a:rPr lang="en-US" dirty="0" smtClean="0"/>
              <a:t>Stakeholders in Performance Based Planning</a:t>
            </a:r>
            <a:endParaRPr lang="en-US" dirty="0"/>
          </a:p>
        </p:txBody>
      </p:sp>
      <p:sp>
        <p:nvSpPr>
          <p:cNvPr id="71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Franklin Gothic Demi" panose="020B0703020102020204" pitchFamily="34" charset="0"/>
              </a:rPr>
              <a:t>A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780774" y="1057181"/>
            <a:ext cx="3637995" cy="3635565"/>
            <a:chOff x="1153393" y="1014438"/>
            <a:chExt cx="3637995" cy="3635565"/>
          </a:xfrm>
        </p:grpSpPr>
        <p:sp>
          <p:nvSpPr>
            <p:cNvPr id="42" name="Rectangle 41"/>
            <p:cNvSpPr/>
            <p:nvPr/>
          </p:nvSpPr>
          <p:spPr>
            <a:xfrm>
              <a:off x="1153393" y="1014438"/>
              <a:ext cx="3637995" cy="3635565"/>
            </a:xfrm>
            <a:prstGeom prst="rect">
              <a:avLst/>
            </a:prstGeom>
            <a:solidFill>
              <a:schemeClr val="accent1">
                <a:alpha val="3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4" name="Freeform 3"/>
            <p:cNvSpPr/>
            <p:nvPr/>
          </p:nvSpPr>
          <p:spPr>
            <a:xfrm>
              <a:off x="2580270" y="2462272"/>
              <a:ext cx="765351" cy="765351"/>
            </a:xfrm>
            <a:custGeom>
              <a:avLst/>
              <a:gdLst>
                <a:gd name="connsiteX0" fmla="*/ 0 w 692050"/>
                <a:gd name="connsiteY0" fmla="*/ 346025 h 692050"/>
                <a:gd name="connsiteX1" fmla="*/ 346025 w 692050"/>
                <a:gd name="connsiteY1" fmla="*/ 0 h 692050"/>
                <a:gd name="connsiteX2" fmla="*/ 692050 w 692050"/>
                <a:gd name="connsiteY2" fmla="*/ 346025 h 692050"/>
                <a:gd name="connsiteX3" fmla="*/ 346025 w 692050"/>
                <a:gd name="connsiteY3" fmla="*/ 692050 h 692050"/>
                <a:gd name="connsiteX4" fmla="*/ 0 w 692050"/>
                <a:gd name="connsiteY4" fmla="*/ 346025 h 69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050" h="692050">
                  <a:moveTo>
                    <a:pt x="0" y="346025"/>
                  </a:moveTo>
                  <a:cubicBezTo>
                    <a:pt x="0" y="154921"/>
                    <a:pt x="154921" y="0"/>
                    <a:pt x="346025" y="0"/>
                  </a:cubicBezTo>
                  <a:cubicBezTo>
                    <a:pt x="537129" y="0"/>
                    <a:pt x="692050" y="154921"/>
                    <a:pt x="692050" y="346025"/>
                  </a:cubicBezTo>
                  <a:cubicBezTo>
                    <a:pt x="692050" y="537129"/>
                    <a:pt x="537129" y="692050"/>
                    <a:pt x="346025" y="692050"/>
                  </a:cubicBezTo>
                  <a:cubicBezTo>
                    <a:pt x="154921" y="692050"/>
                    <a:pt x="0" y="537129"/>
                    <a:pt x="0" y="346025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  <a:effectLst/>
          </p:spPr>
          <p:txBody>
            <a:bodyPr vert="horz" wrap="square" lIns="2916" tIns="0" rIns="2916" bIns="0" numCol="1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894552">
                <a:buClr>
                  <a:schemeClr val="tx2"/>
                </a:buClr>
              </a:pPr>
              <a:r>
                <a:rPr lang="en-US" sz="900" b="1" dirty="0">
                  <a:solidFill>
                    <a:schemeClr val="bg1"/>
                  </a:solidFill>
                </a:rPr>
                <a:t>UTP</a:t>
              </a:r>
            </a:p>
          </p:txBody>
        </p:sp>
        <p:sp>
          <p:nvSpPr>
            <p:cNvPr id="12" name="Freeform 11"/>
            <p:cNvSpPr/>
            <p:nvPr/>
          </p:nvSpPr>
          <p:spPr>
            <a:xfrm rot="5400000" flipV="1">
              <a:off x="2845364" y="2116966"/>
              <a:ext cx="235162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0" y="47059"/>
                  </a:moveTo>
                  <a:lnTo>
                    <a:pt x="106320" y="47059"/>
                  </a:lnTo>
                  <a:lnTo>
                    <a:pt x="106320" y="0"/>
                  </a:lnTo>
                  <a:lnTo>
                    <a:pt x="212640" y="117649"/>
                  </a:lnTo>
                  <a:lnTo>
                    <a:pt x="106320" y="235297"/>
                  </a:lnTo>
                  <a:lnTo>
                    <a:pt x="106320" y="188238"/>
                  </a:lnTo>
                  <a:lnTo>
                    <a:pt x="0" y="188238"/>
                  </a:lnTo>
                  <a:lnTo>
                    <a:pt x="0" y="47059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-1" tIns="47058" rIns="63792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</p:txBody>
        </p:sp>
        <p:sp>
          <p:nvSpPr>
            <p:cNvPr id="14" name="Freeform 13"/>
            <p:cNvSpPr/>
            <p:nvPr/>
          </p:nvSpPr>
          <p:spPr>
            <a:xfrm rot="18900000" flipH="1" flipV="1">
              <a:off x="3268124" y="2292079"/>
              <a:ext cx="235162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0" y="47059"/>
                  </a:moveTo>
                  <a:lnTo>
                    <a:pt x="106320" y="47059"/>
                  </a:lnTo>
                  <a:lnTo>
                    <a:pt x="106320" y="0"/>
                  </a:lnTo>
                  <a:lnTo>
                    <a:pt x="212640" y="117649"/>
                  </a:lnTo>
                  <a:lnTo>
                    <a:pt x="106320" y="235297"/>
                  </a:lnTo>
                  <a:lnTo>
                    <a:pt x="106320" y="188238"/>
                  </a:lnTo>
                  <a:lnTo>
                    <a:pt x="0" y="188238"/>
                  </a:lnTo>
                  <a:lnTo>
                    <a:pt x="0" y="47059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-1" tIns="47058" rIns="63792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</p:txBody>
        </p:sp>
        <p:sp>
          <p:nvSpPr>
            <p:cNvPr id="16" name="Freeform 15"/>
            <p:cNvSpPr/>
            <p:nvPr/>
          </p:nvSpPr>
          <p:spPr>
            <a:xfrm flipH="1" flipV="1">
              <a:off x="3443237" y="2714838"/>
              <a:ext cx="235162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0" y="47059"/>
                  </a:moveTo>
                  <a:lnTo>
                    <a:pt x="106320" y="47059"/>
                  </a:lnTo>
                  <a:lnTo>
                    <a:pt x="106320" y="0"/>
                  </a:lnTo>
                  <a:lnTo>
                    <a:pt x="212640" y="117649"/>
                  </a:lnTo>
                  <a:lnTo>
                    <a:pt x="106320" y="235297"/>
                  </a:lnTo>
                  <a:lnTo>
                    <a:pt x="106320" y="188238"/>
                  </a:lnTo>
                  <a:lnTo>
                    <a:pt x="0" y="188238"/>
                  </a:lnTo>
                  <a:lnTo>
                    <a:pt x="0" y="47059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47059" rIns="63792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</p:txBody>
        </p:sp>
        <p:sp>
          <p:nvSpPr>
            <p:cNvPr id="18" name="Freeform 17"/>
            <p:cNvSpPr/>
            <p:nvPr/>
          </p:nvSpPr>
          <p:spPr>
            <a:xfrm rot="2700000" flipH="1" flipV="1">
              <a:off x="3268124" y="3137598"/>
              <a:ext cx="235162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0" y="47059"/>
                  </a:moveTo>
                  <a:lnTo>
                    <a:pt x="106320" y="47059"/>
                  </a:lnTo>
                  <a:lnTo>
                    <a:pt x="106320" y="0"/>
                  </a:lnTo>
                  <a:lnTo>
                    <a:pt x="212640" y="117649"/>
                  </a:lnTo>
                  <a:lnTo>
                    <a:pt x="106320" y="235297"/>
                  </a:lnTo>
                  <a:lnTo>
                    <a:pt x="106320" y="188238"/>
                  </a:lnTo>
                  <a:lnTo>
                    <a:pt x="0" y="188238"/>
                  </a:lnTo>
                  <a:lnTo>
                    <a:pt x="0" y="47059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47058" rIns="63791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</p:txBody>
        </p:sp>
        <p:sp>
          <p:nvSpPr>
            <p:cNvPr id="20" name="Freeform 19"/>
            <p:cNvSpPr/>
            <p:nvPr/>
          </p:nvSpPr>
          <p:spPr>
            <a:xfrm rot="16200000" flipV="1">
              <a:off x="2845364" y="3312711"/>
              <a:ext cx="235162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0" y="47059"/>
                  </a:moveTo>
                  <a:lnTo>
                    <a:pt x="106320" y="47059"/>
                  </a:lnTo>
                  <a:lnTo>
                    <a:pt x="106320" y="0"/>
                  </a:lnTo>
                  <a:lnTo>
                    <a:pt x="212640" y="117649"/>
                  </a:lnTo>
                  <a:lnTo>
                    <a:pt x="106320" y="235297"/>
                  </a:lnTo>
                  <a:lnTo>
                    <a:pt x="106320" y="188238"/>
                  </a:lnTo>
                  <a:lnTo>
                    <a:pt x="0" y="188238"/>
                  </a:lnTo>
                  <a:lnTo>
                    <a:pt x="0" y="47059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47058" rIns="63791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</p:txBody>
        </p:sp>
        <p:sp>
          <p:nvSpPr>
            <p:cNvPr id="22" name="Freeform 21"/>
            <p:cNvSpPr/>
            <p:nvPr/>
          </p:nvSpPr>
          <p:spPr>
            <a:xfrm rot="18900000" flipH="1" flipV="1">
              <a:off x="2422605" y="3137597"/>
              <a:ext cx="235163" cy="260220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212640" y="188238"/>
                  </a:moveTo>
                  <a:lnTo>
                    <a:pt x="106320" y="188238"/>
                  </a:lnTo>
                  <a:lnTo>
                    <a:pt x="106320" y="235297"/>
                  </a:lnTo>
                  <a:lnTo>
                    <a:pt x="0" y="117648"/>
                  </a:lnTo>
                  <a:lnTo>
                    <a:pt x="106320" y="0"/>
                  </a:lnTo>
                  <a:lnTo>
                    <a:pt x="106320" y="47059"/>
                  </a:lnTo>
                  <a:lnTo>
                    <a:pt x="212640" y="47059"/>
                  </a:lnTo>
                  <a:lnTo>
                    <a:pt x="212640" y="188238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791" tIns="47059" rIns="1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</p:txBody>
        </p:sp>
        <p:sp>
          <p:nvSpPr>
            <p:cNvPr id="24" name="Freeform 23"/>
            <p:cNvSpPr/>
            <p:nvPr/>
          </p:nvSpPr>
          <p:spPr>
            <a:xfrm flipH="1" flipV="1">
              <a:off x="2247492" y="2714837"/>
              <a:ext cx="235163" cy="260220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212640" y="188238"/>
                  </a:moveTo>
                  <a:lnTo>
                    <a:pt x="106320" y="188238"/>
                  </a:lnTo>
                  <a:lnTo>
                    <a:pt x="106320" y="235297"/>
                  </a:lnTo>
                  <a:lnTo>
                    <a:pt x="0" y="117648"/>
                  </a:lnTo>
                  <a:lnTo>
                    <a:pt x="106320" y="0"/>
                  </a:lnTo>
                  <a:lnTo>
                    <a:pt x="106320" y="47059"/>
                  </a:lnTo>
                  <a:lnTo>
                    <a:pt x="212640" y="47059"/>
                  </a:lnTo>
                  <a:lnTo>
                    <a:pt x="212640" y="188238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792" tIns="47060" rIns="1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</p:txBody>
        </p:sp>
        <p:sp>
          <p:nvSpPr>
            <p:cNvPr id="26" name="Freeform 25"/>
            <p:cNvSpPr/>
            <p:nvPr/>
          </p:nvSpPr>
          <p:spPr>
            <a:xfrm rot="2700000" flipH="1" flipV="1">
              <a:off x="2422605" y="2292079"/>
              <a:ext cx="235163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212640" y="188238"/>
                  </a:moveTo>
                  <a:lnTo>
                    <a:pt x="106320" y="188238"/>
                  </a:lnTo>
                  <a:lnTo>
                    <a:pt x="106320" y="235297"/>
                  </a:lnTo>
                  <a:lnTo>
                    <a:pt x="0" y="117648"/>
                  </a:lnTo>
                  <a:lnTo>
                    <a:pt x="106320" y="0"/>
                  </a:lnTo>
                  <a:lnTo>
                    <a:pt x="106320" y="47059"/>
                  </a:lnTo>
                  <a:lnTo>
                    <a:pt x="212640" y="47059"/>
                  </a:lnTo>
                  <a:lnTo>
                    <a:pt x="212640" y="188238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792" tIns="47058" rIns="0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3792406" y="2386541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  <a:ln w="28575"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/>
              </a:r>
              <a:br>
                <a:rPr lang="en-US" sz="900" b="1" dirty="0"/>
              </a:b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TPP</a:t>
              </a:r>
            </a:p>
          </p:txBody>
        </p:sp>
        <p:sp>
          <p:nvSpPr>
            <p:cNvPr id="27" name="Freeform 26"/>
            <p:cNvSpPr/>
            <p:nvPr/>
          </p:nvSpPr>
          <p:spPr>
            <a:xfrm>
              <a:off x="1593879" y="1475881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MPOs</a:t>
              </a:r>
              <a:endParaRPr lang="en-US" sz="900" b="1" baseline="30000" dirty="0"/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415198" y="1448171"/>
              <a:ext cx="916814" cy="984518"/>
              <a:chOff x="2117269" y="648678"/>
              <a:chExt cx="1003099" cy="1077175"/>
            </a:xfrm>
          </p:grpSpPr>
          <p:sp>
            <p:nvSpPr>
              <p:cNvPr id="13" name="Freeform 12"/>
              <p:cNvSpPr/>
              <p:nvPr/>
            </p:nvSpPr>
            <p:spPr>
              <a:xfrm>
                <a:off x="2117269" y="722754"/>
                <a:ext cx="1003099" cy="1003099"/>
              </a:xfrm>
              <a:custGeom>
                <a:avLst/>
                <a:gdLst>
                  <a:gd name="connsiteX0" fmla="*/ 0 w 622845"/>
                  <a:gd name="connsiteY0" fmla="*/ 311423 h 622845"/>
                  <a:gd name="connsiteX1" fmla="*/ 311423 w 622845"/>
                  <a:gd name="connsiteY1" fmla="*/ 0 h 622845"/>
                  <a:gd name="connsiteX2" fmla="*/ 622846 w 622845"/>
                  <a:gd name="connsiteY2" fmla="*/ 311423 h 622845"/>
                  <a:gd name="connsiteX3" fmla="*/ 311423 w 622845"/>
                  <a:gd name="connsiteY3" fmla="*/ 622846 h 622845"/>
                  <a:gd name="connsiteX4" fmla="*/ 0 w 622845"/>
                  <a:gd name="connsiteY4" fmla="*/ 311423 h 622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845" h="622845">
                    <a:moveTo>
                      <a:pt x="0" y="311423"/>
                    </a:moveTo>
                    <a:cubicBezTo>
                      <a:pt x="0" y="139429"/>
                      <a:pt x="139429" y="0"/>
                      <a:pt x="311423" y="0"/>
                    </a:cubicBezTo>
                    <a:cubicBezTo>
                      <a:pt x="483417" y="0"/>
                      <a:pt x="622846" y="139429"/>
                      <a:pt x="622846" y="311423"/>
                    </a:cubicBezTo>
                    <a:cubicBezTo>
                      <a:pt x="622846" y="483417"/>
                      <a:pt x="483417" y="622846"/>
                      <a:pt x="311423" y="622846"/>
                    </a:cubicBezTo>
                    <a:cubicBezTo>
                      <a:pt x="139429" y="622846"/>
                      <a:pt x="0" y="483417"/>
                      <a:pt x="0" y="311423"/>
                    </a:cubicBez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7724" tIns="107724" rIns="107724" bIns="107724" numCol="1" spcCol="1270" anchor="ctr" anchorCtr="0">
                <a:noAutofit/>
              </a:bodyPr>
              <a:lstStyle/>
              <a:p>
                <a:pPr algn="ctr" defTabSz="577332">
                  <a:lnSpc>
                    <a:spcPct val="90000"/>
                  </a:lnSpc>
                  <a:spcAft>
                    <a:spcPct val="35000"/>
                  </a:spcAft>
                </a:pPr>
                <a:endParaRPr lang="en-US" sz="900" dirty="0"/>
              </a:p>
            </p:txBody>
          </p:sp>
          <p:pic>
            <p:nvPicPr>
              <p:cNvPr id="95" name="Picture 94"/>
              <p:cNvPicPr>
                <a:picLocks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96408" y="648678"/>
                <a:ext cx="640701" cy="640701"/>
              </a:xfrm>
              <a:prstGeom prst="rect">
                <a:avLst/>
              </a:prstGeom>
            </p:spPr>
          </p:pic>
          <p:sp>
            <p:nvSpPr>
              <p:cNvPr id="101" name="TextBox 100"/>
              <p:cNvSpPr txBox="1"/>
              <p:nvPr/>
            </p:nvSpPr>
            <p:spPr>
              <a:xfrm>
                <a:off x="2192268" y="1222305"/>
                <a:ext cx="860800" cy="30306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17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4393" lvl="1" indent="-190793" defTabSz="1193817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609608" lvl="2" indent="-349255" defTabSz="1193817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819162" lvl="3" indent="-207436" defTabSz="1193817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999757" lvl="4" indent="-173569" defTabSz="1193817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999757" indent="-173569" defTabSz="1193817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57" indent="-173569" defTabSz="1193817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57" indent="-173569" defTabSz="1193817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57" indent="-173569" defTabSz="1193817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QRP Leadership</a:t>
                </a:r>
              </a:p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Committee</a:t>
                </a: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2504539" y="1058680"/>
              <a:ext cx="916814" cy="916814"/>
              <a:chOff x="3113633" y="1135461"/>
              <a:chExt cx="1003099" cy="1003099"/>
            </a:xfrm>
          </p:grpSpPr>
          <p:sp>
            <p:nvSpPr>
              <p:cNvPr id="15" name="Freeform 14"/>
              <p:cNvSpPr/>
              <p:nvPr/>
            </p:nvSpPr>
            <p:spPr>
              <a:xfrm>
                <a:off x="3113633" y="1135461"/>
                <a:ext cx="1003099" cy="1003099"/>
              </a:xfrm>
              <a:custGeom>
                <a:avLst/>
                <a:gdLst>
                  <a:gd name="connsiteX0" fmla="*/ 0 w 622845"/>
                  <a:gd name="connsiteY0" fmla="*/ 311423 h 622845"/>
                  <a:gd name="connsiteX1" fmla="*/ 311423 w 622845"/>
                  <a:gd name="connsiteY1" fmla="*/ 0 h 622845"/>
                  <a:gd name="connsiteX2" fmla="*/ 622846 w 622845"/>
                  <a:gd name="connsiteY2" fmla="*/ 311423 h 622845"/>
                  <a:gd name="connsiteX3" fmla="*/ 311423 w 622845"/>
                  <a:gd name="connsiteY3" fmla="*/ 622846 h 622845"/>
                  <a:gd name="connsiteX4" fmla="*/ 0 w 622845"/>
                  <a:gd name="connsiteY4" fmla="*/ 311423 h 622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845" h="622845">
                    <a:moveTo>
                      <a:pt x="0" y="311423"/>
                    </a:moveTo>
                    <a:cubicBezTo>
                      <a:pt x="0" y="139429"/>
                      <a:pt x="139429" y="0"/>
                      <a:pt x="311423" y="0"/>
                    </a:cubicBezTo>
                    <a:cubicBezTo>
                      <a:pt x="483417" y="0"/>
                      <a:pt x="622846" y="139429"/>
                      <a:pt x="622846" y="311423"/>
                    </a:cubicBezTo>
                    <a:cubicBezTo>
                      <a:pt x="622846" y="483417"/>
                      <a:pt x="483417" y="622846"/>
                      <a:pt x="311423" y="622846"/>
                    </a:cubicBezTo>
                    <a:cubicBezTo>
                      <a:pt x="139429" y="622846"/>
                      <a:pt x="0" y="483417"/>
                      <a:pt x="0" y="311423"/>
                    </a:cubicBez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7724" tIns="107724" rIns="107724" bIns="107724" numCol="1" spcCol="1270" anchor="ctr" anchorCtr="0">
                <a:noAutofit/>
              </a:bodyPr>
              <a:lstStyle/>
              <a:p>
                <a:pPr algn="ctr" defTabSz="577332">
                  <a:lnSpc>
                    <a:spcPct val="90000"/>
                  </a:lnSpc>
                  <a:spcAft>
                    <a:spcPct val="35000"/>
                  </a:spcAft>
                </a:pPr>
                <a:endParaRPr lang="en-US" sz="900" dirty="0"/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3184782" y="1135461"/>
                <a:ext cx="860800" cy="749960"/>
                <a:chOff x="3351491" y="1300283"/>
                <a:chExt cx="860800" cy="749960"/>
              </a:xfrm>
            </p:grpSpPr>
            <p:pic>
              <p:nvPicPr>
                <p:cNvPr id="106" name="Picture 105"/>
                <p:cNvPicPr>
                  <a:picLocks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31252" y="1300283"/>
                  <a:ext cx="705454" cy="705454"/>
                </a:xfrm>
                <a:prstGeom prst="rect">
                  <a:avLst/>
                </a:prstGeom>
              </p:spPr>
            </p:pic>
            <p:sp>
              <p:nvSpPr>
                <p:cNvPr id="107" name="TextBox 106"/>
                <p:cNvSpPr txBox="1"/>
                <p:nvPr/>
              </p:nvSpPr>
              <p:spPr>
                <a:xfrm>
                  <a:off x="3351491" y="1898709"/>
                  <a:ext cx="860800" cy="15153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1193817" eaLnBrk="1" latinLnBrk="0" hangingPunct="1">
                    <a:buClr>
                      <a:schemeClr val="tx2"/>
                    </a:buClr>
                    <a:buSzPct val="100000"/>
                    <a:defRPr lang="x-none" sz="1600" baseline="0">
                      <a:latin typeface="+mn-lt"/>
                    </a:defRPr>
                  </a:lvl1pPr>
                  <a:lvl2pPr marL="194393" lvl="1" indent="-190793" defTabSz="1193817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x-none" sz="1600" baseline="0">
                      <a:latin typeface="+mn-lt"/>
                    </a:defRPr>
                  </a:lvl2pPr>
                  <a:lvl3pPr marL="609608" lvl="2" indent="-349255" defTabSz="1193817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x-none" sz="1600" baseline="0">
                      <a:latin typeface="+mn-lt"/>
                    </a:defRPr>
                  </a:lvl3pPr>
                  <a:lvl4pPr marL="819162" lvl="3" indent="-207436" defTabSz="1193817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x-none" sz="1600" baseline="0">
                      <a:latin typeface="+mn-lt"/>
                    </a:defRPr>
                  </a:lvl4pPr>
                  <a:lvl5pPr marL="999757" lvl="4" indent="-173569" defTabSz="1193817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1600" baseline="0">
                      <a:latin typeface="+mn-lt"/>
                    </a:defRPr>
                  </a:lvl5pPr>
                  <a:lvl6pPr marL="999757" indent="-173569" defTabSz="1193817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latin typeface="+mn-lt"/>
                    </a:defRPr>
                  </a:lvl6pPr>
                  <a:lvl7pPr marL="999757" indent="-173569" defTabSz="1193817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latin typeface="+mn-lt"/>
                    </a:defRPr>
                  </a:lvl7pPr>
                  <a:lvl8pPr marL="999757" indent="-173569" defTabSz="1193817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latin typeface="+mn-lt"/>
                    </a:defRPr>
                  </a:lvl8pPr>
                  <a:lvl9pPr marL="999757" indent="-173569" defTabSz="1193817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x-none" sz="2133" baseline="0">
                      <a:latin typeface="+mn-lt"/>
                    </a:defRPr>
                  </a:lvl9pPr>
                </a:lstStyle>
                <a:p>
                  <a:pPr algn="ctr"/>
                  <a:r>
                    <a:rPr lang="en-US" sz="900" b="1" dirty="0">
                      <a:solidFill>
                        <a:schemeClr val="bg1"/>
                      </a:solidFill>
                    </a:rPr>
                    <a:t>Commission</a:t>
                  </a:r>
                </a:p>
              </p:txBody>
            </p:sp>
          </p:grpSp>
        </p:grpSp>
        <p:pic>
          <p:nvPicPr>
            <p:cNvPr id="108" name="Picture 107"/>
            <p:cNvPicPr>
              <a:picLocks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1934" y="2452168"/>
              <a:ext cx="537756" cy="577266"/>
            </a:xfrm>
            <a:prstGeom prst="rect">
              <a:avLst/>
            </a:prstGeom>
          </p:spPr>
        </p:pic>
        <p:sp>
          <p:nvSpPr>
            <p:cNvPr id="19" name="Freeform 18"/>
            <p:cNvSpPr/>
            <p:nvPr/>
          </p:nvSpPr>
          <p:spPr>
            <a:xfrm>
              <a:off x="2504539" y="3674408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  <a:ln w="28575"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Finance</a:t>
              </a:r>
            </a:p>
          </p:txBody>
        </p:sp>
        <p:pic>
          <p:nvPicPr>
            <p:cNvPr id="109" name="Picture 108"/>
            <p:cNvPicPr>
              <a:picLocks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9454" y="3790843"/>
              <a:ext cx="426984" cy="458356"/>
            </a:xfrm>
            <a:prstGeom prst="rect">
              <a:avLst/>
            </a:prstGeom>
          </p:spPr>
        </p:pic>
        <p:sp>
          <p:nvSpPr>
            <p:cNvPr id="21" name="Freeform 20"/>
            <p:cNvSpPr/>
            <p:nvPr/>
          </p:nvSpPr>
          <p:spPr>
            <a:xfrm>
              <a:off x="3415198" y="3297200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  <a:ln w="28575"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TRF / MNT /</a:t>
              </a:r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BRG</a:t>
              </a:r>
            </a:p>
          </p:txBody>
        </p:sp>
        <p:sp>
          <p:nvSpPr>
            <p:cNvPr id="23" name="Freeform 22"/>
            <p:cNvSpPr/>
            <p:nvPr/>
          </p:nvSpPr>
          <p:spPr>
            <a:xfrm>
              <a:off x="1216672" y="2386541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Other Interested Parties</a:t>
              </a:r>
              <a:r>
                <a:rPr lang="en-US" sz="900" b="1" baseline="30000" dirty="0"/>
                <a:t>1,</a:t>
              </a: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1593879" y="3297200"/>
              <a:ext cx="916814" cy="916814"/>
              <a:chOff x="708196" y="2131827"/>
              <a:chExt cx="1003099" cy="1003099"/>
            </a:xfrm>
          </p:grpSpPr>
          <p:sp>
            <p:nvSpPr>
              <p:cNvPr id="25" name="Freeform 24"/>
              <p:cNvSpPr/>
              <p:nvPr/>
            </p:nvSpPr>
            <p:spPr>
              <a:xfrm>
                <a:off x="708196" y="2131827"/>
                <a:ext cx="1003099" cy="1003099"/>
              </a:xfrm>
              <a:custGeom>
                <a:avLst/>
                <a:gdLst>
                  <a:gd name="connsiteX0" fmla="*/ 0 w 622845"/>
                  <a:gd name="connsiteY0" fmla="*/ 311423 h 622845"/>
                  <a:gd name="connsiteX1" fmla="*/ 311423 w 622845"/>
                  <a:gd name="connsiteY1" fmla="*/ 0 h 622845"/>
                  <a:gd name="connsiteX2" fmla="*/ 622846 w 622845"/>
                  <a:gd name="connsiteY2" fmla="*/ 311423 h 622845"/>
                  <a:gd name="connsiteX3" fmla="*/ 311423 w 622845"/>
                  <a:gd name="connsiteY3" fmla="*/ 622846 h 622845"/>
                  <a:gd name="connsiteX4" fmla="*/ 0 w 622845"/>
                  <a:gd name="connsiteY4" fmla="*/ 311423 h 622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845" h="622845">
                    <a:moveTo>
                      <a:pt x="0" y="311423"/>
                    </a:moveTo>
                    <a:cubicBezTo>
                      <a:pt x="0" y="139429"/>
                      <a:pt x="139429" y="0"/>
                      <a:pt x="311423" y="0"/>
                    </a:cubicBezTo>
                    <a:cubicBezTo>
                      <a:pt x="483417" y="0"/>
                      <a:pt x="622846" y="139429"/>
                      <a:pt x="622846" y="311423"/>
                    </a:cubicBezTo>
                    <a:cubicBezTo>
                      <a:pt x="622846" y="483417"/>
                      <a:pt x="483417" y="622846"/>
                      <a:pt x="311423" y="622846"/>
                    </a:cubicBezTo>
                    <a:cubicBezTo>
                      <a:pt x="139429" y="622846"/>
                      <a:pt x="0" y="483417"/>
                      <a:pt x="0" y="311423"/>
                    </a:cubicBez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7724" tIns="107724" rIns="107724" bIns="107724" numCol="1" spcCol="1270" anchor="ctr" anchorCtr="0">
                <a:noAutofit/>
              </a:bodyPr>
              <a:lstStyle/>
              <a:p>
                <a:pPr algn="ctr" defTabSz="577332">
                  <a:lnSpc>
                    <a:spcPct val="90000"/>
                  </a:lnSpc>
                  <a:spcAft>
                    <a:spcPct val="35000"/>
                  </a:spcAft>
                </a:pPr>
                <a:endParaRPr lang="en-US" sz="900" b="1" dirty="0"/>
              </a:p>
              <a:p>
                <a:pPr algn="ctr" defTabSz="577332">
                  <a:lnSpc>
                    <a:spcPct val="90000"/>
                  </a:lnSpc>
                  <a:spcAft>
                    <a:spcPct val="35000"/>
                  </a:spcAft>
                </a:pPr>
                <a:endParaRPr lang="en-US" sz="900" b="1" dirty="0"/>
              </a:p>
              <a:p>
                <a:pPr algn="ctr" defTabSz="577332">
                  <a:lnSpc>
                    <a:spcPct val="90000"/>
                  </a:lnSpc>
                  <a:spcAft>
                    <a:spcPct val="35000"/>
                  </a:spcAft>
                </a:pPr>
                <a:endParaRPr lang="en-US" sz="900" b="1" dirty="0"/>
              </a:p>
              <a:p>
                <a:pPr algn="ctr" defTabSz="577332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en-US" sz="900" b="1" dirty="0"/>
                  <a:t>Districts</a:t>
                </a:r>
              </a:p>
            </p:txBody>
          </p:sp>
          <p:pic>
            <p:nvPicPr>
              <p:cNvPr id="112" name="Picture 111"/>
              <p:cNvPicPr>
                <a:picLocks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3653" y="2172745"/>
                <a:ext cx="588366" cy="631595"/>
              </a:xfrm>
              <a:prstGeom prst="rect">
                <a:avLst/>
              </a:prstGeom>
            </p:spPr>
          </p:pic>
        </p:grpSp>
        <p:pic>
          <p:nvPicPr>
            <p:cNvPr id="113" name="Picture 112"/>
            <p:cNvPicPr>
              <a:picLocks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7851" y="1540904"/>
              <a:ext cx="488869" cy="524787"/>
            </a:xfrm>
            <a:prstGeom prst="rect">
              <a:avLst/>
            </a:prstGeom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7507" y="2407210"/>
              <a:ext cx="504289" cy="504289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38103" y="3241958"/>
              <a:ext cx="687531" cy="687531"/>
            </a:xfrm>
            <a:prstGeom prst="rect">
              <a:avLst/>
            </a:prstGeom>
          </p:spPr>
        </p:pic>
      </p:grpSp>
      <p:pic>
        <p:nvPicPr>
          <p:cNvPr id="636195" name="Picture 291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0169" y="1464555"/>
            <a:ext cx="4207249" cy="2793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3180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58130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27"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latin typeface="Franklin Gothic Book" panose="020B0503020102090204" pitchFamily="34" charset="0"/>
              <a:sym typeface="Franklin Gothic Book" panose="020B050302010209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947161" y="482600"/>
            <a:ext cx="5196841" cy="4229100"/>
            <a:chOff x="3947159" y="482600"/>
            <a:chExt cx="5196841" cy="4229100"/>
          </a:xfrm>
        </p:grpSpPr>
        <p:pic>
          <p:nvPicPr>
            <p:cNvPr id="3" name="Picture 2"/>
            <p:cNvPicPr>
              <a:picLocks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39" r="9039"/>
            <a:stretch/>
          </p:blipFill>
          <p:spPr>
            <a:xfrm>
              <a:off x="3947160" y="482600"/>
              <a:ext cx="5196840" cy="4229100"/>
            </a:xfrm>
            <a:prstGeom prst="rect">
              <a:avLst/>
            </a:prstGeom>
          </p:spPr>
        </p:pic>
        <p:sp>
          <p:nvSpPr>
            <p:cNvPr id="7" name="Rectangle 6"/>
            <p:cNvSpPr>
              <a:spLocks/>
            </p:cNvSpPr>
            <p:nvPr/>
          </p:nvSpPr>
          <p:spPr>
            <a:xfrm>
              <a:off x="3947159" y="482600"/>
              <a:ext cx="3930015" cy="42291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fld id="{736AB9FE-D634-405C-BC98-8B45F0377B79}" type="datetime'Contents'">
              <a:rPr lang="en-US" altLang="en-US"/>
              <a:pPr/>
              <a:t>Contents</a:t>
            </a:fld>
            <a:endParaRPr lang="en-US" dirty="0"/>
          </a:p>
        </p:txBody>
      </p:sp>
      <p:sp>
        <p:nvSpPr>
          <p:cNvPr id="23" name="Text Placeholder 2">
            <a:hlinkClick r:id="rId19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1926" y="536575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/>
              <a:t>Chapter 1: Overview of Project Development and </a:t>
            </a:r>
            <a:r>
              <a:rPr lang="en-US" altLang="en-US" b="1" dirty="0" smtClean="0"/>
              <a:t>Delivery</a:t>
            </a:r>
            <a:endParaRPr lang="en-US" b="1" dirty="0"/>
          </a:p>
        </p:txBody>
      </p:sp>
      <p:sp>
        <p:nvSpPr>
          <p:cNvPr id="83" name="Text Placeholder 2">
            <a:hlinkClick r:id="rId20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1926" y="942975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Performance Based </a:t>
            </a:r>
            <a:r>
              <a:rPr lang="en-US" altLang="en-US" dirty="0"/>
              <a:t>Planning</a:t>
            </a:r>
            <a:endParaRPr lang="en-US" dirty="0"/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1926" y="1350963"/>
            <a:ext cx="5260975" cy="4064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xtLst/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>
              <a:buClr>
                <a:schemeClr val="bg1"/>
              </a:buClr>
            </a:pPr>
            <a:r>
              <a:rPr lang="en-US" altLang="en-US" b="1" dirty="0">
                <a:solidFill>
                  <a:schemeClr val="bg1"/>
                </a:solidFill>
              </a:rPr>
              <a:t>Quarterly Review Proces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6" name="Text Placeholder 2">
            <a:hlinkClick r:id="rId21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1926" y="1757363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80893" tIns="80893" rIns="0" bIns="82480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Project Delivery and Governance </a:t>
            </a:r>
            <a:endParaRPr lang="en-US" dirty="0"/>
          </a:p>
        </p:txBody>
      </p:sp>
      <p:sp>
        <p:nvSpPr>
          <p:cNvPr id="54" name="Text Placeholder 2">
            <a:hlinkClick r:id="rId22" action="ppaction://hlinksldjump"/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1926" y="2165350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2: Project </a:t>
            </a:r>
            <a:r>
              <a:rPr lang="en-US" altLang="en-US" dirty="0" smtClean="0"/>
              <a:t>Initiation/ Planning</a:t>
            </a:r>
            <a:endParaRPr lang="en-US" dirty="0"/>
          </a:p>
        </p:txBody>
      </p:sp>
      <p:sp>
        <p:nvSpPr>
          <p:cNvPr id="60" name="Text Placeholder 2">
            <a:hlinkClick r:id="" action="ppaction://noaction"/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61926" y="2571750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3: Preliminary Engineering</a:t>
            </a:r>
            <a:endParaRPr lang="en-US" dirty="0"/>
          </a:p>
        </p:txBody>
      </p:sp>
      <p:sp>
        <p:nvSpPr>
          <p:cNvPr id="65" name="Text Placeholder 2">
            <a:hlinkClick r:id="" action="ppaction://noaction"/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1926" y="2978150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4: Plans, Specifications, and </a:t>
            </a:r>
            <a:r>
              <a:rPr lang="en-US" altLang="en-US" dirty="0" smtClean="0"/>
              <a:t>Estimate </a:t>
            </a:r>
            <a:r>
              <a:rPr lang="en-US" altLang="en-US" dirty="0"/>
              <a:t>(PS&amp;E)</a:t>
            </a:r>
          </a:p>
        </p:txBody>
      </p:sp>
      <p:sp>
        <p:nvSpPr>
          <p:cNvPr id="70" name="Text Placeholder 2">
            <a:hlinkClick r:id="" action="ppaction://noaction"/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61926" y="3386138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5: Letting </a:t>
            </a:r>
          </a:p>
        </p:txBody>
      </p:sp>
      <p:sp>
        <p:nvSpPr>
          <p:cNvPr id="75" name="Text Placeholder 2">
            <a:hlinkClick r:id="" action="ppaction://noaction"/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61926" y="3792538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2480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6: Construction </a:t>
            </a:r>
          </a:p>
        </p:txBody>
      </p:sp>
      <p:sp>
        <p:nvSpPr>
          <p:cNvPr id="80" name="Text Placeholder 2">
            <a:hlinkClick r:id="" action="ppaction://noaction"/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1926" y="4200525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7: Summary &amp; Review</a:t>
            </a:r>
            <a:endParaRPr lang="en-US" dirty="0"/>
          </a:p>
        </p:txBody>
      </p:sp>
      <p:sp>
        <p:nvSpPr>
          <p:cNvPr id="87" name="Marvin Title Tracker Circle"/>
          <p:cNvSpPr/>
          <p:nvPr/>
        </p:nvSpPr>
        <p:spPr>
          <a:xfrm>
            <a:off x="479371" y="991114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A</a:t>
            </a:r>
          </a:p>
        </p:txBody>
      </p:sp>
      <p:sp>
        <p:nvSpPr>
          <p:cNvPr id="88" name="Marvin Title Tracker Circle"/>
          <p:cNvSpPr/>
          <p:nvPr/>
        </p:nvSpPr>
        <p:spPr>
          <a:xfrm>
            <a:off x="479371" y="1389140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B</a:t>
            </a:r>
          </a:p>
        </p:txBody>
      </p:sp>
      <p:sp>
        <p:nvSpPr>
          <p:cNvPr id="89" name="Marvin Title Tracker Circle"/>
          <p:cNvSpPr/>
          <p:nvPr/>
        </p:nvSpPr>
        <p:spPr>
          <a:xfrm>
            <a:off x="479371" y="178716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159489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687235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01" name="think-cell Slide" r:id="rId18" imgW="526" imgH="526" progId="TCLayout.ActiveDocument.1">
                  <p:embed/>
                </p:oleObj>
              </mc:Choice>
              <mc:Fallback>
                <p:oleObj name="think-cell Slide" r:id="rId18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8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4071" y="1992045"/>
            <a:ext cx="2513715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efine clear key performance measure (KPM) goals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evelop planning targets for each District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Align with strategic objectives and support compliance with State Legislative requirements</a:t>
            </a:r>
            <a:endParaRPr lang="en-US" dirty="0">
              <a:latin typeface="Franklin Gothic Book"/>
            </a:endParaRPr>
          </a:p>
        </p:txBody>
      </p:sp>
      <p:grpSp>
        <p:nvGrpSpPr>
          <p:cNvPr id="23" name="Flow 66"/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440953" y="708572"/>
            <a:ext cx="2738928" cy="1194775"/>
            <a:chOff x="503236" y="883132"/>
            <a:chExt cx="2619469" cy="914401"/>
          </a:xfrm>
        </p:grpSpPr>
        <p:sp>
          <p:nvSpPr>
            <p:cNvPr id="24" name="Freeform 23"/>
            <p:cNvSpPr/>
            <p:nvPr>
              <p:custDataLst>
                <p:tags r:id="rId14"/>
              </p:custDataLst>
            </p:nvPr>
          </p:nvSpPr>
          <p:spPr bwMode="auto">
            <a:xfrm>
              <a:off x="503236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9" y="0"/>
                  </a:lnTo>
                  <a:lnTo>
                    <a:pt x="1828800" y="457200"/>
                  </a:lnTo>
                  <a:lnTo>
                    <a:pt x="1713889" y="914401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</p:spPr>
          <p:txBody>
            <a:bodyPr wrap="none" rtlCol="0" anchor="ctr">
              <a:noAutofit/>
            </a:bodyPr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27" name="TextBox 9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54036" y="1156856"/>
              <a:ext cx="2404077" cy="341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Plan</a:t>
              </a:r>
            </a:p>
            <a:p>
              <a:pPr algn="ctr"/>
              <a:r>
                <a:rPr lang="en-US" sz="1300" dirty="0">
                  <a:solidFill>
                    <a:schemeClr val="bg1">
                      <a:lumMod val="95000"/>
                    </a:schemeClr>
                  </a:solidFill>
                </a:rPr>
                <a:t>(Performance based planning, PBP)</a:t>
              </a:r>
            </a:p>
          </p:txBody>
        </p:sp>
      </p:grpSp>
      <p:sp>
        <p:nvSpPr>
          <p:cNvPr id="28" name="Rectangle 28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68847" y="1992045"/>
            <a:ext cx="2428366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istricts program a mix of projects to help meet their KPM goals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Manage portfolio to maintain the right volume and mix of projects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efined meeting frequency standardized throughout state</a:t>
            </a:r>
            <a:endParaRPr lang="en-US" dirty="0">
              <a:latin typeface="Franklin Gothic Book"/>
            </a:endParaRPr>
          </a:p>
        </p:txBody>
      </p:sp>
      <p:grpSp>
        <p:nvGrpSpPr>
          <p:cNvPr id="29" name="Flow 50"/>
          <p:cNvGrpSpPr/>
          <p:nvPr>
            <p:custDataLst>
              <p:tags r:id="rId6"/>
            </p:custDataLst>
          </p:nvPr>
        </p:nvGrpSpPr>
        <p:grpSpPr>
          <a:xfrm>
            <a:off x="3230384" y="708572"/>
            <a:ext cx="2738928" cy="1194775"/>
            <a:chOff x="3171005" y="883132"/>
            <a:chExt cx="2619469" cy="914401"/>
          </a:xfrm>
        </p:grpSpPr>
        <p:sp>
          <p:nvSpPr>
            <p:cNvPr id="30" name="Freeform 29"/>
            <p:cNvSpPr/>
            <p:nvPr>
              <p:custDataLst>
                <p:tags r:id="rId12"/>
              </p:custDataLst>
            </p:nvPr>
          </p:nvSpPr>
          <p:spPr bwMode="auto">
            <a:xfrm>
              <a:off x="3171005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9" y="0"/>
                  </a:lnTo>
                  <a:lnTo>
                    <a:pt x="1828800" y="457200"/>
                  </a:lnTo>
                  <a:lnTo>
                    <a:pt x="1713889" y="914401"/>
                  </a:lnTo>
                  <a:lnTo>
                    <a:pt x="0" y="914400"/>
                  </a:lnTo>
                  <a:lnTo>
                    <a:pt x="114911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31" name="TextBox 9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386397" y="1156870"/>
              <a:ext cx="2239484" cy="341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Manage</a:t>
              </a:r>
            </a:p>
            <a:p>
              <a:pPr algn="ctr"/>
              <a:r>
                <a:rPr lang="en-US" sz="1300" b="1" dirty="0">
                  <a:solidFill>
                    <a:schemeClr val="bg1">
                      <a:lumMod val="95000"/>
                    </a:schemeClr>
                  </a:solidFill>
                </a:rPr>
                <a:t>(Quarterly review process, QRP)</a:t>
              </a:r>
            </a:p>
          </p:txBody>
        </p:sp>
      </p:grpSp>
      <p:sp>
        <p:nvSpPr>
          <p:cNvPr id="13" name="Rectangle 28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24997" y="1992031"/>
            <a:ext cx="2461649" cy="2659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Standardized workflow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Track projects from start to finish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Defined roles and responsibilities 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Pro-active collaboration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Individual projects are delivered on time and at budgeted cost to minimize delays and cost overruns</a:t>
            </a:r>
          </a:p>
        </p:txBody>
      </p:sp>
      <p:grpSp>
        <p:nvGrpSpPr>
          <p:cNvPr id="10" name="Flow 90"/>
          <p:cNvGrpSpPr/>
          <p:nvPr>
            <p:custDataLst>
              <p:tags r:id="rId8"/>
            </p:custDataLst>
          </p:nvPr>
        </p:nvGrpSpPr>
        <p:grpSpPr>
          <a:xfrm>
            <a:off x="6019816" y="708572"/>
            <a:ext cx="2738928" cy="1194775"/>
            <a:chOff x="5838774" y="883132"/>
            <a:chExt cx="2619469" cy="914401"/>
          </a:xfrm>
        </p:grpSpPr>
        <p:sp>
          <p:nvSpPr>
            <p:cNvPr id="11" name="Freeform 10"/>
            <p:cNvSpPr/>
            <p:nvPr>
              <p:custDataLst>
                <p:tags r:id="rId10"/>
              </p:custDataLst>
            </p:nvPr>
          </p:nvSpPr>
          <p:spPr bwMode="auto">
            <a:xfrm>
              <a:off x="5838774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8" y="0"/>
                  </a:lnTo>
                  <a:lnTo>
                    <a:pt x="1828800" y="457200"/>
                  </a:lnTo>
                  <a:lnTo>
                    <a:pt x="1713888" y="914401"/>
                  </a:lnTo>
                  <a:lnTo>
                    <a:pt x="0" y="914400"/>
                  </a:lnTo>
                  <a:lnTo>
                    <a:pt x="114911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12" name="TextBox 9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054166" y="1080306"/>
              <a:ext cx="2239484" cy="4946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 smtClean="0">
                  <a:solidFill>
                    <a:schemeClr val="bg1">
                      <a:lumMod val="95000"/>
                    </a:schemeClr>
                  </a:solidFill>
                  <a:latin typeface="Franklin Gothic Book"/>
                </a:rPr>
                <a:t>Deliver</a:t>
              </a:r>
            </a:p>
            <a:p>
              <a:pPr algn="ctr"/>
              <a:r>
                <a:rPr lang="en-US" sz="1300" b="1" dirty="0">
                  <a:solidFill>
                    <a:schemeClr val="bg1">
                      <a:lumMod val="95000"/>
                    </a:schemeClr>
                  </a:solidFill>
                  <a:latin typeface="Franklin Gothic Book"/>
                </a:rPr>
                <a:t>(Project Delivery and Governance, PD&amp;G)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</p:spPr>
        <p:txBody>
          <a:bodyPr/>
          <a:lstStyle/>
          <a:p>
            <a:pPr marL="366385">
              <a:tabLst/>
            </a:pPr>
            <a:r>
              <a:rPr lang="en-US" dirty="0"/>
              <a:t>Importance of QRP for successful portfolio </a:t>
            </a:r>
            <a:r>
              <a:rPr lang="en-US" dirty="0" smtClean="0"/>
              <a:t>management</a:t>
            </a:r>
            <a:endParaRPr lang="en-US" dirty="0"/>
          </a:p>
        </p:txBody>
      </p:sp>
      <p:sp>
        <p:nvSpPr>
          <p:cNvPr id="37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B</a:t>
            </a:r>
          </a:p>
        </p:txBody>
      </p:sp>
      <p:pic>
        <p:nvPicPr>
          <p:cNvPr id="564277" name="Picture 53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30" y="540885"/>
            <a:ext cx="3024187" cy="416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Rectangle 3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69568" y="501355"/>
            <a:ext cx="3010314" cy="4149866"/>
          </a:xfrm>
          <a:prstGeom prst="rect">
            <a:avLst/>
          </a:prstGeom>
          <a:solidFill>
            <a:schemeClr val="bg2">
              <a:alpha val="91000"/>
            </a:schemeClr>
          </a:solidFill>
          <a:ln w="9525">
            <a:solidFill>
              <a:schemeClr val="bg2">
                <a:alpha val="7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501" tIns="72501" rIns="72501" bIns="72501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4738" eaLnBrk="1" hangingPunct="1">
              <a:buClr>
                <a:schemeClr val="tx2"/>
              </a:buClr>
              <a:defRPr sz="1524" baseline="0">
                <a:latin typeface="+mn-lt"/>
                <a:cs typeface="Arial"/>
              </a:defRPr>
            </a:lvl1pPr>
            <a:lvl2pPr marL="193543" indent="-191957" defTabSz="89473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24" baseline="0">
                <a:latin typeface="+mn-lt"/>
              </a:defRPr>
            </a:lvl2pPr>
            <a:lvl3pPr marL="456888" indent="-261760" defTabSz="89473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24" baseline="0">
                <a:latin typeface="+mn-lt"/>
              </a:defRPr>
            </a:lvl3pPr>
            <a:lvl4pPr marL="613945" indent="-155468" defTabSz="89473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24" baseline="0">
                <a:latin typeface="+mn-lt"/>
              </a:defRPr>
            </a:lvl4pPr>
            <a:lvl5pPr marL="749297" indent="-130086" defTabSz="89473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24" baseline="0">
                <a:latin typeface="+mn-lt"/>
              </a:defRPr>
            </a:lvl5pPr>
            <a:lvl6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6pPr>
            <a:lvl7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7pPr>
            <a:lvl8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8pPr>
            <a:lvl9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9pPr>
          </a:lstStyle>
          <a:p>
            <a:pPr>
              <a:buClr>
                <a:srgbClr val="132A53"/>
              </a:buClr>
            </a:pPr>
            <a:endParaRPr lang="en-US" sz="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319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951997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219" name="think-cell Slide" r:id="rId30" imgW="526" imgH="526" progId="TCLayout.ActiveDocument.1">
                  <p:embed/>
                </p:oleObj>
              </mc:Choice>
              <mc:Fallback>
                <p:oleObj name="think-cell Slide" r:id="rId30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Group 38"/>
          <p:cNvGrpSpPr/>
          <p:nvPr/>
        </p:nvGrpSpPr>
        <p:grpSpPr>
          <a:xfrm>
            <a:off x="0" y="569168"/>
            <a:ext cx="9144000" cy="444291"/>
            <a:chOff x="0" y="895350"/>
            <a:chExt cx="9144000" cy="486719"/>
          </a:xfrm>
        </p:grpSpPr>
        <p:sp>
          <p:nvSpPr>
            <p:cNvPr id="40" name="Rectangle 39"/>
            <p:cNvSpPr>
              <a:spLocks/>
            </p:cNvSpPr>
            <p:nvPr/>
          </p:nvSpPr>
          <p:spPr>
            <a:xfrm>
              <a:off x="0" y="895350"/>
              <a:ext cx="9144000" cy="486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42" name="Straight Connector 41"/>
            <p:cNvCxnSpPr>
              <a:cxnSpLocks/>
            </p:cNvCxnSpPr>
            <p:nvPr/>
          </p:nvCxnSpPr>
          <p:spPr>
            <a:xfrm>
              <a:off x="0" y="895350"/>
              <a:ext cx="9144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882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7839"/>
            <a:r>
              <a:rPr lang="en-US" dirty="0"/>
              <a:t>What is the Quarterly Review Process (</a:t>
            </a:r>
            <a:r>
              <a:rPr lang="en-US" dirty="0" err="1"/>
              <a:t>QRP</a:t>
            </a:r>
            <a:r>
              <a:rPr lang="en-US" dirty="0"/>
              <a:t>)?</a:t>
            </a:r>
          </a:p>
        </p:txBody>
      </p:sp>
      <p:sp>
        <p:nvSpPr>
          <p:cNvPr id="77" name="Rectangle 76"/>
          <p:cNvSpPr>
            <a:spLocks/>
          </p:cNvSpPr>
          <p:nvPr/>
        </p:nvSpPr>
        <p:spPr>
          <a:xfrm>
            <a:off x="580303" y="1529724"/>
            <a:ext cx="8021196" cy="3134171"/>
          </a:xfrm>
          <a:prstGeom prst="rect">
            <a:avLst/>
          </a:prstGeom>
          <a:noFill/>
          <a:ln w="19050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56" tIns="45678" rIns="91356" bIns="45678" anchor="ctr">
            <a:noAutofit/>
          </a:bodyPr>
          <a:lstStyle/>
          <a:p>
            <a:endParaRPr lang="en-US" sz="1500" dirty="0"/>
          </a:p>
        </p:txBody>
      </p:sp>
      <p:sp>
        <p:nvSpPr>
          <p:cNvPr id="74" name="Rectangle 87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710746" y="2586390"/>
            <a:ext cx="2499884" cy="1969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500" dirty="0"/>
              <a:t>Review and update District portfolios</a:t>
            </a:r>
          </a:p>
          <a:p>
            <a:pPr lvl="1">
              <a:spcBef>
                <a:spcPct val="50000"/>
              </a:spcBef>
            </a:pPr>
            <a:r>
              <a:rPr lang="en-US" sz="1500" dirty="0"/>
              <a:t>Meet with Metropolitan Planning Organizations (MPOs) </a:t>
            </a:r>
          </a:p>
          <a:p>
            <a:pPr lvl="1">
              <a:spcBef>
                <a:spcPct val="50000"/>
              </a:spcBef>
            </a:pPr>
            <a:r>
              <a:rPr lang="en-US" sz="1500" dirty="0"/>
              <a:t>Meet with Divisions</a:t>
            </a:r>
          </a:p>
        </p:txBody>
      </p:sp>
      <p:sp>
        <p:nvSpPr>
          <p:cNvPr id="75" name="Rectangle 87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299592" y="2586390"/>
            <a:ext cx="2499884" cy="2077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500" dirty="0"/>
              <a:t>Districts and Central Planning team meet to:</a:t>
            </a:r>
          </a:p>
          <a:p>
            <a:pPr lvl="2">
              <a:spcBef>
                <a:spcPct val="25000"/>
              </a:spcBef>
            </a:pPr>
            <a:r>
              <a:rPr lang="en-US" sz="1500" dirty="0"/>
              <a:t>Review portfolios</a:t>
            </a:r>
          </a:p>
          <a:p>
            <a:pPr lvl="2">
              <a:spcBef>
                <a:spcPct val="25000"/>
              </a:spcBef>
            </a:pPr>
            <a:r>
              <a:rPr lang="en-US" sz="1500" dirty="0"/>
              <a:t>Assess progress against letting schedule</a:t>
            </a:r>
          </a:p>
          <a:p>
            <a:pPr lvl="2">
              <a:spcBef>
                <a:spcPct val="25000"/>
              </a:spcBef>
            </a:pPr>
            <a:r>
              <a:rPr lang="en-US" sz="1500" dirty="0"/>
              <a:t>Assess resource needs and availability</a:t>
            </a:r>
          </a:p>
          <a:p>
            <a:pPr lvl="2">
              <a:spcBef>
                <a:spcPct val="25000"/>
              </a:spcBef>
            </a:pPr>
            <a:r>
              <a:rPr lang="en-US" sz="1500" dirty="0"/>
              <a:t>Prioritize projects</a:t>
            </a:r>
          </a:p>
        </p:txBody>
      </p:sp>
      <p:sp>
        <p:nvSpPr>
          <p:cNvPr id="76" name="Rectangle 87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888440" y="2586390"/>
            <a:ext cx="2499884" cy="1969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1856" lvl="1" indent="-191856">
              <a:spcBef>
                <a:spcPts val="1000"/>
              </a:spcBef>
            </a:pPr>
            <a:r>
              <a:rPr lang="en-US" sz="1500" dirty="0"/>
              <a:t>Central Planning team and QRP Leadership Committee meet to:</a:t>
            </a:r>
          </a:p>
          <a:p>
            <a:pPr lvl="2" indent="-173582">
              <a:spcBef>
                <a:spcPts val="500"/>
              </a:spcBef>
            </a:pPr>
            <a:r>
              <a:rPr lang="en-US" sz="1500" dirty="0"/>
              <a:t>Review </a:t>
            </a:r>
            <a:r>
              <a:rPr lang="en-US" sz="1500" u="sng" dirty="0"/>
              <a:t>consolidated portfolio</a:t>
            </a:r>
            <a:r>
              <a:rPr lang="en-US" sz="1500" dirty="0"/>
              <a:t> and District inputs</a:t>
            </a:r>
          </a:p>
          <a:p>
            <a:pPr lvl="2" indent="-173582">
              <a:spcBef>
                <a:spcPts val="500"/>
              </a:spcBef>
            </a:pPr>
            <a:r>
              <a:rPr lang="en-US" sz="1500" dirty="0"/>
              <a:t>Identify and take appropriate actions</a:t>
            </a:r>
          </a:p>
        </p:txBody>
      </p:sp>
      <p:grpSp>
        <p:nvGrpSpPr>
          <p:cNvPr id="11" name="Flow 10"/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580304" y="666437"/>
            <a:ext cx="2067279" cy="522153"/>
            <a:chOff x="5905500" y="3124200"/>
            <a:chExt cx="1828800" cy="914400"/>
          </a:xfrm>
        </p:grpSpPr>
        <p:sp>
          <p:nvSpPr>
            <p:cNvPr id="9" name="Freeform 8"/>
            <p:cNvSpPr/>
            <p:nvPr>
              <p:custDataLst>
                <p:tags r:id="rId26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>
                <a:solidFill>
                  <a:schemeClr val="bg1"/>
                </a:solidFill>
              </a:endParaRPr>
            </a:p>
          </p:txBody>
        </p:sp>
        <p:sp>
          <p:nvSpPr>
            <p:cNvPr id="45" name="TextBox 44"/>
            <p:cNvSpPr txBox="1"/>
            <p:nvPr>
              <p:custDataLst>
                <p:tags r:id="rId27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1500" b="1" dirty="0">
                  <a:solidFill>
                    <a:schemeClr val="bg1"/>
                  </a:solidFill>
                </a:rPr>
                <a:t>Q1</a:t>
              </a:r>
            </a:p>
          </p:txBody>
        </p:sp>
      </p:grpSp>
      <p:grpSp>
        <p:nvGrpSpPr>
          <p:cNvPr id="13" name="Group 12"/>
          <p:cNvGrpSpPr>
            <a:grpSpLocks/>
          </p:cNvGrpSpPr>
          <p:nvPr>
            <p:custDataLst>
              <p:tags r:id="rId7"/>
            </p:custDataLst>
          </p:nvPr>
        </p:nvGrpSpPr>
        <p:grpSpPr>
          <a:xfrm>
            <a:off x="6592389" y="677293"/>
            <a:ext cx="2067279" cy="522153"/>
            <a:chOff x="1841704" y="1162450"/>
            <a:chExt cx="1570078" cy="819591"/>
          </a:xfrm>
        </p:grpSpPr>
        <p:sp>
          <p:nvSpPr>
            <p:cNvPr id="47" name="Freeform 46"/>
            <p:cNvSpPr/>
            <p:nvPr>
              <p:custDataLst>
                <p:tags r:id="rId24"/>
              </p:custDataLst>
            </p:nvPr>
          </p:nvSpPr>
          <p:spPr>
            <a:xfrm>
              <a:off x="1841704" y="1162450"/>
              <a:ext cx="1570078" cy="81959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56964" y="0"/>
                  </a:lnTo>
                  <a:lnTo>
                    <a:pt x="1828800" y="457200"/>
                  </a:lnTo>
                  <a:lnTo>
                    <a:pt x="1656964" y="914400"/>
                  </a:lnTo>
                  <a:lnTo>
                    <a:pt x="0" y="914400"/>
                  </a:lnTo>
                  <a:lnTo>
                    <a:pt x="171837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>
                <a:solidFill>
                  <a:schemeClr val="bg1"/>
                </a:solidFill>
              </a:endParaRPr>
            </a:p>
          </p:txBody>
        </p:sp>
        <p:sp>
          <p:nvSpPr>
            <p:cNvPr id="48" name="TextBox 47"/>
            <p:cNvSpPr txBox="1"/>
            <p:nvPr>
              <p:custDataLst>
                <p:tags r:id="rId25"/>
              </p:custDataLst>
            </p:nvPr>
          </p:nvSpPr>
          <p:spPr>
            <a:xfrm>
              <a:off x="2040031" y="1219366"/>
              <a:ext cx="1224225" cy="70575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1500" b="1" dirty="0">
                  <a:solidFill>
                    <a:schemeClr val="bg1"/>
                  </a:solidFill>
                </a:rPr>
                <a:t>Q4</a:t>
              </a:r>
            </a:p>
          </p:txBody>
        </p:sp>
      </p:grpSp>
      <p:grpSp>
        <p:nvGrpSpPr>
          <p:cNvPr id="49" name="Group 48"/>
          <p:cNvGrpSpPr>
            <a:grpSpLocks/>
          </p:cNvGrpSpPr>
          <p:nvPr>
            <p:custDataLst>
              <p:tags r:id="rId8"/>
            </p:custDataLst>
          </p:nvPr>
        </p:nvGrpSpPr>
        <p:grpSpPr>
          <a:xfrm>
            <a:off x="2584332" y="666436"/>
            <a:ext cx="2067279" cy="522153"/>
            <a:chOff x="1841704" y="1162449"/>
            <a:chExt cx="1570078" cy="819591"/>
          </a:xfrm>
          <a:solidFill>
            <a:schemeClr val="accent2"/>
          </a:solidFill>
        </p:grpSpPr>
        <p:sp>
          <p:nvSpPr>
            <p:cNvPr id="50" name="Freeform 49"/>
            <p:cNvSpPr/>
            <p:nvPr>
              <p:custDataLst>
                <p:tags r:id="rId22"/>
              </p:custDataLst>
            </p:nvPr>
          </p:nvSpPr>
          <p:spPr>
            <a:xfrm>
              <a:off x="1841704" y="1162449"/>
              <a:ext cx="1570078" cy="81959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56964" y="0"/>
                  </a:lnTo>
                  <a:lnTo>
                    <a:pt x="1828800" y="457200"/>
                  </a:lnTo>
                  <a:lnTo>
                    <a:pt x="1656964" y="914400"/>
                  </a:lnTo>
                  <a:lnTo>
                    <a:pt x="0" y="914400"/>
                  </a:lnTo>
                  <a:lnTo>
                    <a:pt x="171837" y="45720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>
                <a:solidFill>
                  <a:schemeClr val="bg1"/>
                </a:solidFill>
              </a:endParaRPr>
            </a:p>
          </p:txBody>
        </p:sp>
        <p:sp>
          <p:nvSpPr>
            <p:cNvPr id="51" name="TextBox 50"/>
            <p:cNvSpPr txBox="1"/>
            <p:nvPr>
              <p:custDataLst>
                <p:tags r:id="rId23"/>
              </p:custDataLst>
            </p:nvPr>
          </p:nvSpPr>
          <p:spPr>
            <a:xfrm>
              <a:off x="2040031" y="1219367"/>
              <a:ext cx="1224225" cy="705759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1500" b="1" dirty="0">
                  <a:solidFill>
                    <a:schemeClr val="bg1"/>
                  </a:solidFill>
                </a:rPr>
                <a:t>Q2</a:t>
              </a:r>
            </a:p>
          </p:txBody>
        </p:sp>
      </p:grpSp>
      <p:grpSp>
        <p:nvGrpSpPr>
          <p:cNvPr id="52" name="Group 51"/>
          <p:cNvGrpSpPr>
            <a:grpSpLocks/>
          </p:cNvGrpSpPr>
          <p:nvPr>
            <p:custDataLst>
              <p:tags r:id="rId9"/>
            </p:custDataLst>
          </p:nvPr>
        </p:nvGrpSpPr>
        <p:grpSpPr>
          <a:xfrm>
            <a:off x="4588362" y="677293"/>
            <a:ext cx="2067279" cy="522153"/>
            <a:chOff x="1841704" y="1162450"/>
            <a:chExt cx="1570078" cy="819591"/>
          </a:xfrm>
        </p:grpSpPr>
        <p:sp>
          <p:nvSpPr>
            <p:cNvPr id="53" name="Freeform 52"/>
            <p:cNvSpPr/>
            <p:nvPr>
              <p:custDataLst>
                <p:tags r:id="rId20"/>
              </p:custDataLst>
            </p:nvPr>
          </p:nvSpPr>
          <p:spPr>
            <a:xfrm>
              <a:off x="1841704" y="1162450"/>
              <a:ext cx="1570078" cy="81959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56964" y="0"/>
                  </a:lnTo>
                  <a:lnTo>
                    <a:pt x="1828800" y="457200"/>
                  </a:lnTo>
                  <a:lnTo>
                    <a:pt x="1656964" y="914400"/>
                  </a:lnTo>
                  <a:lnTo>
                    <a:pt x="0" y="914400"/>
                  </a:lnTo>
                  <a:lnTo>
                    <a:pt x="171837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>
                <a:solidFill>
                  <a:schemeClr val="bg1"/>
                </a:solidFill>
              </a:endParaRPr>
            </a:p>
          </p:txBody>
        </p:sp>
        <p:sp>
          <p:nvSpPr>
            <p:cNvPr id="54" name="TextBox 53"/>
            <p:cNvSpPr txBox="1"/>
            <p:nvPr>
              <p:custDataLst>
                <p:tags r:id="rId21"/>
              </p:custDataLst>
            </p:nvPr>
          </p:nvSpPr>
          <p:spPr>
            <a:xfrm>
              <a:off x="2040031" y="1219366"/>
              <a:ext cx="1224225" cy="70575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1500" b="1" dirty="0">
                  <a:solidFill>
                    <a:schemeClr val="bg1"/>
                  </a:solidFill>
                </a:rPr>
                <a:t>Q3</a:t>
              </a:r>
            </a:p>
          </p:txBody>
        </p:sp>
      </p:grpSp>
      <p:grpSp>
        <p:nvGrpSpPr>
          <p:cNvPr id="27" name="Group 26"/>
          <p:cNvGrpSpPr>
            <a:grpSpLocks/>
          </p:cNvGrpSpPr>
          <p:nvPr>
            <p:custDataLst>
              <p:tags r:id="rId10"/>
            </p:custDataLst>
          </p:nvPr>
        </p:nvGrpSpPr>
        <p:grpSpPr>
          <a:xfrm>
            <a:off x="5888441" y="1822906"/>
            <a:ext cx="2630151" cy="699168"/>
            <a:chOff x="6834894" y="2341686"/>
            <a:chExt cx="1920574" cy="465561"/>
          </a:xfrm>
        </p:grpSpPr>
        <p:sp>
          <p:nvSpPr>
            <p:cNvPr id="65" name="Freeform 64"/>
            <p:cNvSpPr/>
            <p:nvPr>
              <p:custDataLst>
                <p:tags r:id="rId18"/>
              </p:custDataLst>
            </p:nvPr>
          </p:nvSpPr>
          <p:spPr>
            <a:xfrm>
              <a:off x="6834894" y="2341686"/>
              <a:ext cx="1920574" cy="46556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50743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50743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50743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52184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52184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52184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79797 w 1828800"/>
                <a:gd name="connsiteY5" fmla="*/ 457201 h 914400"/>
                <a:gd name="connsiteX0" fmla="*/ 0 w 1828800"/>
                <a:gd name="connsiteY0" fmla="*/ 0 h 914400"/>
                <a:gd name="connsiteX1" fmla="*/ 1749003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79797 w 1828800"/>
                <a:gd name="connsiteY5" fmla="*/ 457201 h 914400"/>
                <a:gd name="connsiteX0" fmla="*/ 0 w 1828800"/>
                <a:gd name="connsiteY0" fmla="*/ 0 h 914400"/>
                <a:gd name="connsiteX1" fmla="*/ 1749003 w 1828800"/>
                <a:gd name="connsiteY1" fmla="*/ 0 h 914400"/>
                <a:gd name="connsiteX2" fmla="*/ 1828800 w 1828800"/>
                <a:gd name="connsiteY2" fmla="*/ 457200 h 914400"/>
                <a:gd name="connsiteX3" fmla="*/ 1749003 w 1828800"/>
                <a:gd name="connsiteY3" fmla="*/ 914400 h 914400"/>
                <a:gd name="connsiteX4" fmla="*/ 0 w 1828800"/>
                <a:gd name="connsiteY4" fmla="*/ 914400 h 914400"/>
                <a:gd name="connsiteX5" fmla="*/ 79797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49003" y="0"/>
                  </a:lnTo>
                  <a:lnTo>
                    <a:pt x="1828800" y="457200"/>
                  </a:lnTo>
                  <a:lnTo>
                    <a:pt x="1749003" y="914400"/>
                  </a:lnTo>
                  <a:lnTo>
                    <a:pt x="0" y="914400"/>
                  </a:lnTo>
                  <a:lnTo>
                    <a:pt x="79797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>
                <a:solidFill>
                  <a:schemeClr val="bg1"/>
                </a:solidFill>
              </a:endParaRPr>
            </a:p>
          </p:txBody>
        </p:sp>
        <p:sp>
          <p:nvSpPr>
            <p:cNvPr id="68" name="TextBox 67"/>
            <p:cNvSpPr txBox="1"/>
            <p:nvPr>
              <p:custDataLst>
                <p:tags r:id="rId19"/>
              </p:custDataLst>
            </p:nvPr>
          </p:nvSpPr>
          <p:spPr>
            <a:xfrm>
              <a:off x="6959968" y="2374017"/>
              <a:ext cx="1702172" cy="40089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1500" b="1" dirty="0">
                  <a:solidFill>
                    <a:schemeClr val="bg1"/>
                  </a:solidFill>
                </a:rPr>
                <a:t>QRM between TxDOT QRP-LC and Central Planning team</a:t>
              </a:r>
            </a:p>
          </p:txBody>
        </p:sp>
      </p:grpSp>
      <p:grpSp>
        <p:nvGrpSpPr>
          <p:cNvPr id="26" name="Group 25"/>
          <p:cNvGrpSpPr>
            <a:grpSpLocks/>
          </p:cNvGrpSpPr>
          <p:nvPr>
            <p:custDataLst>
              <p:tags r:id="rId11"/>
            </p:custDataLst>
          </p:nvPr>
        </p:nvGrpSpPr>
        <p:grpSpPr>
          <a:xfrm>
            <a:off x="3299593" y="1822906"/>
            <a:ext cx="2630151" cy="699168"/>
            <a:chOff x="5029196" y="2341686"/>
            <a:chExt cx="1952903" cy="465561"/>
          </a:xfrm>
        </p:grpSpPr>
        <p:sp>
          <p:nvSpPr>
            <p:cNvPr id="70" name="Freeform 69"/>
            <p:cNvSpPr/>
            <p:nvPr>
              <p:custDataLst>
                <p:tags r:id="rId16"/>
              </p:custDataLst>
            </p:nvPr>
          </p:nvSpPr>
          <p:spPr>
            <a:xfrm>
              <a:off x="5029196" y="2341686"/>
              <a:ext cx="1952903" cy="46556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50743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50743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50743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616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616 w 1828800"/>
                <a:gd name="connsiteY1" fmla="*/ 0 h 914400"/>
                <a:gd name="connsiteX2" fmla="*/ 1828800 w 1828800"/>
                <a:gd name="connsiteY2" fmla="*/ 457200 h 914400"/>
                <a:gd name="connsiteX3" fmla="*/ 17766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616 w 1828800"/>
                <a:gd name="connsiteY1" fmla="*/ 0 h 914400"/>
                <a:gd name="connsiteX2" fmla="*/ 1828800 w 1828800"/>
                <a:gd name="connsiteY2" fmla="*/ 457200 h 914400"/>
                <a:gd name="connsiteX3" fmla="*/ 1776616 w 1828800"/>
                <a:gd name="connsiteY3" fmla="*/ 914400 h 914400"/>
                <a:gd name="connsiteX4" fmla="*/ 0 w 1828800"/>
                <a:gd name="connsiteY4" fmla="*/ 914400 h 914400"/>
                <a:gd name="connsiteX5" fmla="*/ 52185 w 1828800"/>
                <a:gd name="connsiteY5" fmla="*/ 457200 h 914400"/>
                <a:gd name="connsiteX0" fmla="*/ 0 w 1828800"/>
                <a:gd name="connsiteY0" fmla="*/ 0 h 914400"/>
                <a:gd name="connsiteX1" fmla="*/ 1776616 w 1828800"/>
                <a:gd name="connsiteY1" fmla="*/ 0 h 914400"/>
                <a:gd name="connsiteX2" fmla="*/ 1828800 w 1828800"/>
                <a:gd name="connsiteY2" fmla="*/ 457200 h 914400"/>
                <a:gd name="connsiteX3" fmla="*/ 1776616 w 1828800"/>
                <a:gd name="connsiteY3" fmla="*/ 914400 h 914400"/>
                <a:gd name="connsiteX4" fmla="*/ 0 w 1828800"/>
                <a:gd name="connsiteY4" fmla="*/ 914400 h 914400"/>
                <a:gd name="connsiteX5" fmla="*/ 52185 w 1828800"/>
                <a:gd name="connsiteY5" fmla="*/ 457200 h 914400"/>
                <a:gd name="connsiteX0" fmla="*/ 0 w 1828800"/>
                <a:gd name="connsiteY0" fmla="*/ 0 h 914400"/>
                <a:gd name="connsiteX1" fmla="*/ 1776616 w 1828800"/>
                <a:gd name="connsiteY1" fmla="*/ 0 h 914400"/>
                <a:gd name="connsiteX2" fmla="*/ 1828800 w 1828800"/>
                <a:gd name="connsiteY2" fmla="*/ 457200 h 914400"/>
                <a:gd name="connsiteX3" fmla="*/ 1776616 w 1828800"/>
                <a:gd name="connsiteY3" fmla="*/ 914400 h 914400"/>
                <a:gd name="connsiteX4" fmla="*/ 0 w 1828800"/>
                <a:gd name="connsiteY4" fmla="*/ 914400 h 914400"/>
                <a:gd name="connsiteX5" fmla="*/ 52185 w 1828800"/>
                <a:gd name="connsiteY5" fmla="*/ 457200 h 914400"/>
                <a:gd name="connsiteX0" fmla="*/ 0 w 1828800"/>
                <a:gd name="connsiteY0" fmla="*/ 0 h 914400"/>
                <a:gd name="connsiteX1" fmla="*/ 1776616 w 1828800"/>
                <a:gd name="connsiteY1" fmla="*/ 0 h 914400"/>
                <a:gd name="connsiteX2" fmla="*/ 1828800 w 1828800"/>
                <a:gd name="connsiteY2" fmla="*/ 457200 h 914400"/>
                <a:gd name="connsiteX3" fmla="*/ 1776616 w 1828800"/>
                <a:gd name="connsiteY3" fmla="*/ 914400 h 914400"/>
                <a:gd name="connsiteX4" fmla="*/ 0 w 1828800"/>
                <a:gd name="connsiteY4" fmla="*/ 914400 h 914400"/>
                <a:gd name="connsiteX5" fmla="*/ 79797 w 1828800"/>
                <a:gd name="connsiteY5" fmla="*/ 457201 h 914400"/>
                <a:gd name="connsiteX0" fmla="*/ 0 w 1828800"/>
                <a:gd name="connsiteY0" fmla="*/ 0 h 914400"/>
                <a:gd name="connsiteX1" fmla="*/ 1749003 w 1828800"/>
                <a:gd name="connsiteY1" fmla="*/ 0 h 914400"/>
                <a:gd name="connsiteX2" fmla="*/ 1828800 w 1828800"/>
                <a:gd name="connsiteY2" fmla="*/ 457200 h 914400"/>
                <a:gd name="connsiteX3" fmla="*/ 1776616 w 1828800"/>
                <a:gd name="connsiteY3" fmla="*/ 914400 h 914400"/>
                <a:gd name="connsiteX4" fmla="*/ 0 w 1828800"/>
                <a:gd name="connsiteY4" fmla="*/ 914400 h 914400"/>
                <a:gd name="connsiteX5" fmla="*/ 79797 w 1828800"/>
                <a:gd name="connsiteY5" fmla="*/ 457201 h 914400"/>
                <a:gd name="connsiteX0" fmla="*/ 0 w 1828800"/>
                <a:gd name="connsiteY0" fmla="*/ 0 h 914400"/>
                <a:gd name="connsiteX1" fmla="*/ 1749003 w 1828800"/>
                <a:gd name="connsiteY1" fmla="*/ 0 h 914400"/>
                <a:gd name="connsiteX2" fmla="*/ 1828800 w 1828800"/>
                <a:gd name="connsiteY2" fmla="*/ 457200 h 914400"/>
                <a:gd name="connsiteX3" fmla="*/ 1749003 w 1828800"/>
                <a:gd name="connsiteY3" fmla="*/ 914400 h 914400"/>
                <a:gd name="connsiteX4" fmla="*/ 0 w 1828800"/>
                <a:gd name="connsiteY4" fmla="*/ 914400 h 914400"/>
                <a:gd name="connsiteX5" fmla="*/ 79797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49003" y="0"/>
                  </a:lnTo>
                  <a:lnTo>
                    <a:pt x="1828800" y="457200"/>
                  </a:lnTo>
                  <a:lnTo>
                    <a:pt x="1749003" y="914400"/>
                  </a:lnTo>
                  <a:lnTo>
                    <a:pt x="0" y="914400"/>
                  </a:lnTo>
                  <a:lnTo>
                    <a:pt x="79797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>
                <a:solidFill>
                  <a:schemeClr val="bg1"/>
                </a:solidFill>
              </a:endParaRPr>
            </a:p>
          </p:txBody>
        </p:sp>
        <p:sp>
          <p:nvSpPr>
            <p:cNvPr id="71" name="TextBox 70"/>
            <p:cNvSpPr txBox="1"/>
            <p:nvPr>
              <p:custDataLst>
                <p:tags r:id="rId17"/>
              </p:custDataLst>
            </p:nvPr>
          </p:nvSpPr>
          <p:spPr>
            <a:xfrm>
              <a:off x="5156718" y="2374017"/>
              <a:ext cx="1825381" cy="40089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1500" b="1" dirty="0">
                  <a:solidFill>
                    <a:schemeClr val="bg1"/>
                  </a:solidFill>
                </a:rPr>
                <a:t>Pre-alignment mtg. - Districts &amp; Central Planning team   (TPP, FIN, ENV,ROW, PEPS)</a:t>
              </a:r>
            </a:p>
          </p:txBody>
        </p:sp>
      </p:grpSp>
      <p:grpSp>
        <p:nvGrpSpPr>
          <p:cNvPr id="25" name="Group 24"/>
          <p:cNvGrpSpPr>
            <a:grpSpLocks/>
          </p:cNvGrpSpPr>
          <p:nvPr>
            <p:custDataLst>
              <p:tags r:id="rId12"/>
            </p:custDataLst>
          </p:nvPr>
        </p:nvGrpSpPr>
        <p:grpSpPr>
          <a:xfrm>
            <a:off x="710746" y="1822906"/>
            <a:ext cx="2630151" cy="699168"/>
            <a:chOff x="3169745" y="2341686"/>
            <a:chExt cx="1920574" cy="465561"/>
          </a:xfrm>
        </p:grpSpPr>
        <p:sp>
          <p:nvSpPr>
            <p:cNvPr id="79" name="Freeform 78"/>
            <p:cNvSpPr/>
            <p:nvPr>
              <p:custDataLst>
                <p:tags r:id="rId14"/>
              </p:custDataLst>
            </p:nvPr>
          </p:nvSpPr>
          <p:spPr>
            <a:xfrm>
              <a:off x="3169745" y="2341686"/>
              <a:ext cx="1920574" cy="46556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171837 w 1828800"/>
                <a:gd name="connsiteY5" fmla="*/ 457201 h 914400"/>
                <a:gd name="connsiteX0" fmla="*/ 0 w 1828800"/>
                <a:gd name="connsiteY0" fmla="*/ 0 h 914400"/>
                <a:gd name="connsiteX1" fmla="*/ 1656964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50743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656964 w 1828800"/>
                <a:gd name="connsiteY3" fmla="*/ 914400 h 914400"/>
                <a:gd name="connsiteX4" fmla="*/ 0 w 1828800"/>
                <a:gd name="connsiteY4" fmla="*/ 914400 h 914400"/>
                <a:gd name="connsiteX5" fmla="*/ 50743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50743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8057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52184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8057 w 1828800"/>
                <a:gd name="connsiteY3" fmla="*/ 914400 h 914400"/>
                <a:gd name="connsiteX4" fmla="*/ 0 w 1828800"/>
                <a:gd name="connsiteY4" fmla="*/ 914400 h 914400"/>
                <a:gd name="connsiteX5" fmla="*/ 52184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52184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615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003 w 1828800"/>
                <a:gd name="connsiteY1" fmla="*/ 0 h 914400"/>
                <a:gd name="connsiteX2" fmla="*/ 1828800 w 1828800"/>
                <a:gd name="connsiteY2" fmla="*/ 457200 h 914400"/>
                <a:gd name="connsiteX3" fmla="*/ 17766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003 w 1828800"/>
                <a:gd name="connsiteY1" fmla="*/ 0 h 914400"/>
                <a:gd name="connsiteX2" fmla="*/ 1828800 w 1828800"/>
                <a:gd name="connsiteY2" fmla="*/ 457200 h 914400"/>
                <a:gd name="connsiteX3" fmla="*/ 174900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49003" y="0"/>
                  </a:lnTo>
                  <a:lnTo>
                    <a:pt x="1828800" y="457200"/>
                  </a:lnTo>
                  <a:lnTo>
                    <a:pt x="1749003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>
                <a:solidFill>
                  <a:schemeClr val="bg1"/>
                </a:solidFill>
              </a:endParaRPr>
            </a:p>
          </p:txBody>
        </p:sp>
        <p:sp>
          <p:nvSpPr>
            <p:cNvPr id="80" name="TextBox 79"/>
            <p:cNvSpPr txBox="1"/>
            <p:nvPr>
              <p:custDataLst>
                <p:tags r:id="rId15"/>
              </p:custDataLst>
            </p:nvPr>
          </p:nvSpPr>
          <p:spPr>
            <a:xfrm>
              <a:off x="3221923" y="2374017"/>
              <a:ext cx="1773273" cy="40089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1500" b="1" dirty="0">
                  <a:solidFill>
                    <a:schemeClr val="bg1"/>
                  </a:solidFill>
                </a:rPr>
                <a:t>District portfolio review</a:t>
              </a:r>
            </a:p>
          </p:txBody>
        </p:sp>
      </p:grpSp>
      <p:sp>
        <p:nvSpPr>
          <p:cNvPr id="46" name="Rectangle 87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710745" y="1562133"/>
            <a:ext cx="5301246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500" b="1" dirty="0">
                <a:solidFill>
                  <a:schemeClr val="accent2"/>
                </a:solidFill>
              </a:rPr>
              <a:t>Each quarter is structured around 3 key actions:</a:t>
            </a:r>
          </a:p>
        </p:txBody>
      </p:sp>
      <p:sp>
        <p:nvSpPr>
          <p:cNvPr id="56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B</a:t>
            </a:r>
          </a:p>
        </p:txBody>
      </p:sp>
      <p:sp>
        <p:nvSpPr>
          <p:cNvPr id="64" name="Freeform 63"/>
          <p:cNvSpPr/>
          <p:nvPr/>
        </p:nvSpPr>
        <p:spPr>
          <a:xfrm>
            <a:off x="580304" y="1211512"/>
            <a:ext cx="7966909" cy="258316"/>
          </a:xfrm>
          <a:custGeom>
            <a:avLst/>
            <a:gdLst>
              <a:gd name="connsiteX0" fmla="*/ 1461264 w 5478132"/>
              <a:gd name="connsiteY0" fmla="*/ 0 h 648290"/>
              <a:gd name="connsiteX1" fmla="*/ 2726184 w 5478132"/>
              <a:gd name="connsiteY1" fmla="*/ 22860 h 648290"/>
              <a:gd name="connsiteX2" fmla="*/ 2726184 w 5478132"/>
              <a:gd name="connsiteY2" fmla="*/ 347104 h 648290"/>
              <a:gd name="connsiteX3" fmla="*/ 3399635 w 5478132"/>
              <a:gd name="connsiteY3" fmla="*/ 418605 h 648290"/>
              <a:gd name="connsiteX4" fmla="*/ 5478132 w 5478132"/>
              <a:gd name="connsiteY4" fmla="*/ 647853 h 648290"/>
              <a:gd name="connsiteX5" fmla="*/ 0 w 5478132"/>
              <a:gd name="connsiteY5" fmla="*/ 647853 h 648290"/>
              <a:gd name="connsiteX6" fmla="*/ 1471432 w 5478132"/>
              <a:gd name="connsiteY6" fmla="*/ 357480 h 648290"/>
              <a:gd name="connsiteX7" fmla="*/ 2089117 w 5478132"/>
              <a:gd name="connsiteY7" fmla="*/ 351263 h 648290"/>
              <a:gd name="connsiteX8" fmla="*/ 2132919 w 5478132"/>
              <a:gd name="connsiteY8" fmla="*/ 350520 h 648290"/>
              <a:gd name="connsiteX9" fmla="*/ 1461264 w 5478132"/>
              <a:gd name="connsiteY9" fmla="*/ 350520 h 648290"/>
              <a:gd name="connsiteX0" fmla="*/ 1461264 w 5478132"/>
              <a:gd name="connsiteY0" fmla="*/ 0 h 647853"/>
              <a:gd name="connsiteX1" fmla="*/ 2726184 w 5478132"/>
              <a:gd name="connsiteY1" fmla="*/ 22860 h 647853"/>
              <a:gd name="connsiteX2" fmla="*/ 272618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71432 w 5478132"/>
              <a:gd name="connsiteY6" fmla="*/ 357480 h 647853"/>
              <a:gd name="connsiteX7" fmla="*/ 2132919 w 5478132"/>
              <a:gd name="connsiteY7" fmla="*/ 350520 h 647853"/>
              <a:gd name="connsiteX8" fmla="*/ 1461264 w 5478132"/>
              <a:gd name="connsiteY8" fmla="*/ 350520 h 647853"/>
              <a:gd name="connsiteX9" fmla="*/ 1461264 w 5478132"/>
              <a:gd name="connsiteY9" fmla="*/ 0 h 647853"/>
              <a:gd name="connsiteX0" fmla="*/ 1461264 w 5478132"/>
              <a:gd name="connsiteY0" fmla="*/ 0 h 647853"/>
              <a:gd name="connsiteX1" fmla="*/ 2726184 w 5478132"/>
              <a:gd name="connsiteY1" fmla="*/ 22860 h 647853"/>
              <a:gd name="connsiteX2" fmla="*/ 272618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71432 w 5478132"/>
              <a:gd name="connsiteY6" fmla="*/ 357480 h 647853"/>
              <a:gd name="connsiteX7" fmla="*/ 1461264 w 5478132"/>
              <a:gd name="connsiteY7" fmla="*/ 350520 h 647853"/>
              <a:gd name="connsiteX8" fmla="*/ 1461264 w 5478132"/>
              <a:gd name="connsiteY8" fmla="*/ 0 h 647853"/>
              <a:gd name="connsiteX0" fmla="*/ 1461264 w 5478132"/>
              <a:gd name="connsiteY0" fmla="*/ 0 h 647853"/>
              <a:gd name="connsiteX1" fmla="*/ 2726184 w 5478132"/>
              <a:gd name="connsiteY1" fmla="*/ 22860 h 647853"/>
              <a:gd name="connsiteX2" fmla="*/ 281762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71432 w 5478132"/>
              <a:gd name="connsiteY6" fmla="*/ 357480 h 647853"/>
              <a:gd name="connsiteX7" fmla="*/ 1461264 w 5478132"/>
              <a:gd name="connsiteY7" fmla="*/ 350520 h 647853"/>
              <a:gd name="connsiteX8" fmla="*/ 1461264 w 5478132"/>
              <a:gd name="connsiteY8" fmla="*/ 0 h 647853"/>
              <a:gd name="connsiteX0" fmla="*/ 1461264 w 5478132"/>
              <a:gd name="connsiteY0" fmla="*/ 0 h 647853"/>
              <a:gd name="connsiteX1" fmla="*/ 2810004 w 5478132"/>
              <a:gd name="connsiteY1" fmla="*/ 22860 h 647853"/>
              <a:gd name="connsiteX2" fmla="*/ 281762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71432 w 5478132"/>
              <a:gd name="connsiteY6" fmla="*/ 357480 h 647853"/>
              <a:gd name="connsiteX7" fmla="*/ 1461264 w 5478132"/>
              <a:gd name="connsiteY7" fmla="*/ 350520 h 647853"/>
              <a:gd name="connsiteX8" fmla="*/ 1461264 w 5478132"/>
              <a:gd name="connsiteY8" fmla="*/ 0 h 647853"/>
              <a:gd name="connsiteX0" fmla="*/ 1461264 w 5478132"/>
              <a:gd name="connsiteY0" fmla="*/ 0 h 647853"/>
              <a:gd name="connsiteX1" fmla="*/ 2810004 w 5478132"/>
              <a:gd name="connsiteY1" fmla="*/ 7620 h 647853"/>
              <a:gd name="connsiteX2" fmla="*/ 281762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71432 w 5478132"/>
              <a:gd name="connsiteY6" fmla="*/ 357480 h 647853"/>
              <a:gd name="connsiteX7" fmla="*/ 1461264 w 5478132"/>
              <a:gd name="connsiteY7" fmla="*/ 350520 h 647853"/>
              <a:gd name="connsiteX8" fmla="*/ 1461264 w 5478132"/>
              <a:gd name="connsiteY8" fmla="*/ 0 h 647853"/>
              <a:gd name="connsiteX0" fmla="*/ 1461264 w 5478132"/>
              <a:gd name="connsiteY0" fmla="*/ 0 h 647853"/>
              <a:gd name="connsiteX1" fmla="*/ 2814862 w 5478132"/>
              <a:gd name="connsiteY1" fmla="*/ 7620 h 647853"/>
              <a:gd name="connsiteX2" fmla="*/ 281762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71432 w 5478132"/>
              <a:gd name="connsiteY6" fmla="*/ 357480 h 647853"/>
              <a:gd name="connsiteX7" fmla="*/ 1461264 w 5478132"/>
              <a:gd name="connsiteY7" fmla="*/ 350520 h 647853"/>
              <a:gd name="connsiteX8" fmla="*/ 1461264 w 5478132"/>
              <a:gd name="connsiteY8" fmla="*/ 0 h 647853"/>
              <a:gd name="connsiteX0" fmla="*/ 1461264 w 5478132"/>
              <a:gd name="connsiteY0" fmla="*/ 0 h 647853"/>
              <a:gd name="connsiteX1" fmla="*/ 2814862 w 5478132"/>
              <a:gd name="connsiteY1" fmla="*/ 7620 h 647853"/>
              <a:gd name="connsiteX2" fmla="*/ 281762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71432 w 5478132"/>
              <a:gd name="connsiteY6" fmla="*/ 357480 h 647853"/>
              <a:gd name="connsiteX7" fmla="*/ 1461264 w 5478132"/>
              <a:gd name="connsiteY7" fmla="*/ 0 h 647853"/>
              <a:gd name="connsiteX0" fmla="*/ 1461264 w 5478132"/>
              <a:gd name="connsiteY0" fmla="*/ 0 h 647853"/>
              <a:gd name="connsiteX1" fmla="*/ 2814862 w 5478132"/>
              <a:gd name="connsiteY1" fmla="*/ 7620 h 647853"/>
              <a:gd name="connsiteX2" fmla="*/ 281762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64144 w 5478132"/>
              <a:gd name="connsiteY6" fmla="*/ 357480 h 647853"/>
              <a:gd name="connsiteX7" fmla="*/ 1461264 w 5478132"/>
              <a:gd name="connsiteY7" fmla="*/ 0 h 647853"/>
              <a:gd name="connsiteX0" fmla="*/ 1461264 w 5478132"/>
              <a:gd name="connsiteY0" fmla="*/ 0 h 647853"/>
              <a:gd name="connsiteX1" fmla="*/ 2814862 w 5478132"/>
              <a:gd name="connsiteY1" fmla="*/ 9977 h 647853"/>
              <a:gd name="connsiteX2" fmla="*/ 281762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64144 w 5478132"/>
              <a:gd name="connsiteY6" fmla="*/ 357480 h 647853"/>
              <a:gd name="connsiteX7" fmla="*/ 1461264 w 5478132"/>
              <a:gd name="connsiteY7" fmla="*/ 0 h 647853"/>
              <a:gd name="connsiteX0" fmla="*/ 1461264 w 5478132"/>
              <a:gd name="connsiteY0" fmla="*/ 0 h 647853"/>
              <a:gd name="connsiteX1" fmla="*/ 2810003 w 5478132"/>
              <a:gd name="connsiteY1" fmla="*/ 2904 h 647853"/>
              <a:gd name="connsiteX2" fmla="*/ 281762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64144 w 5478132"/>
              <a:gd name="connsiteY6" fmla="*/ 357480 h 647853"/>
              <a:gd name="connsiteX7" fmla="*/ 1461264 w 5478132"/>
              <a:gd name="connsiteY7" fmla="*/ 0 h 647853"/>
              <a:gd name="connsiteX0" fmla="*/ 1461264 w 5478132"/>
              <a:gd name="connsiteY0" fmla="*/ 0 h 647853"/>
              <a:gd name="connsiteX1" fmla="*/ 2817291 w 5478132"/>
              <a:gd name="connsiteY1" fmla="*/ 2904 h 647853"/>
              <a:gd name="connsiteX2" fmla="*/ 281762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64144 w 5478132"/>
              <a:gd name="connsiteY6" fmla="*/ 357480 h 647853"/>
              <a:gd name="connsiteX7" fmla="*/ 1461264 w 5478132"/>
              <a:gd name="connsiteY7" fmla="*/ 0 h 647853"/>
              <a:gd name="connsiteX0" fmla="*/ 1461264 w 5478132"/>
              <a:gd name="connsiteY0" fmla="*/ 0 h 647853"/>
              <a:gd name="connsiteX1" fmla="*/ 2984551 w 5478132"/>
              <a:gd name="connsiteY1" fmla="*/ 28227 h 647853"/>
              <a:gd name="connsiteX2" fmla="*/ 2817624 w 5478132"/>
              <a:gd name="connsiteY2" fmla="*/ 347104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64144 w 5478132"/>
              <a:gd name="connsiteY6" fmla="*/ 357480 h 647853"/>
              <a:gd name="connsiteX7" fmla="*/ 1461264 w 5478132"/>
              <a:gd name="connsiteY7" fmla="*/ 0 h 647853"/>
              <a:gd name="connsiteX0" fmla="*/ 1461264 w 5478132"/>
              <a:gd name="connsiteY0" fmla="*/ 0 h 647853"/>
              <a:gd name="connsiteX1" fmla="*/ 2984551 w 5478132"/>
              <a:gd name="connsiteY1" fmla="*/ 28227 h 647853"/>
              <a:gd name="connsiteX2" fmla="*/ 2954474 w 5478132"/>
              <a:gd name="connsiteY2" fmla="*/ 347103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64144 w 5478132"/>
              <a:gd name="connsiteY6" fmla="*/ 357480 h 647853"/>
              <a:gd name="connsiteX7" fmla="*/ 1461264 w 5478132"/>
              <a:gd name="connsiteY7" fmla="*/ 0 h 647853"/>
              <a:gd name="connsiteX0" fmla="*/ 1461264 w 5478132"/>
              <a:gd name="connsiteY0" fmla="*/ 0 h 647853"/>
              <a:gd name="connsiteX1" fmla="*/ 2984551 w 5478132"/>
              <a:gd name="connsiteY1" fmla="*/ 28227 h 647853"/>
              <a:gd name="connsiteX2" fmla="*/ 2984771 w 5478132"/>
              <a:gd name="connsiteY2" fmla="*/ 347103 h 647853"/>
              <a:gd name="connsiteX3" fmla="*/ 3399635 w 5478132"/>
              <a:gd name="connsiteY3" fmla="*/ 418605 h 647853"/>
              <a:gd name="connsiteX4" fmla="*/ 5478132 w 5478132"/>
              <a:gd name="connsiteY4" fmla="*/ 647853 h 647853"/>
              <a:gd name="connsiteX5" fmla="*/ 0 w 5478132"/>
              <a:gd name="connsiteY5" fmla="*/ 647853 h 647853"/>
              <a:gd name="connsiteX6" fmla="*/ 1464144 w 5478132"/>
              <a:gd name="connsiteY6" fmla="*/ 357480 h 647853"/>
              <a:gd name="connsiteX7" fmla="*/ 1461264 w 5478132"/>
              <a:gd name="connsiteY7" fmla="*/ 0 h 647853"/>
              <a:gd name="connsiteX0" fmla="*/ 1380897 w 5478132"/>
              <a:gd name="connsiteY0" fmla="*/ 0 h 627671"/>
              <a:gd name="connsiteX1" fmla="*/ 2984551 w 5478132"/>
              <a:gd name="connsiteY1" fmla="*/ 8045 h 627671"/>
              <a:gd name="connsiteX2" fmla="*/ 2984771 w 5478132"/>
              <a:gd name="connsiteY2" fmla="*/ 326921 h 627671"/>
              <a:gd name="connsiteX3" fmla="*/ 3399635 w 5478132"/>
              <a:gd name="connsiteY3" fmla="*/ 398423 h 627671"/>
              <a:gd name="connsiteX4" fmla="*/ 5478132 w 5478132"/>
              <a:gd name="connsiteY4" fmla="*/ 627671 h 627671"/>
              <a:gd name="connsiteX5" fmla="*/ 0 w 5478132"/>
              <a:gd name="connsiteY5" fmla="*/ 627671 h 627671"/>
              <a:gd name="connsiteX6" fmla="*/ 1464144 w 5478132"/>
              <a:gd name="connsiteY6" fmla="*/ 337298 h 627671"/>
              <a:gd name="connsiteX7" fmla="*/ 1380897 w 5478132"/>
              <a:gd name="connsiteY7" fmla="*/ 0 h 627671"/>
              <a:gd name="connsiteX0" fmla="*/ 1380897 w 5478132"/>
              <a:gd name="connsiteY0" fmla="*/ 0 h 627671"/>
              <a:gd name="connsiteX1" fmla="*/ 2984551 w 5478132"/>
              <a:gd name="connsiteY1" fmla="*/ 8045 h 627671"/>
              <a:gd name="connsiteX2" fmla="*/ 2984771 w 5478132"/>
              <a:gd name="connsiteY2" fmla="*/ 326921 h 627671"/>
              <a:gd name="connsiteX3" fmla="*/ 3399635 w 5478132"/>
              <a:gd name="connsiteY3" fmla="*/ 398423 h 627671"/>
              <a:gd name="connsiteX4" fmla="*/ 5478132 w 5478132"/>
              <a:gd name="connsiteY4" fmla="*/ 627671 h 627671"/>
              <a:gd name="connsiteX5" fmla="*/ 0 w 5478132"/>
              <a:gd name="connsiteY5" fmla="*/ 627671 h 627671"/>
              <a:gd name="connsiteX6" fmla="*/ 1379050 w 5478132"/>
              <a:gd name="connsiteY6" fmla="*/ 337298 h 627671"/>
              <a:gd name="connsiteX7" fmla="*/ 1380897 w 5478132"/>
              <a:gd name="connsiteY7" fmla="*/ 0 h 627671"/>
              <a:gd name="connsiteX0" fmla="*/ 1380897 w 5478132"/>
              <a:gd name="connsiteY0" fmla="*/ 2047 h 629718"/>
              <a:gd name="connsiteX1" fmla="*/ 2601627 w 5478132"/>
              <a:gd name="connsiteY1" fmla="*/ 0 h 629718"/>
              <a:gd name="connsiteX2" fmla="*/ 2984771 w 5478132"/>
              <a:gd name="connsiteY2" fmla="*/ 328968 h 629718"/>
              <a:gd name="connsiteX3" fmla="*/ 3399635 w 5478132"/>
              <a:gd name="connsiteY3" fmla="*/ 400470 h 629718"/>
              <a:gd name="connsiteX4" fmla="*/ 5478132 w 5478132"/>
              <a:gd name="connsiteY4" fmla="*/ 629718 h 629718"/>
              <a:gd name="connsiteX5" fmla="*/ 0 w 5478132"/>
              <a:gd name="connsiteY5" fmla="*/ 629718 h 629718"/>
              <a:gd name="connsiteX6" fmla="*/ 1379050 w 5478132"/>
              <a:gd name="connsiteY6" fmla="*/ 339345 h 629718"/>
              <a:gd name="connsiteX7" fmla="*/ 1380897 w 5478132"/>
              <a:gd name="connsiteY7" fmla="*/ 2047 h 629718"/>
              <a:gd name="connsiteX0" fmla="*/ 1380897 w 5478132"/>
              <a:gd name="connsiteY0" fmla="*/ 2047 h 629718"/>
              <a:gd name="connsiteX1" fmla="*/ 2601627 w 5478132"/>
              <a:gd name="connsiteY1" fmla="*/ 0 h 629718"/>
              <a:gd name="connsiteX2" fmla="*/ 2601847 w 5478132"/>
              <a:gd name="connsiteY2" fmla="*/ 339060 h 629718"/>
              <a:gd name="connsiteX3" fmla="*/ 3399635 w 5478132"/>
              <a:gd name="connsiteY3" fmla="*/ 400470 h 629718"/>
              <a:gd name="connsiteX4" fmla="*/ 5478132 w 5478132"/>
              <a:gd name="connsiteY4" fmla="*/ 629718 h 629718"/>
              <a:gd name="connsiteX5" fmla="*/ 0 w 5478132"/>
              <a:gd name="connsiteY5" fmla="*/ 629718 h 629718"/>
              <a:gd name="connsiteX6" fmla="*/ 1379050 w 5478132"/>
              <a:gd name="connsiteY6" fmla="*/ 339345 h 629718"/>
              <a:gd name="connsiteX7" fmla="*/ 1380897 w 5478132"/>
              <a:gd name="connsiteY7" fmla="*/ 2047 h 629718"/>
              <a:gd name="connsiteX0" fmla="*/ 1380897 w 5478132"/>
              <a:gd name="connsiteY0" fmla="*/ 2047 h 629718"/>
              <a:gd name="connsiteX1" fmla="*/ 2667812 w 5478132"/>
              <a:gd name="connsiteY1" fmla="*/ 0 h 629718"/>
              <a:gd name="connsiteX2" fmla="*/ 2601847 w 5478132"/>
              <a:gd name="connsiteY2" fmla="*/ 339060 h 629718"/>
              <a:gd name="connsiteX3" fmla="*/ 3399635 w 5478132"/>
              <a:gd name="connsiteY3" fmla="*/ 400470 h 629718"/>
              <a:gd name="connsiteX4" fmla="*/ 5478132 w 5478132"/>
              <a:gd name="connsiteY4" fmla="*/ 629718 h 629718"/>
              <a:gd name="connsiteX5" fmla="*/ 0 w 5478132"/>
              <a:gd name="connsiteY5" fmla="*/ 629718 h 629718"/>
              <a:gd name="connsiteX6" fmla="*/ 1379050 w 5478132"/>
              <a:gd name="connsiteY6" fmla="*/ 339345 h 629718"/>
              <a:gd name="connsiteX7" fmla="*/ 1380897 w 5478132"/>
              <a:gd name="connsiteY7" fmla="*/ 2047 h 629718"/>
              <a:gd name="connsiteX0" fmla="*/ 1380897 w 5478132"/>
              <a:gd name="connsiteY0" fmla="*/ 2047 h 629718"/>
              <a:gd name="connsiteX1" fmla="*/ 2667812 w 5478132"/>
              <a:gd name="connsiteY1" fmla="*/ 0 h 629718"/>
              <a:gd name="connsiteX2" fmla="*/ 2668031 w 5478132"/>
              <a:gd name="connsiteY2" fmla="*/ 322299 h 629718"/>
              <a:gd name="connsiteX3" fmla="*/ 3399635 w 5478132"/>
              <a:gd name="connsiteY3" fmla="*/ 400470 h 629718"/>
              <a:gd name="connsiteX4" fmla="*/ 5478132 w 5478132"/>
              <a:gd name="connsiteY4" fmla="*/ 629718 h 629718"/>
              <a:gd name="connsiteX5" fmla="*/ 0 w 5478132"/>
              <a:gd name="connsiteY5" fmla="*/ 629718 h 629718"/>
              <a:gd name="connsiteX6" fmla="*/ 1379050 w 5478132"/>
              <a:gd name="connsiteY6" fmla="*/ 339345 h 629718"/>
              <a:gd name="connsiteX7" fmla="*/ 1380897 w 5478132"/>
              <a:gd name="connsiteY7" fmla="*/ 2047 h 629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78132" h="629718">
                <a:moveTo>
                  <a:pt x="1380897" y="2047"/>
                </a:moveTo>
                <a:lnTo>
                  <a:pt x="2667812" y="0"/>
                </a:lnTo>
                <a:cubicBezTo>
                  <a:pt x="2668733" y="113161"/>
                  <a:pt x="2667110" y="209138"/>
                  <a:pt x="2668031" y="322299"/>
                </a:cubicBezTo>
                <a:lnTo>
                  <a:pt x="3399635" y="400470"/>
                </a:lnTo>
                <a:lnTo>
                  <a:pt x="5478132" y="629718"/>
                </a:lnTo>
                <a:lnTo>
                  <a:pt x="0" y="629718"/>
                </a:lnTo>
                <a:lnTo>
                  <a:pt x="1379050" y="339345"/>
                </a:lnTo>
                <a:cubicBezTo>
                  <a:pt x="1379666" y="226912"/>
                  <a:pt x="1380281" y="114480"/>
                  <a:pt x="1380897" y="2047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2"/>
              </a:gs>
              <a:gs pos="44000">
                <a:schemeClr val="accent1">
                  <a:lumMod val="10000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603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419" name="think-cell Slide" r:id="rId18" imgW="353" imgH="353" progId="TCLayout.ActiveDocument.1">
                  <p:embed/>
                </p:oleObj>
              </mc:Choice>
              <mc:Fallback>
                <p:oleObj name="think-cell Slide" r:id="rId18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3" name="Group 32"/>
          <p:cNvGrpSpPr/>
          <p:nvPr/>
        </p:nvGrpSpPr>
        <p:grpSpPr>
          <a:xfrm>
            <a:off x="0" y="908318"/>
            <a:ext cx="9144000" cy="486719"/>
            <a:chOff x="0" y="895350"/>
            <a:chExt cx="9144000" cy="486719"/>
          </a:xfrm>
        </p:grpSpPr>
        <p:sp>
          <p:nvSpPr>
            <p:cNvPr id="34" name="Rectangle 33"/>
            <p:cNvSpPr>
              <a:spLocks/>
            </p:cNvSpPr>
            <p:nvPr/>
          </p:nvSpPr>
          <p:spPr>
            <a:xfrm>
              <a:off x="0" y="895350"/>
              <a:ext cx="9144000" cy="486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39" name="Straight Connector 38"/>
            <p:cNvCxnSpPr>
              <a:cxnSpLocks/>
            </p:cNvCxnSpPr>
            <p:nvPr/>
          </p:nvCxnSpPr>
          <p:spPr>
            <a:xfrm>
              <a:off x="0" y="895350"/>
              <a:ext cx="9144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7839"/>
            <a:r>
              <a:rPr lang="en-US" dirty="0"/>
              <a:t>Importance of QRP for successful portfolio management</a:t>
            </a:r>
          </a:p>
        </p:txBody>
      </p:sp>
      <p:sp>
        <p:nvSpPr>
          <p:cNvPr id="10" name="Rectangle 1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0877" y="987402"/>
            <a:ext cx="2115412" cy="2890217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12" tIns="46606" rIns="93212" bIns="46606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2" name="Rectangle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46692" y="1097783"/>
            <a:ext cx="1983782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accent2"/>
                </a:solidFill>
              </a:rPr>
              <a:t>Programming</a:t>
            </a:r>
          </a:p>
        </p:txBody>
      </p:sp>
      <p:sp>
        <p:nvSpPr>
          <p:cNvPr id="13" name="Rectangle 87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46692" y="1454196"/>
            <a:ext cx="1983782" cy="221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600" dirty="0"/>
              <a:t>There is </a:t>
            </a:r>
            <a:r>
              <a:rPr lang="en-US" sz="1600" b="1" dirty="0">
                <a:solidFill>
                  <a:schemeClr val="accent2"/>
                </a:solidFill>
              </a:rPr>
              <a:t>the right mix and volume </a:t>
            </a:r>
            <a:r>
              <a:rPr lang="en-US" sz="1600" dirty="0"/>
              <a:t>of projects programmed </a:t>
            </a:r>
            <a:r>
              <a:rPr lang="en-US" sz="1600" b="1" dirty="0">
                <a:solidFill>
                  <a:schemeClr val="accent2"/>
                </a:solidFill>
              </a:rPr>
              <a:t>at each stage</a:t>
            </a:r>
            <a:r>
              <a:rPr lang="en-US" sz="1600" dirty="0"/>
              <a:t> and fiscal year of the funnel to meet planning targets and performance targets for each transportation objective</a:t>
            </a:r>
          </a:p>
        </p:txBody>
      </p:sp>
      <p:sp>
        <p:nvSpPr>
          <p:cNvPr id="40" name="Rectangle 1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03155" y="987403"/>
            <a:ext cx="2115412" cy="2890217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12" tIns="46606" rIns="93212" bIns="46606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2" name="Rectangle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468970" y="1097783"/>
            <a:ext cx="1983782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accent2"/>
                </a:solidFill>
              </a:rPr>
              <a:t>Milestones</a:t>
            </a:r>
          </a:p>
        </p:txBody>
      </p:sp>
      <p:sp>
        <p:nvSpPr>
          <p:cNvPr id="43" name="Rectangle 87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468970" y="1454210"/>
            <a:ext cx="1983782" cy="221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n-US" sz="1600" dirty="0">
                <a:solidFill>
                  <a:srgbClr val="000000"/>
                </a:solidFill>
              </a:rPr>
              <a:t>Monitor progress of letting projects on time, with all milestones cleared</a:t>
            </a:r>
            <a:r>
              <a:rPr lang="en-US" sz="1600" dirty="0"/>
              <a:t> (e.g. ROW clearance, environmental clearance, etc.), making the </a:t>
            </a:r>
            <a:r>
              <a:rPr lang="en-US" sz="1600" b="1" dirty="0">
                <a:solidFill>
                  <a:schemeClr val="accent2"/>
                </a:solidFill>
              </a:rPr>
              <a:t>full use of available funds</a:t>
            </a:r>
          </a:p>
        </p:txBody>
      </p:sp>
      <p:sp>
        <p:nvSpPr>
          <p:cNvPr id="45" name="Rectangle 1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625433" y="987403"/>
            <a:ext cx="2115412" cy="2890217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12" tIns="46606" rIns="93212" bIns="46606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7" name="Rectangle 5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691248" y="1097783"/>
            <a:ext cx="1983782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accent2"/>
                </a:solidFill>
              </a:rPr>
              <a:t>Resources</a:t>
            </a:r>
          </a:p>
        </p:txBody>
      </p:sp>
      <p:sp>
        <p:nvSpPr>
          <p:cNvPr id="48" name="Rectangle 87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691248" y="1454210"/>
            <a:ext cx="1983782" cy="1760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n-US" sz="1600" dirty="0"/>
              <a:t>There are enough </a:t>
            </a:r>
            <a:r>
              <a:rPr lang="en-US" sz="1600" b="1" dirty="0">
                <a:solidFill>
                  <a:schemeClr val="accent2"/>
                </a:solidFill>
              </a:rPr>
              <a:t>resources available to Districts and Divisions </a:t>
            </a:r>
            <a:r>
              <a:rPr lang="en-US" sz="1600" dirty="0"/>
              <a:t>(internal and external) and they are used effectively to develop the portfolio</a:t>
            </a:r>
          </a:p>
        </p:txBody>
      </p:sp>
      <p:sp>
        <p:nvSpPr>
          <p:cNvPr id="50" name="Rectangle 1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847711" y="987403"/>
            <a:ext cx="2115412" cy="2890217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12" tIns="46606" rIns="93212" bIns="46606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2" name="Rectangle 5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6913526" y="1097783"/>
            <a:ext cx="1983782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accent2"/>
                </a:solidFill>
              </a:rPr>
              <a:t>Coordination</a:t>
            </a:r>
          </a:p>
        </p:txBody>
      </p:sp>
      <p:sp>
        <p:nvSpPr>
          <p:cNvPr id="53" name="Rectangle 87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913526" y="1454196"/>
            <a:ext cx="1983782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n-US" sz="1600" dirty="0"/>
              <a:t>All stakeholders have </a:t>
            </a:r>
            <a:r>
              <a:rPr lang="en-US" sz="1600" b="1" dirty="0">
                <a:solidFill>
                  <a:schemeClr val="accent2"/>
                </a:solidFill>
              </a:rPr>
              <a:t>complete visibility into the portfolio</a:t>
            </a:r>
            <a:r>
              <a:rPr lang="en-US" sz="1600" dirty="0"/>
              <a:t> and take ownership for their part of the process</a:t>
            </a: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180877" y="619239"/>
            <a:ext cx="878224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accent2"/>
                </a:solidFill>
              </a:rPr>
              <a:t>There are four desired success outcomes from managing the portfolio: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28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B</a:t>
            </a:r>
          </a:p>
        </p:txBody>
      </p:sp>
      <p:sp>
        <p:nvSpPr>
          <p:cNvPr id="23" name="Rectangle 87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127611" y="4001986"/>
            <a:ext cx="5048968" cy="640678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3401" tIns="73401" rIns="73401" bIns="73401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algn="ctr" defTabSz="895350" eaLnBrk="1" hangingPunct="1">
              <a:spcBef>
                <a:spcPct val="50000"/>
              </a:spcBef>
              <a:buClr>
                <a:schemeClr val="lt1"/>
              </a:buClr>
              <a:buSzPct val="125000"/>
              <a:buFont typeface="Arial" charset="0"/>
              <a:buNone/>
              <a:defRPr sz="1600" b="1" baseline="0">
                <a:solidFill>
                  <a:schemeClr val="lt1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algn="l"/>
            <a:r>
              <a:rPr lang="en-US" dirty="0"/>
              <a:t>The QRP </a:t>
            </a:r>
            <a:r>
              <a:rPr lang="en-US" dirty="0" smtClean="0"/>
              <a:t>enables </a:t>
            </a:r>
            <a:r>
              <a:rPr lang="en-US" dirty="0"/>
              <a:t>the achievement of the four outcomes </a:t>
            </a:r>
            <a:r>
              <a:rPr lang="en-US" dirty="0" smtClean="0"/>
              <a:t>through regular coordination between all stakeholders</a:t>
            </a:r>
            <a:endParaRPr lang="en-US" dirty="0"/>
          </a:p>
        </p:txBody>
      </p:sp>
      <p:pic>
        <p:nvPicPr>
          <p:cNvPr id="35" name="Picture 34"/>
          <p:cNvPicPr>
            <a:picLocks/>
          </p:cNvPicPr>
          <p:nvPr/>
        </p:nvPicPr>
        <p:blipFill>
          <a:blip r:embed="rId2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6399" y="1070467"/>
            <a:ext cx="271539" cy="271539"/>
          </a:xfrm>
          <a:prstGeom prst="rect">
            <a:avLst/>
          </a:prstGeom>
        </p:spPr>
      </p:pic>
      <p:pic>
        <p:nvPicPr>
          <p:cNvPr id="36" name="Picture 35"/>
          <p:cNvPicPr>
            <a:picLocks/>
          </p:cNvPicPr>
          <p:nvPr/>
        </p:nvPicPr>
        <p:blipFill>
          <a:blip r:embed="rId2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4122" y="1070467"/>
            <a:ext cx="271539" cy="271539"/>
          </a:xfrm>
          <a:prstGeom prst="rect">
            <a:avLst/>
          </a:prstGeom>
        </p:spPr>
      </p:pic>
      <p:pic>
        <p:nvPicPr>
          <p:cNvPr id="37" name="Picture 36"/>
          <p:cNvPicPr>
            <a:picLocks/>
          </p:cNvPicPr>
          <p:nvPr/>
        </p:nvPicPr>
        <p:blipFill>
          <a:blip r:embed="rId2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8677" y="1070467"/>
            <a:ext cx="271539" cy="271539"/>
          </a:xfrm>
          <a:prstGeom prst="rect">
            <a:avLst/>
          </a:prstGeom>
        </p:spPr>
      </p:pic>
      <p:pic>
        <p:nvPicPr>
          <p:cNvPr id="38" name="Picture 37"/>
          <p:cNvPicPr>
            <a:picLocks/>
          </p:cNvPicPr>
          <p:nvPr/>
        </p:nvPicPr>
        <p:blipFill>
          <a:blip r:embed="rId2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1842" y="1070467"/>
            <a:ext cx="271539" cy="271539"/>
          </a:xfrm>
          <a:prstGeom prst="rect">
            <a:avLst/>
          </a:prstGeom>
        </p:spPr>
      </p:pic>
      <p:cxnSp>
        <p:nvCxnSpPr>
          <p:cNvPr id="6" name="Straight Arrow Connector 5"/>
          <p:cNvCxnSpPr/>
          <p:nvPr/>
        </p:nvCxnSpPr>
        <p:spPr>
          <a:xfrm>
            <a:off x="236773" y="1369403"/>
            <a:ext cx="2003620" cy="0"/>
          </a:xfrm>
          <a:prstGeom prst="straightConnector1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>
            <a:off x="2459051" y="1369403"/>
            <a:ext cx="2003620" cy="0"/>
          </a:xfrm>
          <a:prstGeom prst="straightConnector1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4681329" y="1369403"/>
            <a:ext cx="2003620" cy="0"/>
          </a:xfrm>
          <a:prstGeom prst="straightConnector1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6903607" y="1369403"/>
            <a:ext cx="2003620" cy="0"/>
          </a:xfrm>
          <a:prstGeom prst="straightConnector1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095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319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5" name="Group 94"/>
          <p:cNvGrpSpPr/>
          <p:nvPr/>
        </p:nvGrpSpPr>
        <p:grpSpPr>
          <a:xfrm>
            <a:off x="0" y="986404"/>
            <a:ext cx="9144000" cy="486719"/>
            <a:chOff x="0" y="895350"/>
            <a:chExt cx="9144000" cy="486719"/>
          </a:xfrm>
        </p:grpSpPr>
        <p:sp>
          <p:nvSpPr>
            <p:cNvPr id="96" name="Rectangle 95"/>
            <p:cNvSpPr>
              <a:spLocks/>
            </p:cNvSpPr>
            <p:nvPr/>
          </p:nvSpPr>
          <p:spPr>
            <a:xfrm>
              <a:off x="0" y="895350"/>
              <a:ext cx="9144000" cy="486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97" name="Straight Connector 96"/>
            <p:cNvCxnSpPr>
              <a:cxnSpLocks/>
            </p:cNvCxnSpPr>
            <p:nvPr/>
          </p:nvCxnSpPr>
          <p:spPr>
            <a:xfrm>
              <a:off x="0" y="895350"/>
              <a:ext cx="9144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Key learning objectives </a:t>
            </a:r>
            <a:endParaRPr lang="en-US" dirty="0"/>
          </a:p>
        </p:txBody>
      </p:sp>
      <p:sp>
        <p:nvSpPr>
          <p:cNvPr id="20" name="StickerRectangle"/>
          <p:cNvSpPr>
            <a:spLocks noChangeArrowheads="1"/>
          </p:cNvSpPr>
          <p:nvPr/>
        </p:nvSpPr>
        <p:spPr bwMode="auto">
          <a:xfrm>
            <a:off x="7648435" y="4546966"/>
            <a:ext cx="1087372" cy="14288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581" tIns="0" rIns="0" bIns="19581">
            <a:spAutoFit/>
          </a:bodyPr>
          <a:lstStyle/>
          <a:p>
            <a:pPr algn="r" defTabSz="670461">
              <a:buClr>
                <a:srgbClr val="14385C"/>
              </a:buClr>
            </a:pPr>
            <a:r>
              <a:rPr lang="en-US" sz="800" dirty="0">
                <a:solidFill>
                  <a:srgbClr val="FFFFFF"/>
                </a:solidFill>
                <a:latin typeface="Arial"/>
              </a:rPr>
              <a:t>PRELIMINARY DRAFT</a:t>
            </a:r>
          </a:p>
        </p:txBody>
      </p:sp>
      <p:cxnSp>
        <p:nvCxnSpPr>
          <p:cNvPr id="21" name="AutoShape 31"/>
          <p:cNvCxnSpPr>
            <a:cxnSpLocks noChangeShapeType="1"/>
          </p:cNvCxnSpPr>
          <p:nvPr/>
        </p:nvCxnSpPr>
        <p:spPr bwMode="auto">
          <a:xfrm>
            <a:off x="8331418" y="4546962"/>
            <a:ext cx="0" cy="146744"/>
          </a:xfrm>
          <a:prstGeom prst="straightConnector1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" name="AutoShape 32"/>
          <p:cNvCxnSpPr>
            <a:cxnSpLocks noChangeShapeType="1"/>
            <a:stCxn id="20" idx="4"/>
            <a:endCxn id="20" idx="6"/>
          </p:cNvCxnSpPr>
          <p:nvPr/>
        </p:nvCxnSpPr>
        <p:spPr bwMode="auto">
          <a:xfrm>
            <a:off x="7648435" y="4689849"/>
            <a:ext cx="1087372" cy="0"/>
          </a:xfrm>
          <a:prstGeom prst="straightConnector1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9" name="Group 8"/>
          <p:cNvGrpSpPr/>
          <p:nvPr/>
        </p:nvGrpSpPr>
        <p:grpSpPr>
          <a:xfrm>
            <a:off x="1017465" y="1116963"/>
            <a:ext cx="7069963" cy="632769"/>
            <a:chOff x="302388" y="1116961"/>
            <a:chExt cx="7069963" cy="632769"/>
          </a:xfrm>
        </p:grpSpPr>
        <p:sp>
          <p:nvSpPr>
            <p:cNvPr id="36" name="Rectangle 14"/>
            <p:cNvSpPr txBox="1">
              <a:spLocks noChangeArrowheads="1"/>
            </p:cNvSpPr>
            <p:nvPr/>
          </p:nvSpPr>
          <p:spPr bwMode="gray">
            <a:xfrm>
              <a:off x="1913445" y="1378456"/>
              <a:ext cx="5065752" cy="246221"/>
            </a:xfrm>
            <a:prstGeom prst="rect">
              <a:avLst/>
            </a:prstGeom>
            <a:noFill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lIns="0" tIns="0" rIns="0" bIns="0" rtlCol="0" anchor="ctr">
              <a:spAutoFit/>
            </a:bodyPr>
            <a:lstStyle>
              <a:lvl1pPr marL="230188" indent="-230188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1pPr>
              <a:lvl2pPr marL="514350" indent="-230188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2pPr>
              <a:lvl3pPr marL="742950" indent="-17145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3pPr>
              <a:lvl4pPr marL="971550" indent="-22860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4pPr>
              <a:lvl5pPr marL="1143000" indent="-17145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»"/>
                <a:defRPr sz="18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Aft>
                  <a:spcPct val="0"/>
                </a:spcAft>
                <a:buClr>
                  <a:srgbClr val="899BAD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…</a:t>
              </a:r>
            </a:p>
          </p:txBody>
        </p:sp>
        <p:sp>
          <p:nvSpPr>
            <p:cNvPr id="39" name="Rectangle 9"/>
            <p:cNvSpPr>
              <a:spLocks noChangeArrowheads="1"/>
            </p:cNvSpPr>
            <p:nvPr/>
          </p:nvSpPr>
          <p:spPr bwMode="gray">
            <a:xfrm>
              <a:off x="1398918" y="1116961"/>
              <a:ext cx="5973433" cy="632769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r>
                <a:rPr lang="en-US" sz="1600" dirty="0">
                  <a:solidFill>
                    <a:srgbClr val="000000"/>
                  </a:solidFill>
                </a:rPr>
                <a:t>Understand the many steps and their interdependencies to </a:t>
              </a:r>
            </a:p>
            <a:p>
              <a:r>
                <a:rPr lang="en-US" sz="1600" dirty="0">
                  <a:solidFill>
                    <a:srgbClr val="000000"/>
                  </a:solidFill>
                </a:rPr>
                <a:t>successfully develop and construct transportation projects</a:t>
              </a:r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694991" y="1116961"/>
              <a:ext cx="707019" cy="63276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Rectangle 12"/>
            <p:cNvSpPr>
              <a:spLocks noChangeArrowheads="1"/>
            </p:cNvSpPr>
            <p:nvPr/>
          </p:nvSpPr>
          <p:spPr bwMode="gray">
            <a:xfrm flipH="1">
              <a:off x="302388" y="1116961"/>
              <a:ext cx="331643" cy="632769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50" name="WordArt 13"/>
            <p:cNvSpPr>
              <a:spLocks noChangeArrowheads="1" noChangeShapeType="1" noTextEdit="1"/>
            </p:cNvSpPr>
            <p:nvPr/>
          </p:nvSpPr>
          <p:spPr bwMode="gray">
            <a:xfrm>
              <a:off x="403824" y="1276762"/>
              <a:ext cx="128770" cy="320709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kern="10" dirty="0">
                  <a:solidFill>
                    <a:srgbClr val="FFFFFF"/>
                  </a:solidFill>
                  <a:latin typeface="Arial Black"/>
                </a:rPr>
                <a:t>1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017465" y="1844969"/>
            <a:ext cx="7069963" cy="632769"/>
            <a:chOff x="302388" y="1977037"/>
            <a:chExt cx="7069963" cy="632769"/>
          </a:xfrm>
        </p:grpSpPr>
        <p:sp>
          <p:nvSpPr>
            <p:cNvPr id="25" name="Rectangle 14"/>
            <p:cNvSpPr txBox="1">
              <a:spLocks noChangeArrowheads="1"/>
            </p:cNvSpPr>
            <p:nvPr/>
          </p:nvSpPr>
          <p:spPr bwMode="gray">
            <a:xfrm>
              <a:off x="1913445" y="2238532"/>
              <a:ext cx="5065752" cy="246221"/>
            </a:xfrm>
            <a:prstGeom prst="rect">
              <a:avLst/>
            </a:prstGeom>
            <a:noFill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lIns="0" tIns="0" rIns="0" bIns="0" rtlCol="0" anchor="ctr">
              <a:spAutoFit/>
            </a:bodyPr>
            <a:lstStyle>
              <a:lvl1pPr marL="230188" indent="-230188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1pPr>
              <a:lvl2pPr marL="514350" indent="-230188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2pPr>
              <a:lvl3pPr marL="742950" indent="-17145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3pPr>
              <a:lvl4pPr marL="971550" indent="-22860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4pPr>
              <a:lvl5pPr marL="1143000" indent="-17145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»"/>
                <a:defRPr sz="18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Aft>
                  <a:spcPct val="0"/>
                </a:spcAft>
                <a:buClr>
                  <a:srgbClr val="899BAD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…</a:t>
              </a:r>
            </a:p>
          </p:txBody>
        </p:sp>
        <p:sp>
          <p:nvSpPr>
            <p:cNvPr id="34" name="Rectangle 9"/>
            <p:cNvSpPr>
              <a:spLocks noChangeArrowheads="1"/>
            </p:cNvSpPr>
            <p:nvPr/>
          </p:nvSpPr>
          <p:spPr bwMode="gray">
            <a:xfrm>
              <a:off x="1398919" y="1977037"/>
              <a:ext cx="5973432" cy="632769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marL="0" lvl="1"/>
              <a:r>
                <a:rPr lang="en-US" sz="1600" dirty="0">
                  <a:solidFill>
                    <a:srgbClr val="000000"/>
                  </a:solidFill>
                </a:rPr>
                <a:t>Define how projects are created and move through a funnel as</a:t>
              </a:r>
            </a:p>
            <a:p>
              <a:pPr marL="0" lvl="1"/>
              <a:r>
                <a:rPr lang="en-US" sz="1600" dirty="0">
                  <a:solidFill>
                    <a:srgbClr val="000000"/>
                  </a:solidFill>
                </a:rPr>
                <a:t>part of a portfolio that is actively managed by each district</a:t>
              </a:r>
            </a:p>
          </p:txBody>
        </p:sp>
        <p:sp>
          <p:nvSpPr>
            <p:cNvPr id="35" name="Rectangle 10"/>
            <p:cNvSpPr>
              <a:spLocks noChangeArrowheads="1"/>
            </p:cNvSpPr>
            <p:nvPr/>
          </p:nvSpPr>
          <p:spPr bwMode="gray">
            <a:xfrm>
              <a:off x="694991" y="1977037"/>
              <a:ext cx="707019" cy="63276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12"/>
            <p:cNvSpPr>
              <a:spLocks noChangeArrowheads="1"/>
            </p:cNvSpPr>
            <p:nvPr/>
          </p:nvSpPr>
          <p:spPr bwMode="gray">
            <a:xfrm flipH="1">
              <a:off x="302388" y="1977037"/>
              <a:ext cx="331643" cy="632769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56" name="WordArt 37"/>
            <p:cNvSpPr>
              <a:spLocks noChangeArrowheads="1" noChangeShapeType="1" noTextEdit="1"/>
            </p:cNvSpPr>
            <p:nvPr/>
          </p:nvSpPr>
          <p:spPr bwMode="gray">
            <a:xfrm>
              <a:off x="374669" y="2136593"/>
              <a:ext cx="187081" cy="31949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kern="10" dirty="0">
                  <a:solidFill>
                    <a:srgbClr val="FFFFFF"/>
                  </a:solidFill>
                  <a:latin typeface="Arial Black"/>
                </a:rPr>
                <a:t>2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017451" y="2572979"/>
            <a:ext cx="7069962" cy="632769"/>
            <a:chOff x="302388" y="2837113"/>
            <a:chExt cx="7069962" cy="632769"/>
          </a:xfrm>
        </p:grpSpPr>
        <p:sp>
          <p:nvSpPr>
            <p:cNvPr id="55" name="Rectangle 36"/>
            <p:cNvSpPr>
              <a:spLocks noChangeArrowheads="1"/>
            </p:cNvSpPr>
            <p:nvPr/>
          </p:nvSpPr>
          <p:spPr bwMode="gray">
            <a:xfrm flipH="1">
              <a:off x="302388" y="2837113"/>
              <a:ext cx="331643" cy="632769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32" name="Rectangle 39"/>
            <p:cNvSpPr txBox="1">
              <a:spLocks noChangeArrowheads="1"/>
            </p:cNvSpPr>
            <p:nvPr/>
          </p:nvSpPr>
          <p:spPr bwMode="gray">
            <a:xfrm>
              <a:off x="1913445" y="3098608"/>
              <a:ext cx="5065752" cy="246221"/>
            </a:xfrm>
            <a:prstGeom prst="rect">
              <a:avLst/>
            </a:prstGeom>
            <a:noFill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lIns="0" tIns="0" rIns="0" bIns="0" rtlCol="0" anchor="ctr">
              <a:spAutoFit/>
            </a:bodyPr>
            <a:lstStyle>
              <a:lvl1pPr marL="230188" indent="-230188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24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1pPr>
              <a:lvl2pPr marL="514350" indent="-230188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2pPr>
              <a:lvl3pPr marL="742950" indent="-17145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3pPr>
              <a:lvl4pPr marL="971550" indent="-22860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4pPr>
              <a:lvl5pPr marL="1143000" indent="-171450" algn="l" defTabSz="914400" rtl="0" eaLnBrk="1" latinLnBrk="0" hangingPunct="1">
                <a:spcBef>
                  <a:spcPct val="20000"/>
                </a:spcBef>
                <a:buClr>
                  <a:schemeClr val="accent1"/>
                </a:buClr>
                <a:buFont typeface="Arial" pitchFamily="34" charset="0"/>
                <a:buChar char="»"/>
                <a:defRPr sz="1800" kern="1200">
                  <a:solidFill>
                    <a:schemeClr val="tx1"/>
                  </a:solidFill>
                  <a:latin typeface="Franklin Gothic Book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Aft>
                  <a:spcPct val="0"/>
                </a:spcAft>
                <a:buClr>
                  <a:srgbClr val="899BAD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…</a:t>
              </a:r>
            </a:p>
          </p:txBody>
        </p:sp>
        <p:sp>
          <p:nvSpPr>
            <p:cNvPr id="52" name="WordArt 32"/>
            <p:cNvSpPr>
              <a:spLocks noChangeArrowheads="1" noChangeShapeType="1" noTextEdit="1"/>
            </p:cNvSpPr>
            <p:nvPr/>
          </p:nvSpPr>
          <p:spPr bwMode="gray">
            <a:xfrm>
              <a:off x="374669" y="2995210"/>
              <a:ext cx="187081" cy="319494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kern="10" dirty="0">
                  <a:solidFill>
                    <a:srgbClr val="FFFFFF"/>
                  </a:solidFill>
                  <a:latin typeface="Arial Black"/>
                </a:rPr>
                <a:t>3</a:t>
              </a:r>
            </a:p>
          </p:txBody>
        </p:sp>
        <p:sp>
          <p:nvSpPr>
            <p:cNvPr id="53" name="Rectangle 34"/>
            <p:cNvSpPr>
              <a:spLocks noChangeArrowheads="1"/>
            </p:cNvSpPr>
            <p:nvPr/>
          </p:nvSpPr>
          <p:spPr bwMode="gray">
            <a:xfrm>
              <a:off x="1398917" y="2837113"/>
              <a:ext cx="5973433" cy="632769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marL="0" lvl="1"/>
              <a:r>
                <a:rPr lang="en-US" sz="1600" dirty="0">
                  <a:solidFill>
                    <a:srgbClr val="000000"/>
                  </a:solidFill>
                </a:rPr>
                <a:t>Describe how Performance Based Planning facilitates alignment </a:t>
              </a:r>
            </a:p>
            <a:p>
              <a:pPr marL="0" lvl="1"/>
              <a:r>
                <a:rPr lang="en-US" sz="1600" dirty="0">
                  <a:solidFill>
                    <a:srgbClr val="000000"/>
                  </a:solidFill>
                </a:rPr>
                <a:t>of project selections with the department’s strategic objectives</a:t>
              </a:r>
            </a:p>
          </p:txBody>
        </p:sp>
        <p:sp>
          <p:nvSpPr>
            <p:cNvPr id="54" name="Rectangle 35"/>
            <p:cNvSpPr>
              <a:spLocks noChangeArrowheads="1"/>
            </p:cNvSpPr>
            <p:nvPr/>
          </p:nvSpPr>
          <p:spPr bwMode="gray">
            <a:xfrm>
              <a:off x="694991" y="2837113"/>
              <a:ext cx="707019" cy="63276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017451" y="3300986"/>
            <a:ext cx="7069962" cy="632769"/>
            <a:chOff x="302388" y="3697189"/>
            <a:chExt cx="7069962" cy="632769"/>
          </a:xfrm>
        </p:grpSpPr>
        <p:sp>
          <p:nvSpPr>
            <p:cNvPr id="51" name="Rectangle 31"/>
            <p:cNvSpPr>
              <a:spLocks noChangeArrowheads="1"/>
            </p:cNvSpPr>
            <p:nvPr/>
          </p:nvSpPr>
          <p:spPr bwMode="gray">
            <a:xfrm flipH="1">
              <a:off x="302388" y="3697189"/>
              <a:ext cx="331643" cy="632769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33"/>
            <p:cNvSpPr txBox="1">
              <a:spLocks noChangeArrowheads="1"/>
            </p:cNvSpPr>
            <p:nvPr/>
          </p:nvSpPr>
          <p:spPr bwMode="gray">
            <a:xfrm>
              <a:off x="1913445" y="3958685"/>
              <a:ext cx="506575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342900" indent="-342900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33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605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7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9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eaLnBrk="1" hangingPunct="1">
                <a:buClr>
                  <a:srgbClr val="0A1B2B"/>
                </a:buClr>
              </a:pPr>
              <a:r>
                <a:rPr lang="en-US" b="1" dirty="0">
                  <a:solidFill>
                    <a:srgbClr val="0A1B2B"/>
                  </a:solidFill>
                </a:rPr>
                <a:t>…</a:t>
              </a:r>
            </a:p>
          </p:txBody>
        </p:sp>
        <p:sp>
          <p:nvSpPr>
            <p:cNvPr id="47" name="WordArt 19"/>
            <p:cNvSpPr>
              <a:spLocks noChangeArrowheads="1" noChangeShapeType="1" noTextEdit="1"/>
            </p:cNvSpPr>
            <p:nvPr/>
          </p:nvSpPr>
          <p:spPr bwMode="gray">
            <a:xfrm>
              <a:off x="374669" y="3853825"/>
              <a:ext cx="187081" cy="31949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kern="10" dirty="0">
                  <a:solidFill>
                    <a:srgbClr val="FFFFFF"/>
                  </a:solidFill>
                  <a:latin typeface="Arial Black"/>
                </a:rPr>
                <a:t>4</a:t>
              </a:r>
            </a:p>
          </p:txBody>
        </p:sp>
        <p:sp>
          <p:nvSpPr>
            <p:cNvPr id="48" name="Rectangle 28"/>
            <p:cNvSpPr>
              <a:spLocks noChangeArrowheads="1"/>
            </p:cNvSpPr>
            <p:nvPr/>
          </p:nvSpPr>
          <p:spPr bwMode="gray">
            <a:xfrm>
              <a:off x="1398917" y="3697189"/>
              <a:ext cx="5973433" cy="632769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marL="0" lvl="1"/>
              <a:r>
                <a:rPr lang="en-US" sz="1600" dirty="0">
                  <a:solidFill>
                    <a:srgbClr val="000000"/>
                  </a:solidFill>
                </a:rPr>
                <a:t>Describe how the Quarterly Review Process facilitates accurate </a:t>
              </a:r>
              <a:br>
                <a:rPr lang="en-US" sz="1600" dirty="0">
                  <a:solidFill>
                    <a:srgbClr val="000000"/>
                  </a:solidFill>
                </a:rPr>
              </a:br>
              <a:r>
                <a:rPr lang="en-US" sz="1600" dirty="0">
                  <a:solidFill>
                    <a:srgbClr val="000000"/>
                  </a:solidFill>
                </a:rPr>
                <a:t>tracking of each project’s progress</a:t>
              </a: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gray">
            <a:xfrm>
              <a:off x="694991" y="3697189"/>
              <a:ext cx="707019" cy="63276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1017451" y="4028996"/>
            <a:ext cx="7069962" cy="632769"/>
            <a:chOff x="302388" y="3697189"/>
            <a:chExt cx="7069962" cy="632769"/>
          </a:xfrm>
        </p:grpSpPr>
        <p:sp>
          <p:nvSpPr>
            <p:cNvPr id="57" name="Rectangle 31"/>
            <p:cNvSpPr>
              <a:spLocks noChangeArrowheads="1"/>
            </p:cNvSpPr>
            <p:nvPr/>
          </p:nvSpPr>
          <p:spPr bwMode="gray">
            <a:xfrm flipH="1">
              <a:off x="302388" y="3697189"/>
              <a:ext cx="331643" cy="632769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33"/>
            <p:cNvSpPr txBox="1">
              <a:spLocks noChangeArrowheads="1"/>
            </p:cNvSpPr>
            <p:nvPr/>
          </p:nvSpPr>
          <p:spPr bwMode="gray">
            <a:xfrm>
              <a:off x="1913445" y="3958685"/>
              <a:ext cx="506575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342900" indent="-342900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33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605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7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925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eaLnBrk="1" hangingPunct="1">
                <a:buClr>
                  <a:srgbClr val="0A1B2B"/>
                </a:buClr>
              </a:pPr>
              <a:r>
                <a:rPr lang="en-US" b="1" dirty="0">
                  <a:solidFill>
                    <a:srgbClr val="0A1B2B"/>
                  </a:solidFill>
                </a:rPr>
                <a:t>…</a:t>
              </a:r>
            </a:p>
          </p:txBody>
        </p:sp>
        <p:sp>
          <p:nvSpPr>
            <p:cNvPr id="59" name="WordArt 19"/>
            <p:cNvSpPr>
              <a:spLocks noChangeArrowheads="1" noChangeShapeType="1" noTextEdit="1"/>
            </p:cNvSpPr>
            <p:nvPr/>
          </p:nvSpPr>
          <p:spPr bwMode="gray">
            <a:xfrm>
              <a:off x="374669" y="3853825"/>
              <a:ext cx="187081" cy="31949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kern="10" dirty="0">
                  <a:solidFill>
                    <a:srgbClr val="FFFFFF"/>
                  </a:solidFill>
                  <a:latin typeface="Arial Black"/>
                </a:rPr>
                <a:t>5</a:t>
              </a:r>
            </a:p>
          </p:txBody>
        </p:sp>
        <p:sp>
          <p:nvSpPr>
            <p:cNvPr id="60" name="Rectangle 28"/>
            <p:cNvSpPr>
              <a:spLocks noChangeArrowheads="1"/>
            </p:cNvSpPr>
            <p:nvPr/>
          </p:nvSpPr>
          <p:spPr bwMode="gray">
            <a:xfrm>
              <a:off x="1398917" y="3697189"/>
              <a:ext cx="5973433" cy="632769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marL="0" lvl="1"/>
              <a:r>
                <a:rPr lang="en-US" sz="1600" dirty="0">
                  <a:solidFill>
                    <a:srgbClr val="000000"/>
                  </a:solidFill>
                </a:rPr>
                <a:t>Describe how the Project Delivery &amp; Governance process </a:t>
              </a:r>
            </a:p>
            <a:p>
              <a:pPr marL="0" lvl="1"/>
              <a:r>
                <a:rPr lang="en-US" sz="1600" dirty="0">
                  <a:solidFill>
                    <a:srgbClr val="000000"/>
                  </a:solidFill>
                </a:rPr>
                <a:t>ensures on-time and on-budget completion of projects</a:t>
              </a:r>
            </a:p>
          </p:txBody>
        </p:sp>
        <p:sp>
          <p:nvSpPr>
            <p:cNvPr id="61" name="Rectangle 29"/>
            <p:cNvSpPr>
              <a:spLocks noChangeArrowheads="1"/>
            </p:cNvSpPr>
            <p:nvPr/>
          </p:nvSpPr>
          <p:spPr bwMode="gray">
            <a:xfrm>
              <a:off x="694991" y="3697189"/>
              <a:ext cx="707019" cy="63276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62" name="Picture 61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867" y="4112607"/>
            <a:ext cx="560450" cy="560450"/>
          </a:xfrm>
          <a:prstGeom prst="rect">
            <a:avLst/>
          </a:prstGeom>
        </p:spPr>
      </p:pic>
      <p:pic>
        <p:nvPicPr>
          <p:cNvPr id="64" name="Picture 63"/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867" y="3332014"/>
            <a:ext cx="560450" cy="560450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612397" y="3465544"/>
            <a:ext cx="293390" cy="293390"/>
          </a:xfrm>
          <a:prstGeom prst="ellipse">
            <a:avLst/>
          </a:prstGeom>
          <a:solidFill>
            <a:srgbClr val="899BAD"/>
          </a:solidFill>
          <a:ln w="9525">
            <a:solidFill>
              <a:srgbClr val="899B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12" name="Picture 11"/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9783" y="1091871"/>
            <a:ext cx="685462" cy="685462"/>
          </a:xfrm>
          <a:prstGeom prst="rect">
            <a:avLst/>
          </a:prstGeom>
        </p:spPr>
      </p:pic>
      <p:pic>
        <p:nvPicPr>
          <p:cNvPr id="14" name="Picture 13"/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545454" y="1914382"/>
            <a:ext cx="485589" cy="485589"/>
          </a:xfrm>
          <a:prstGeom prst="rect">
            <a:avLst/>
          </a:prstGeom>
        </p:spPr>
      </p:pic>
      <p:pic>
        <p:nvPicPr>
          <p:cNvPr id="15" name="Picture 14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143" y="2615282"/>
            <a:ext cx="552174" cy="552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126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69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7839"/>
            <a:r>
              <a:rPr lang="en-US" dirty="0" smtClean="0"/>
              <a:t>Stakeholders in Quarterly Review Process (QRP)</a:t>
            </a:r>
            <a:endParaRPr lang="en-US" dirty="0"/>
          </a:p>
        </p:txBody>
      </p:sp>
      <p:sp>
        <p:nvSpPr>
          <p:cNvPr id="32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B</a:t>
            </a:r>
          </a:p>
        </p:txBody>
      </p:sp>
      <p:sp>
        <p:nvSpPr>
          <p:cNvPr id="79" name="TextBox 78"/>
          <p:cNvSpPr txBox="1">
            <a:spLocks/>
          </p:cNvSpPr>
          <p:nvPr/>
        </p:nvSpPr>
        <p:spPr>
          <a:xfrm>
            <a:off x="161984" y="524857"/>
            <a:ext cx="872484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400" b="1" dirty="0"/>
              <a:t>Key Stakeholders in QRP Process: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738424" y="812930"/>
            <a:ext cx="3637995" cy="3837074"/>
            <a:chOff x="1153393" y="812930"/>
            <a:chExt cx="3637995" cy="3837074"/>
          </a:xfrm>
        </p:grpSpPr>
        <p:sp>
          <p:nvSpPr>
            <p:cNvPr id="42" name="Rectangle 41"/>
            <p:cNvSpPr/>
            <p:nvPr/>
          </p:nvSpPr>
          <p:spPr>
            <a:xfrm>
              <a:off x="1153393" y="812930"/>
              <a:ext cx="3637995" cy="3837074"/>
            </a:xfrm>
            <a:prstGeom prst="rect">
              <a:avLst/>
            </a:prstGeom>
            <a:solidFill>
              <a:schemeClr val="bg1">
                <a:alpha val="37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4" name="Freeform 3"/>
            <p:cNvSpPr/>
            <p:nvPr/>
          </p:nvSpPr>
          <p:spPr>
            <a:xfrm>
              <a:off x="2589714" y="2368788"/>
              <a:ext cx="765351" cy="765351"/>
            </a:xfrm>
            <a:custGeom>
              <a:avLst/>
              <a:gdLst>
                <a:gd name="connsiteX0" fmla="*/ 0 w 692050"/>
                <a:gd name="connsiteY0" fmla="*/ 346025 h 692050"/>
                <a:gd name="connsiteX1" fmla="*/ 346025 w 692050"/>
                <a:gd name="connsiteY1" fmla="*/ 0 h 692050"/>
                <a:gd name="connsiteX2" fmla="*/ 692050 w 692050"/>
                <a:gd name="connsiteY2" fmla="*/ 346025 h 692050"/>
                <a:gd name="connsiteX3" fmla="*/ 346025 w 692050"/>
                <a:gd name="connsiteY3" fmla="*/ 692050 h 692050"/>
                <a:gd name="connsiteX4" fmla="*/ 0 w 692050"/>
                <a:gd name="connsiteY4" fmla="*/ 346025 h 69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2050" h="692050">
                  <a:moveTo>
                    <a:pt x="0" y="346025"/>
                  </a:moveTo>
                  <a:cubicBezTo>
                    <a:pt x="0" y="154921"/>
                    <a:pt x="154921" y="0"/>
                    <a:pt x="346025" y="0"/>
                  </a:cubicBezTo>
                  <a:cubicBezTo>
                    <a:pt x="537129" y="0"/>
                    <a:pt x="692050" y="154921"/>
                    <a:pt x="692050" y="346025"/>
                  </a:cubicBezTo>
                  <a:cubicBezTo>
                    <a:pt x="692050" y="537129"/>
                    <a:pt x="537129" y="692050"/>
                    <a:pt x="346025" y="692050"/>
                  </a:cubicBezTo>
                  <a:cubicBezTo>
                    <a:pt x="154921" y="692050"/>
                    <a:pt x="0" y="537129"/>
                    <a:pt x="0" y="346025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</a:ln>
            <a:effectLst/>
          </p:spPr>
          <p:txBody>
            <a:bodyPr vert="horz" wrap="square" lIns="2916" tIns="0" rIns="2916" bIns="0" numCol="1" anchor="ctr" anchorCtr="1" compatLnSpc="1">
              <a:prstTxWarp prst="textNoShape">
                <a:avLst/>
              </a:prstTxWarp>
              <a:noAutofit/>
            </a:bodyPr>
            <a:lstStyle/>
            <a:p>
              <a:pPr algn="ctr" defTabSz="894552">
                <a:buClr>
                  <a:schemeClr val="tx2"/>
                </a:buClr>
              </a:pPr>
              <a:r>
                <a:rPr lang="en-US" sz="1100" b="1" dirty="0">
                  <a:solidFill>
                    <a:schemeClr val="bg1"/>
                  </a:solidFill>
                  <a:latin typeface="+mn-lt"/>
                </a:rPr>
                <a:t>UTP</a:t>
              </a:r>
            </a:p>
          </p:txBody>
        </p:sp>
        <p:sp>
          <p:nvSpPr>
            <p:cNvPr id="12" name="Freeform 11"/>
            <p:cNvSpPr/>
            <p:nvPr/>
          </p:nvSpPr>
          <p:spPr>
            <a:xfrm rot="5400000" flipV="1">
              <a:off x="2854808" y="2023482"/>
              <a:ext cx="235162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0" y="47059"/>
                  </a:moveTo>
                  <a:lnTo>
                    <a:pt x="106320" y="47059"/>
                  </a:lnTo>
                  <a:lnTo>
                    <a:pt x="106320" y="0"/>
                  </a:lnTo>
                  <a:lnTo>
                    <a:pt x="212640" y="117649"/>
                  </a:lnTo>
                  <a:lnTo>
                    <a:pt x="106320" y="235297"/>
                  </a:lnTo>
                  <a:lnTo>
                    <a:pt x="106320" y="188238"/>
                  </a:lnTo>
                  <a:lnTo>
                    <a:pt x="0" y="188238"/>
                  </a:lnTo>
                  <a:lnTo>
                    <a:pt x="0" y="47059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-1" tIns="47058" rIns="63792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</p:txBody>
        </p:sp>
        <p:sp>
          <p:nvSpPr>
            <p:cNvPr id="14" name="Freeform 13"/>
            <p:cNvSpPr/>
            <p:nvPr/>
          </p:nvSpPr>
          <p:spPr>
            <a:xfrm rot="18900000" flipH="1" flipV="1">
              <a:off x="3277568" y="2198595"/>
              <a:ext cx="235162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0" y="47059"/>
                  </a:moveTo>
                  <a:lnTo>
                    <a:pt x="106320" y="47059"/>
                  </a:lnTo>
                  <a:lnTo>
                    <a:pt x="106320" y="0"/>
                  </a:lnTo>
                  <a:lnTo>
                    <a:pt x="212640" y="117649"/>
                  </a:lnTo>
                  <a:lnTo>
                    <a:pt x="106320" y="235297"/>
                  </a:lnTo>
                  <a:lnTo>
                    <a:pt x="106320" y="188238"/>
                  </a:lnTo>
                  <a:lnTo>
                    <a:pt x="0" y="188238"/>
                  </a:lnTo>
                  <a:lnTo>
                    <a:pt x="0" y="47059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-1" tIns="47058" rIns="63792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</p:txBody>
        </p:sp>
        <p:sp>
          <p:nvSpPr>
            <p:cNvPr id="16" name="Freeform 15"/>
            <p:cNvSpPr/>
            <p:nvPr/>
          </p:nvSpPr>
          <p:spPr>
            <a:xfrm flipH="1" flipV="1">
              <a:off x="3452681" y="2621354"/>
              <a:ext cx="235162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0" y="47059"/>
                  </a:moveTo>
                  <a:lnTo>
                    <a:pt x="106320" y="47059"/>
                  </a:lnTo>
                  <a:lnTo>
                    <a:pt x="106320" y="0"/>
                  </a:lnTo>
                  <a:lnTo>
                    <a:pt x="212640" y="117649"/>
                  </a:lnTo>
                  <a:lnTo>
                    <a:pt x="106320" y="235297"/>
                  </a:lnTo>
                  <a:lnTo>
                    <a:pt x="106320" y="188238"/>
                  </a:lnTo>
                  <a:lnTo>
                    <a:pt x="0" y="188238"/>
                  </a:lnTo>
                  <a:lnTo>
                    <a:pt x="0" y="47059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47059" rIns="63792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</p:txBody>
        </p:sp>
        <p:sp>
          <p:nvSpPr>
            <p:cNvPr id="18" name="Freeform 17"/>
            <p:cNvSpPr/>
            <p:nvPr/>
          </p:nvSpPr>
          <p:spPr>
            <a:xfrm rot="2700000" flipH="1" flipV="1">
              <a:off x="3277568" y="3044114"/>
              <a:ext cx="235162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0" y="47059"/>
                  </a:moveTo>
                  <a:lnTo>
                    <a:pt x="106320" y="47059"/>
                  </a:lnTo>
                  <a:lnTo>
                    <a:pt x="106320" y="0"/>
                  </a:lnTo>
                  <a:lnTo>
                    <a:pt x="212640" y="117649"/>
                  </a:lnTo>
                  <a:lnTo>
                    <a:pt x="106320" y="235297"/>
                  </a:lnTo>
                  <a:lnTo>
                    <a:pt x="106320" y="188238"/>
                  </a:lnTo>
                  <a:lnTo>
                    <a:pt x="0" y="188238"/>
                  </a:lnTo>
                  <a:lnTo>
                    <a:pt x="0" y="47059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47058" rIns="63791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</p:txBody>
        </p:sp>
        <p:sp>
          <p:nvSpPr>
            <p:cNvPr id="20" name="Freeform 19"/>
            <p:cNvSpPr/>
            <p:nvPr/>
          </p:nvSpPr>
          <p:spPr>
            <a:xfrm rot="16200000" flipV="1">
              <a:off x="2854808" y="3219227"/>
              <a:ext cx="235162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0" y="47059"/>
                  </a:moveTo>
                  <a:lnTo>
                    <a:pt x="106320" y="47059"/>
                  </a:lnTo>
                  <a:lnTo>
                    <a:pt x="106320" y="0"/>
                  </a:lnTo>
                  <a:lnTo>
                    <a:pt x="212640" y="117649"/>
                  </a:lnTo>
                  <a:lnTo>
                    <a:pt x="106320" y="235297"/>
                  </a:lnTo>
                  <a:lnTo>
                    <a:pt x="106320" y="188238"/>
                  </a:lnTo>
                  <a:lnTo>
                    <a:pt x="0" y="188238"/>
                  </a:lnTo>
                  <a:lnTo>
                    <a:pt x="0" y="47059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47058" rIns="63791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</p:txBody>
        </p:sp>
        <p:sp>
          <p:nvSpPr>
            <p:cNvPr id="22" name="Freeform 21"/>
            <p:cNvSpPr/>
            <p:nvPr/>
          </p:nvSpPr>
          <p:spPr>
            <a:xfrm rot="18900000" flipH="1" flipV="1">
              <a:off x="2432049" y="3044113"/>
              <a:ext cx="235163" cy="260220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212640" y="188238"/>
                  </a:moveTo>
                  <a:lnTo>
                    <a:pt x="106320" y="188238"/>
                  </a:lnTo>
                  <a:lnTo>
                    <a:pt x="106320" y="235297"/>
                  </a:lnTo>
                  <a:lnTo>
                    <a:pt x="0" y="117648"/>
                  </a:lnTo>
                  <a:lnTo>
                    <a:pt x="106320" y="0"/>
                  </a:lnTo>
                  <a:lnTo>
                    <a:pt x="106320" y="47059"/>
                  </a:lnTo>
                  <a:lnTo>
                    <a:pt x="212640" y="47059"/>
                  </a:lnTo>
                  <a:lnTo>
                    <a:pt x="212640" y="188238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791" tIns="47059" rIns="1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</p:txBody>
        </p:sp>
        <p:sp>
          <p:nvSpPr>
            <p:cNvPr id="24" name="Freeform 23"/>
            <p:cNvSpPr/>
            <p:nvPr/>
          </p:nvSpPr>
          <p:spPr>
            <a:xfrm flipH="1" flipV="1">
              <a:off x="2256936" y="2621353"/>
              <a:ext cx="235163" cy="260220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212640" y="188238"/>
                  </a:moveTo>
                  <a:lnTo>
                    <a:pt x="106320" y="188238"/>
                  </a:lnTo>
                  <a:lnTo>
                    <a:pt x="106320" y="235297"/>
                  </a:lnTo>
                  <a:lnTo>
                    <a:pt x="0" y="117648"/>
                  </a:lnTo>
                  <a:lnTo>
                    <a:pt x="106320" y="0"/>
                  </a:lnTo>
                  <a:lnTo>
                    <a:pt x="106320" y="47059"/>
                  </a:lnTo>
                  <a:lnTo>
                    <a:pt x="212640" y="47059"/>
                  </a:lnTo>
                  <a:lnTo>
                    <a:pt x="212640" y="188238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792" tIns="47060" rIns="1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</p:txBody>
        </p:sp>
        <p:sp>
          <p:nvSpPr>
            <p:cNvPr id="26" name="Freeform 25"/>
            <p:cNvSpPr/>
            <p:nvPr/>
          </p:nvSpPr>
          <p:spPr>
            <a:xfrm rot="2700000" flipH="1" flipV="1">
              <a:off x="2432049" y="2198595"/>
              <a:ext cx="235163" cy="260219"/>
            </a:xfrm>
            <a:custGeom>
              <a:avLst/>
              <a:gdLst>
                <a:gd name="connsiteX0" fmla="*/ 0 w 212640"/>
                <a:gd name="connsiteY0" fmla="*/ 47059 h 235297"/>
                <a:gd name="connsiteX1" fmla="*/ 106320 w 212640"/>
                <a:gd name="connsiteY1" fmla="*/ 47059 h 235297"/>
                <a:gd name="connsiteX2" fmla="*/ 106320 w 212640"/>
                <a:gd name="connsiteY2" fmla="*/ 0 h 235297"/>
                <a:gd name="connsiteX3" fmla="*/ 212640 w 212640"/>
                <a:gd name="connsiteY3" fmla="*/ 117649 h 235297"/>
                <a:gd name="connsiteX4" fmla="*/ 106320 w 212640"/>
                <a:gd name="connsiteY4" fmla="*/ 235297 h 235297"/>
                <a:gd name="connsiteX5" fmla="*/ 106320 w 212640"/>
                <a:gd name="connsiteY5" fmla="*/ 188238 h 235297"/>
                <a:gd name="connsiteX6" fmla="*/ 0 w 212640"/>
                <a:gd name="connsiteY6" fmla="*/ 188238 h 235297"/>
                <a:gd name="connsiteX7" fmla="*/ 0 w 212640"/>
                <a:gd name="connsiteY7" fmla="*/ 47059 h 235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640" h="235297">
                  <a:moveTo>
                    <a:pt x="212640" y="188238"/>
                  </a:moveTo>
                  <a:lnTo>
                    <a:pt x="106320" y="188238"/>
                  </a:lnTo>
                  <a:lnTo>
                    <a:pt x="106320" y="235297"/>
                  </a:lnTo>
                  <a:lnTo>
                    <a:pt x="0" y="117648"/>
                  </a:lnTo>
                  <a:lnTo>
                    <a:pt x="106320" y="0"/>
                  </a:lnTo>
                  <a:lnTo>
                    <a:pt x="106320" y="47059"/>
                  </a:lnTo>
                  <a:lnTo>
                    <a:pt x="212640" y="47059"/>
                  </a:lnTo>
                  <a:lnTo>
                    <a:pt x="212640" y="188238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792" tIns="47058" rIns="0" bIns="47059" numCol="1" spcCol="1270" anchor="ctr" anchorCtr="0">
              <a:noAutofit/>
            </a:bodyPr>
            <a:lstStyle/>
            <a:p>
              <a:pPr algn="ctr" defTabSz="444106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3801850" y="2293057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  <a:ln w="38100">
              <a:solidFill>
                <a:schemeClr val="accent5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1100" b="1" dirty="0"/>
                <a:t/>
              </a:r>
              <a:br>
                <a:rPr lang="en-US" sz="1100" b="1" dirty="0"/>
              </a:br>
              <a:r>
                <a:rPr lang="en-US" sz="900" b="1" dirty="0"/>
                <a:t>TPP</a:t>
              </a:r>
            </a:p>
          </p:txBody>
        </p:sp>
        <p:sp>
          <p:nvSpPr>
            <p:cNvPr id="27" name="Freeform 26"/>
            <p:cNvSpPr/>
            <p:nvPr/>
          </p:nvSpPr>
          <p:spPr>
            <a:xfrm>
              <a:off x="1603323" y="1382397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MPOs</a:t>
              </a:r>
              <a:endParaRPr lang="en-US" sz="1100" b="1" baseline="30000" dirty="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3424642" y="1422391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</p:txBody>
        </p:sp>
        <p:pic>
          <p:nvPicPr>
            <p:cNvPr id="95" name="Picture 94"/>
            <p:cNvPicPr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60662" y="1382397"/>
              <a:ext cx="644772" cy="644772"/>
            </a:xfrm>
            <a:prstGeom prst="rect">
              <a:avLst/>
            </a:prstGeom>
          </p:spPr>
        </p:pic>
        <p:sp>
          <p:nvSpPr>
            <p:cNvPr id="101" name="TextBox 100"/>
            <p:cNvSpPr txBox="1"/>
            <p:nvPr/>
          </p:nvSpPr>
          <p:spPr>
            <a:xfrm>
              <a:off x="3494265" y="1932660"/>
              <a:ext cx="786755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QRP Leadership Committee </a:t>
              </a:r>
            </a:p>
          </p:txBody>
        </p:sp>
        <p:sp>
          <p:nvSpPr>
            <p:cNvPr id="15" name="Freeform 14"/>
            <p:cNvSpPr/>
            <p:nvPr/>
          </p:nvSpPr>
          <p:spPr>
            <a:xfrm>
              <a:off x="2513983" y="965196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</p:txBody>
        </p:sp>
        <p:grpSp>
          <p:nvGrpSpPr>
            <p:cNvPr id="43" name="Group 42"/>
            <p:cNvGrpSpPr/>
            <p:nvPr/>
          </p:nvGrpSpPr>
          <p:grpSpPr>
            <a:xfrm>
              <a:off x="2579012" y="965197"/>
              <a:ext cx="786755" cy="685450"/>
              <a:chOff x="3351491" y="1300283"/>
              <a:chExt cx="860800" cy="749960"/>
            </a:xfrm>
          </p:grpSpPr>
          <p:pic>
            <p:nvPicPr>
              <p:cNvPr id="106" name="Picture 105"/>
              <p:cNvPicPr>
                <a:picLocks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31252" y="1300283"/>
                <a:ext cx="705454" cy="705454"/>
              </a:xfrm>
              <a:prstGeom prst="rect">
                <a:avLst/>
              </a:prstGeom>
            </p:spPr>
          </p:pic>
          <p:sp>
            <p:nvSpPr>
              <p:cNvPr id="107" name="TextBox 106"/>
              <p:cNvSpPr txBox="1"/>
              <p:nvPr/>
            </p:nvSpPr>
            <p:spPr>
              <a:xfrm>
                <a:off x="3351491" y="1898709"/>
                <a:ext cx="860800" cy="15153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1193817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4393" lvl="1" indent="-190793" defTabSz="1193817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609608" lvl="2" indent="-349255" defTabSz="1193817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819162" lvl="3" indent="-207436" defTabSz="1193817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999757" lvl="4" indent="-173569" defTabSz="1193817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999757" indent="-173569" defTabSz="1193817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6pPr>
                <a:lvl7pPr marL="999757" indent="-173569" defTabSz="1193817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7pPr>
                <a:lvl8pPr marL="999757" indent="-173569" defTabSz="1193817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8pPr>
                <a:lvl9pPr marL="999757" indent="-173569" defTabSz="1193817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33" baseline="0">
                    <a:latin typeface="+mn-lt"/>
                  </a:defRPr>
                </a:lvl9pPr>
              </a:lstStyle>
              <a:p>
                <a:pPr algn="ctr"/>
                <a:r>
                  <a:rPr lang="en-US" sz="900" b="1" dirty="0">
                    <a:solidFill>
                      <a:schemeClr val="bg1"/>
                    </a:solidFill>
                  </a:rPr>
                  <a:t>Commission</a:t>
                </a:r>
              </a:p>
            </p:txBody>
          </p:sp>
        </p:grpSp>
        <p:pic>
          <p:nvPicPr>
            <p:cNvPr id="108" name="Picture 107"/>
            <p:cNvPicPr>
              <a:picLocks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1378" y="2358684"/>
              <a:ext cx="537756" cy="577266"/>
            </a:xfrm>
            <a:prstGeom prst="rect">
              <a:avLst/>
            </a:prstGeom>
          </p:spPr>
        </p:pic>
        <p:sp>
          <p:nvSpPr>
            <p:cNvPr id="19" name="Freeform 18"/>
            <p:cNvSpPr/>
            <p:nvPr/>
          </p:nvSpPr>
          <p:spPr>
            <a:xfrm>
              <a:off x="2513983" y="3580924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  <a:ln w="38100">
              <a:solidFill>
                <a:schemeClr val="accent5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Finance</a:t>
              </a:r>
            </a:p>
          </p:txBody>
        </p:sp>
        <p:pic>
          <p:nvPicPr>
            <p:cNvPr id="109" name="Picture 108"/>
            <p:cNvPicPr>
              <a:picLocks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58898" y="3697359"/>
              <a:ext cx="426984" cy="458356"/>
            </a:xfrm>
            <a:prstGeom prst="rect">
              <a:avLst/>
            </a:prstGeom>
          </p:spPr>
        </p:pic>
        <p:sp>
          <p:nvSpPr>
            <p:cNvPr id="21" name="Freeform 20"/>
            <p:cNvSpPr/>
            <p:nvPr/>
          </p:nvSpPr>
          <p:spPr>
            <a:xfrm>
              <a:off x="3424642" y="3203716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  <a:ln w="38100">
              <a:solidFill>
                <a:schemeClr val="accent5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ROW/ENV/ PEPS</a:t>
              </a:r>
            </a:p>
          </p:txBody>
        </p:sp>
        <p:pic>
          <p:nvPicPr>
            <p:cNvPr id="110" name="Picture 109"/>
            <p:cNvPicPr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10631" y="3260232"/>
              <a:ext cx="450026" cy="483091"/>
            </a:xfrm>
            <a:prstGeom prst="rect">
              <a:avLst/>
            </a:prstGeom>
          </p:spPr>
        </p:pic>
        <p:sp>
          <p:nvSpPr>
            <p:cNvPr id="23" name="Freeform 22"/>
            <p:cNvSpPr/>
            <p:nvPr/>
          </p:nvSpPr>
          <p:spPr>
            <a:xfrm>
              <a:off x="1226116" y="2293057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Additional Support </a:t>
              </a:r>
              <a:r>
                <a:rPr lang="en-US" sz="1100" b="1" baseline="30000" dirty="0"/>
                <a:t>1</a:t>
              </a:r>
              <a:endParaRPr lang="en-US" sz="9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b="1" dirty="0"/>
            </a:p>
          </p:txBody>
        </p:sp>
        <p:pic>
          <p:nvPicPr>
            <p:cNvPr id="111" name="Picture 11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6991" y="2351878"/>
              <a:ext cx="446338" cy="446338"/>
            </a:xfrm>
            <a:prstGeom prst="rect">
              <a:avLst/>
            </a:prstGeom>
          </p:spPr>
        </p:pic>
        <p:sp>
          <p:nvSpPr>
            <p:cNvPr id="25" name="Freeform 24"/>
            <p:cNvSpPr/>
            <p:nvPr/>
          </p:nvSpPr>
          <p:spPr>
            <a:xfrm>
              <a:off x="1603323" y="3203716"/>
              <a:ext cx="916814" cy="916814"/>
            </a:xfrm>
            <a:custGeom>
              <a:avLst/>
              <a:gdLst>
                <a:gd name="connsiteX0" fmla="*/ 0 w 622845"/>
                <a:gd name="connsiteY0" fmla="*/ 311423 h 622845"/>
                <a:gd name="connsiteX1" fmla="*/ 311423 w 622845"/>
                <a:gd name="connsiteY1" fmla="*/ 0 h 622845"/>
                <a:gd name="connsiteX2" fmla="*/ 622846 w 622845"/>
                <a:gd name="connsiteY2" fmla="*/ 311423 h 622845"/>
                <a:gd name="connsiteX3" fmla="*/ 311423 w 622845"/>
                <a:gd name="connsiteY3" fmla="*/ 622846 h 622845"/>
                <a:gd name="connsiteX4" fmla="*/ 0 w 622845"/>
                <a:gd name="connsiteY4" fmla="*/ 311423 h 62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845" h="622845">
                  <a:moveTo>
                    <a:pt x="0" y="311423"/>
                  </a:moveTo>
                  <a:cubicBezTo>
                    <a:pt x="0" y="139429"/>
                    <a:pt x="139429" y="0"/>
                    <a:pt x="311423" y="0"/>
                  </a:cubicBezTo>
                  <a:cubicBezTo>
                    <a:pt x="483417" y="0"/>
                    <a:pt x="622846" y="139429"/>
                    <a:pt x="622846" y="311423"/>
                  </a:cubicBezTo>
                  <a:cubicBezTo>
                    <a:pt x="622846" y="483417"/>
                    <a:pt x="483417" y="622846"/>
                    <a:pt x="311423" y="622846"/>
                  </a:cubicBezTo>
                  <a:cubicBezTo>
                    <a:pt x="139429" y="622846"/>
                    <a:pt x="0" y="483417"/>
                    <a:pt x="0" y="31142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7724" tIns="107724" rIns="107724" bIns="107724" numCol="1" spcCol="1270" anchor="ctr" anchorCtr="0">
              <a:noAutofit/>
            </a:bodyPr>
            <a:lstStyle/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endParaRPr lang="en-US" sz="1100" b="1" dirty="0"/>
            </a:p>
            <a:p>
              <a:pPr algn="ctr" defTabSz="577332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Districts</a:t>
              </a:r>
            </a:p>
          </p:txBody>
        </p:sp>
        <p:pic>
          <p:nvPicPr>
            <p:cNvPr id="112" name="Picture 111"/>
            <p:cNvPicPr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1107" y="3241114"/>
              <a:ext cx="537756" cy="577266"/>
            </a:xfrm>
            <a:prstGeom prst="rect">
              <a:avLst/>
            </a:prstGeom>
          </p:spPr>
        </p:pic>
        <p:pic>
          <p:nvPicPr>
            <p:cNvPr id="113" name="Picture 112"/>
            <p:cNvPicPr>
              <a:picLocks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7295" y="1447420"/>
              <a:ext cx="488869" cy="524787"/>
            </a:xfrm>
            <a:prstGeom prst="rect">
              <a:avLst/>
            </a:prstGeom>
          </p:spPr>
        </p:pic>
      </p:grpSp>
      <p:sp>
        <p:nvSpPr>
          <p:cNvPr id="51" name="5. Source"/>
          <p:cNvSpPr>
            <a:spLocks noChangeArrowheads="1"/>
          </p:cNvSpPr>
          <p:nvPr/>
        </p:nvSpPr>
        <p:spPr bwMode="gray">
          <a:xfrm>
            <a:off x="161984" y="4895559"/>
            <a:ext cx="865816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37758" indent="-437758" defTabSz="1192752"/>
            <a:r>
              <a:rPr lang="en-US" sz="1000" dirty="0">
                <a:solidFill>
                  <a:schemeClr val="bg1"/>
                </a:solidFill>
                <a:latin typeface="+mn-lt"/>
              </a:rPr>
              <a:t>1 Design (DES), Construction (CST), Traffic Safety (TRF), Bridge (BRG), Maintenance (MNT), Strategic Planning (STR</a:t>
            </a:r>
            <a:r>
              <a:rPr lang="en-US" sz="800" dirty="0">
                <a:solidFill>
                  <a:schemeClr val="bg1"/>
                </a:solidFill>
                <a:latin typeface="+mn-lt"/>
              </a:rPr>
              <a:t>)</a:t>
            </a:r>
            <a:endParaRPr lang="x-none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2" name="Freeform 51"/>
          <p:cNvSpPr/>
          <p:nvPr/>
        </p:nvSpPr>
        <p:spPr>
          <a:xfrm>
            <a:off x="7606022" y="108577"/>
            <a:ext cx="198458" cy="198458"/>
          </a:xfrm>
          <a:custGeom>
            <a:avLst/>
            <a:gdLst>
              <a:gd name="connsiteX0" fmla="*/ 0 w 622845"/>
              <a:gd name="connsiteY0" fmla="*/ 311423 h 622845"/>
              <a:gd name="connsiteX1" fmla="*/ 311423 w 622845"/>
              <a:gd name="connsiteY1" fmla="*/ 0 h 622845"/>
              <a:gd name="connsiteX2" fmla="*/ 622846 w 622845"/>
              <a:gd name="connsiteY2" fmla="*/ 311423 h 622845"/>
              <a:gd name="connsiteX3" fmla="*/ 311423 w 622845"/>
              <a:gd name="connsiteY3" fmla="*/ 622846 h 622845"/>
              <a:gd name="connsiteX4" fmla="*/ 0 w 622845"/>
              <a:gd name="connsiteY4" fmla="*/ 311423 h 622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845" h="622845">
                <a:moveTo>
                  <a:pt x="0" y="311423"/>
                </a:moveTo>
                <a:cubicBezTo>
                  <a:pt x="0" y="139429"/>
                  <a:pt x="139429" y="0"/>
                  <a:pt x="311423" y="0"/>
                </a:cubicBezTo>
                <a:cubicBezTo>
                  <a:pt x="483417" y="0"/>
                  <a:pt x="622846" y="139429"/>
                  <a:pt x="622846" y="311423"/>
                </a:cubicBezTo>
                <a:cubicBezTo>
                  <a:pt x="622846" y="483417"/>
                  <a:pt x="483417" y="622846"/>
                  <a:pt x="311423" y="622846"/>
                </a:cubicBezTo>
                <a:cubicBezTo>
                  <a:pt x="139429" y="622846"/>
                  <a:pt x="0" y="483417"/>
                  <a:pt x="0" y="311423"/>
                </a:cubicBezTo>
                <a:close/>
              </a:path>
            </a:pathLst>
          </a:custGeom>
          <a:noFill/>
          <a:ln>
            <a:solidFill>
              <a:schemeClr val="accent5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7626" tIns="107626" rIns="107626" bIns="107626" numCol="1" spcCol="1270" anchor="ctr" anchorCtr="0">
            <a:noAutofit/>
          </a:bodyPr>
          <a:lstStyle/>
          <a:p>
            <a:pPr algn="ctr" defTabSz="577332">
              <a:lnSpc>
                <a:spcPct val="90000"/>
              </a:lnSpc>
              <a:spcAft>
                <a:spcPct val="35000"/>
              </a:spcAft>
            </a:pPr>
            <a:endParaRPr lang="en-US" sz="1300" dirty="0"/>
          </a:p>
          <a:p>
            <a:pPr algn="ctr" defTabSz="577332">
              <a:lnSpc>
                <a:spcPct val="90000"/>
              </a:lnSpc>
              <a:spcAft>
                <a:spcPct val="35000"/>
              </a:spcAft>
            </a:pPr>
            <a:endParaRPr lang="en-US" sz="1300" dirty="0"/>
          </a:p>
          <a:p>
            <a:pPr algn="ctr" defTabSz="577332">
              <a:lnSpc>
                <a:spcPct val="90000"/>
              </a:lnSpc>
              <a:spcAft>
                <a:spcPct val="35000"/>
              </a:spcAft>
            </a:pPr>
            <a:r>
              <a:rPr lang="en-US" sz="1300" b="1" dirty="0"/>
              <a:t/>
            </a:r>
            <a:br>
              <a:rPr lang="en-US" sz="1300" b="1" dirty="0"/>
            </a:br>
            <a:endParaRPr lang="en-US" sz="13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7878598" y="111341"/>
            <a:ext cx="1260298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Central Planning Team</a:t>
            </a: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>
            <a:off x="161984" y="768876"/>
            <a:ext cx="872484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 39"/>
          <p:cNvSpPr/>
          <p:nvPr/>
        </p:nvSpPr>
        <p:spPr>
          <a:xfrm flipV="1">
            <a:off x="2523020" y="1485034"/>
            <a:ext cx="601536" cy="251302"/>
          </a:xfrm>
          <a:custGeom>
            <a:avLst/>
            <a:gdLst>
              <a:gd name="connsiteX0" fmla="*/ 0 w 831897"/>
              <a:gd name="connsiteY0" fmla="*/ 0 h 0"/>
              <a:gd name="connsiteX1" fmla="*/ 831897 w 831897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31897">
                <a:moveTo>
                  <a:pt x="0" y="0"/>
                </a:moveTo>
                <a:lnTo>
                  <a:pt x="831897" y="0"/>
                </a:lnTo>
              </a:path>
            </a:pathLst>
          </a:custGeom>
          <a:noFill/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tailEnd type="oval"/>
          </a:ln>
          <a:effectLst/>
        </p:spPr>
        <p:txBody>
          <a:bodyPr lIns="91356" tIns="45678" rIns="91356" bIns="45678" rtlCol="0" anchor="ctr">
            <a:noAutofit/>
          </a:bodyPr>
          <a:lstStyle/>
          <a:p>
            <a:pPr algn="ctr" defTabSz="91358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srgbClr val="FFFFFF"/>
              </a:solidFill>
              <a:latin typeface="+mj-lt"/>
              <a:ea typeface="ＭＳ Ｐゴシック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1476376" y="1210800"/>
            <a:ext cx="1038221" cy="923330"/>
            <a:chOff x="12536" y="1176658"/>
            <a:chExt cx="1038221" cy="923330"/>
          </a:xfrm>
        </p:grpSpPr>
        <p:sp>
          <p:nvSpPr>
            <p:cNvPr id="44" name="Rectangle 29"/>
            <p:cNvSpPr txBox="1">
              <a:spLocks/>
            </p:cNvSpPr>
            <p:nvPr/>
          </p:nvSpPr>
          <p:spPr>
            <a:xfrm>
              <a:off x="12536" y="1176658"/>
              <a:ext cx="985946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3947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203219" lvl="1" indent="-201553" defTabSz="93947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79730" lvl="2" indent="-274846" defTabSz="93947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44637" lvl="3" indent="-163241" defTabSz="93947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86757" lvl="4" indent="-136590" defTabSz="93947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86757" indent="-136590" defTabSz="93947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86757" indent="-136590" defTabSz="93947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86757" indent="-136590" defTabSz="93947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86757" indent="-136590" defTabSz="93947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17371" lvl="2" indent="0" fontAlgn="auto">
                <a:spcBef>
                  <a:spcPct val="20000"/>
                </a:spcBef>
                <a:spcAft>
                  <a:spcPts val="0"/>
                </a:spcAft>
                <a:buClr>
                  <a:srgbClr val="132A53"/>
                </a:buClr>
                <a:buSzPct val="125000"/>
                <a:buNone/>
                <a:defRPr/>
              </a:pPr>
              <a:r>
                <a:rPr lang="en-US" sz="1200" kern="0" dirty="0">
                  <a:latin typeface="+mj-lt"/>
                </a:rPr>
                <a:t>MPO involvement flows through Districts</a:t>
              </a:r>
            </a:p>
          </p:txBody>
        </p:sp>
        <p:cxnSp>
          <p:nvCxnSpPr>
            <p:cNvPr id="45" name="Straight Connector 44"/>
            <p:cNvCxnSpPr>
              <a:cxnSpLocks/>
            </p:cNvCxnSpPr>
            <p:nvPr/>
          </p:nvCxnSpPr>
          <p:spPr>
            <a:xfrm>
              <a:off x="1050757" y="1176658"/>
              <a:ext cx="0" cy="92333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42211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73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7839"/>
            <a:r>
              <a:rPr lang="en-US" dirty="0" smtClean="0"/>
              <a:t>Example risks in </a:t>
            </a:r>
            <a:r>
              <a:rPr lang="en-US" dirty="0"/>
              <a:t>managing the Department’s portfolio through QRP</a:t>
            </a:r>
          </a:p>
        </p:txBody>
      </p:sp>
      <p:sp>
        <p:nvSpPr>
          <p:cNvPr id="12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B</a:t>
            </a:r>
          </a:p>
        </p:txBody>
      </p:sp>
      <p:sp>
        <p:nvSpPr>
          <p:cNvPr id="24" name="Freeform 8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768970" y="882014"/>
            <a:ext cx="2883377" cy="346003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1356" tIns="45678" rIns="91356" bIns="45678">
            <a:noAutofit/>
          </a:bodyPr>
          <a:lstStyle/>
          <a:p>
            <a:pPr algn="l">
              <a:buClr>
                <a:srgbClr val="234062"/>
              </a:buClr>
            </a:pPr>
            <a:endParaRPr lang="en-US" sz="16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4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68970" y="880814"/>
            <a:ext cx="2883377" cy="353612"/>
          </a:xfrm>
          <a:prstGeom prst="rect">
            <a:avLst/>
          </a:prstGeom>
          <a:solidFill>
            <a:schemeClr val="accent2"/>
          </a:solidFill>
          <a:ln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91356" tIns="91356" rIns="91356" bIns="91356" rtlCol="0" anchor="ctr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b="1" kern="0" dirty="0" smtClean="0">
                <a:solidFill>
                  <a:schemeClr val="bg1"/>
                </a:solidFill>
              </a:rPr>
              <a:t>Implications</a:t>
            </a:r>
            <a:endParaRPr lang="en-US" b="1" kern="0" dirty="0">
              <a:solidFill>
                <a:schemeClr val="bg1"/>
              </a:solidFill>
            </a:endParaRPr>
          </a:p>
        </p:txBody>
      </p:sp>
      <p:sp>
        <p:nvSpPr>
          <p:cNvPr id="47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396479" y="882001"/>
            <a:ext cx="3409785" cy="3460030"/>
          </a:xfrm>
          <a:custGeom>
            <a:avLst/>
            <a:gdLst>
              <a:gd name="T0" fmla="*/ 1905 w 2113"/>
              <a:gd name="T1" fmla="*/ 0 h 2147"/>
              <a:gd name="T2" fmla="*/ 0 w 2113"/>
              <a:gd name="T3" fmla="*/ 0 h 2147"/>
              <a:gd name="T4" fmla="*/ 0 w 2113"/>
              <a:gd name="T5" fmla="*/ 2147 h 2147"/>
              <a:gd name="T6" fmla="*/ 1857 w 2113"/>
              <a:gd name="T7" fmla="*/ 2147 h 2147"/>
              <a:gd name="T8" fmla="*/ 2113 w 2113"/>
              <a:gd name="T9" fmla="*/ 963 h 2147"/>
              <a:gd name="T10" fmla="*/ 1905 w 2113"/>
              <a:gd name="T11" fmla="*/ 0 h 2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3" h="2147">
                <a:moveTo>
                  <a:pt x="1905" y="0"/>
                </a:moveTo>
                <a:lnTo>
                  <a:pt x="0" y="0"/>
                </a:lnTo>
                <a:lnTo>
                  <a:pt x="0" y="2147"/>
                </a:lnTo>
                <a:lnTo>
                  <a:pt x="1857" y="2147"/>
                </a:lnTo>
                <a:lnTo>
                  <a:pt x="2113" y="963"/>
                </a:lnTo>
                <a:lnTo>
                  <a:pt x="1905" y="0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lIns="91356" tIns="45678" rIns="91356" bIns="45678">
            <a:noAutofit/>
          </a:bodyPr>
          <a:lstStyle/>
          <a:p>
            <a:pPr algn="l">
              <a:buClr>
                <a:srgbClr val="234062"/>
              </a:buClr>
            </a:pPr>
            <a:endParaRPr lang="en-US" sz="16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8" name="Rectangle 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396477" y="880814"/>
            <a:ext cx="3157849" cy="353612"/>
          </a:xfrm>
          <a:custGeom>
            <a:avLst/>
            <a:gdLst>
              <a:gd name="connsiteX0" fmla="*/ 0 w 3935896"/>
              <a:gd name="connsiteY0" fmla="*/ 0 h 352425"/>
              <a:gd name="connsiteX1" fmla="*/ 3935896 w 3935896"/>
              <a:gd name="connsiteY1" fmla="*/ 0 h 352425"/>
              <a:gd name="connsiteX2" fmla="*/ 3935896 w 3935896"/>
              <a:gd name="connsiteY2" fmla="*/ 352425 h 352425"/>
              <a:gd name="connsiteX3" fmla="*/ 0 w 3935896"/>
              <a:gd name="connsiteY3" fmla="*/ 352425 h 352425"/>
              <a:gd name="connsiteX4" fmla="*/ 0 w 3935896"/>
              <a:gd name="connsiteY4" fmla="*/ 0 h 352425"/>
              <a:gd name="connsiteX0" fmla="*/ 0 w 3935896"/>
              <a:gd name="connsiteY0" fmla="*/ 1187 h 353612"/>
              <a:gd name="connsiteX1" fmla="*/ 3074505 w 3935896"/>
              <a:gd name="connsiteY1" fmla="*/ 0 h 353612"/>
              <a:gd name="connsiteX2" fmla="*/ 3935896 w 3935896"/>
              <a:gd name="connsiteY2" fmla="*/ 1187 h 353612"/>
              <a:gd name="connsiteX3" fmla="*/ 3935896 w 3935896"/>
              <a:gd name="connsiteY3" fmla="*/ 353612 h 353612"/>
              <a:gd name="connsiteX4" fmla="*/ 0 w 3935896"/>
              <a:gd name="connsiteY4" fmla="*/ 353612 h 353612"/>
              <a:gd name="connsiteX5" fmla="*/ 0 w 3935896"/>
              <a:gd name="connsiteY5" fmla="*/ 1187 h 353612"/>
              <a:gd name="connsiteX0" fmla="*/ 0 w 3935896"/>
              <a:gd name="connsiteY0" fmla="*/ 1187 h 353612"/>
              <a:gd name="connsiteX1" fmla="*/ 3074505 w 3935896"/>
              <a:gd name="connsiteY1" fmla="*/ 0 h 353612"/>
              <a:gd name="connsiteX2" fmla="*/ 3935896 w 3935896"/>
              <a:gd name="connsiteY2" fmla="*/ 1187 h 353612"/>
              <a:gd name="connsiteX3" fmla="*/ 3935896 w 3935896"/>
              <a:gd name="connsiteY3" fmla="*/ 353612 h 353612"/>
              <a:gd name="connsiteX4" fmla="*/ 3157849 w 3935896"/>
              <a:gd name="connsiteY4" fmla="*/ 350043 h 353612"/>
              <a:gd name="connsiteX5" fmla="*/ 0 w 3935896"/>
              <a:gd name="connsiteY5" fmla="*/ 353612 h 353612"/>
              <a:gd name="connsiteX6" fmla="*/ 0 w 3935896"/>
              <a:gd name="connsiteY6" fmla="*/ 1187 h 353612"/>
              <a:gd name="connsiteX0" fmla="*/ 0 w 3935896"/>
              <a:gd name="connsiteY0" fmla="*/ 1187 h 353612"/>
              <a:gd name="connsiteX1" fmla="*/ 3074505 w 3935896"/>
              <a:gd name="connsiteY1" fmla="*/ 0 h 353612"/>
              <a:gd name="connsiteX2" fmla="*/ 3935896 w 3935896"/>
              <a:gd name="connsiteY2" fmla="*/ 353612 h 353612"/>
              <a:gd name="connsiteX3" fmla="*/ 3157849 w 3935896"/>
              <a:gd name="connsiteY3" fmla="*/ 350043 h 353612"/>
              <a:gd name="connsiteX4" fmla="*/ 0 w 3935896"/>
              <a:gd name="connsiteY4" fmla="*/ 353612 h 353612"/>
              <a:gd name="connsiteX5" fmla="*/ 0 w 3935896"/>
              <a:gd name="connsiteY5" fmla="*/ 1187 h 353612"/>
              <a:gd name="connsiteX0" fmla="*/ 0 w 3157849"/>
              <a:gd name="connsiteY0" fmla="*/ 1187 h 353612"/>
              <a:gd name="connsiteX1" fmla="*/ 3074505 w 3157849"/>
              <a:gd name="connsiteY1" fmla="*/ 0 h 353612"/>
              <a:gd name="connsiteX2" fmla="*/ 3157849 w 3157849"/>
              <a:gd name="connsiteY2" fmla="*/ 350043 h 353612"/>
              <a:gd name="connsiteX3" fmla="*/ 0 w 3157849"/>
              <a:gd name="connsiteY3" fmla="*/ 353612 h 353612"/>
              <a:gd name="connsiteX4" fmla="*/ 0 w 3157849"/>
              <a:gd name="connsiteY4" fmla="*/ 1187 h 353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57849" h="353612">
                <a:moveTo>
                  <a:pt x="0" y="1187"/>
                </a:moveTo>
                <a:lnTo>
                  <a:pt x="3074505" y="0"/>
                </a:lnTo>
                <a:lnTo>
                  <a:pt x="3157849" y="350043"/>
                </a:lnTo>
                <a:lnTo>
                  <a:pt x="0" y="353612"/>
                </a:lnTo>
                <a:lnTo>
                  <a:pt x="0" y="1187"/>
                </a:lnTo>
                <a:close/>
              </a:path>
            </a:pathLst>
          </a:custGeom>
          <a:solidFill>
            <a:schemeClr val="accent1"/>
          </a:solidFill>
          <a:ln>
            <a:noFill/>
            <a:miter lim="800000"/>
            <a:headEnd/>
            <a:tailEnd/>
          </a:ln>
          <a:effectLst/>
          <a:extLst/>
        </p:spPr>
        <p:txBody>
          <a:bodyPr vert="horz" wrap="square" lIns="91356" tIns="91356" rIns="91356" bIns="91356" rtlCol="0" anchor="ctr">
            <a:noAutofit/>
          </a:bodyPr>
          <a:lstStyle>
            <a:defPPr>
              <a:defRPr lang="en-US"/>
            </a:defPPr>
            <a:lvl1pPr marL="0" indent="0" defTabSz="1193817" eaLnBrk="1" hangingPunct="1">
              <a:buClr>
                <a:schemeClr val="tx2"/>
              </a:buClr>
              <a:buSzPct val="100000"/>
              <a:defRPr sz="1800" b="1" kern="0" baseline="0">
                <a:solidFill>
                  <a:schemeClr val="bg1"/>
                </a:solidFill>
                <a:latin typeface="+mn-lt"/>
              </a:defRPr>
            </a:lvl1pPr>
            <a:lvl2pPr marL="194393" indent="-190793" defTabSz="1193817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609608" indent="-349255" defTabSz="1193817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819162" indent="-207436" defTabSz="1193817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999757" indent="-173569" defTabSz="1193817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600" dirty="0"/>
              <a:t>Potential Complication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480299" y="1264266"/>
            <a:ext cx="2838285" cy="28315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b="1" dirty="0" smtClean="0"/>
              <a:t>Projects ready to let </a:t>
            </a:r>
            <a:r>
              <a:rPr lang="en-US" dirty="0" smtClean="0"/>
              <a:t>- Not having a right-sized funnel with projects “in the hopper” waiting to let</a:t>
            </a:r>
          </a:p>
          <a:p>
            <a:pPr lvl="1">
              <a:spcBef>
                <a:spcPct val="25000"/>
              </a:spcBef>
            </a:pPr>
            <a:r>
              <a:rPr lang="en-US" b="1" dirty="0" smtClean="0"/>
              <a:t>Timely and accurate data </a:t>
            </a:r>
            <a:r>
              <a:rPr lang="en-US" dirty="0" smtClean="0"/>
              <a:t>- Gathering key data for the QRP at the last minute</a:t>
            </a:r>
          </a:p>
          <a:p>
            <a:pPr lvl="1">
              <a:spcBef>
                <a:spcPct val="25000"/>
              </a:spcBef>
            </a:pPr>
            <a:r>
              <a:rPr lang="en-US" b="1" dirty="0" smtClean="0"/>
              <a:t>Delivering with integrity</a:t>
            </a:r>
            <a:r>
              <a:rPr lang="en-US" dirty="0" smtClean="0"/>
              <a:t>- Prioritizing short term “issue of the day” over QRM focus in the meeting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838490" y="1264266"/>
            <a:ext cx="2744308" cy="30777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dirty="0" smtClean="0"/>
              <a:t>Ineffective allocation of resources, especially when additional funding is received</a:t>
            </a:r>
          </a:p>
          <a:p>
            <a:pPr lvl="1">
              <a:spcBef>
                <a:spcPct val="25000"/>
              </a:spcBef>
            </a:pPr>
            <a:r>
              <a:rPr lang="en-US" dirty="0" smtClean="0"/>
              <a:t>Lack of time for district pre-meeting reviews, making the Quarterly Review Meeting (QRM) less effective</a:t>
            </a:r>
          </a:p>
          <a:p>
            <a:pPr lvl="1">
              <a:spcBef>
                <a:spcPct val="25000"/>
              </a:spcBef>
            </a:pPr>
            <a:r>
              <a:rPr lang="en-US" dirty="0" smtClean="0"/>
              <a:t>QRP relies on specific actions being completed for each QRM, falling behind on one has negative effects on future steps in proc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721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4867392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151"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b="1" dirty="0">
              <a:solidFill>
                <a:schemeClr val="tx1"/>
              </a:solidFill>
              <a:latin typeface="Franklin Gothic Book" panose="020B0503020102090204" pitchFamily="34" charset="0"/>
              <a:sym typeface="Franklin Gothic Book" panose="020B050302010209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947161" y="482600"/>
            <a:ext cx="5196841" cy="4229100"/>
            <a:chOff x="3947159" y="482600"/>
            <a:chExt cx="5196841" cy="4229100"/>
          </a:xfrm>
        </p:grpSpPr>
        <p:pic>
          <p:nvPicPr>
            <p:cNvPr id="3" name="Picture 2"/>
            <p:cNvPicPr>
              <a:picLocks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39" r="9039"/>
            <a:stretch/>
          </p:blipFill>
          <p:spPr>
            <a:xfrm>
              <a:off x="3947160" y="482600"/>
              <a:ext cx="5196840" cy="4229100"/>
            </a:xfrm>
            <a:prstGeom prst="rect">
              <a:avLst/>
            </a:prstGeom>
          </p:spPr>
        </p:pic>
        <p:sp>
          <p:nvSpPr>
            <p:cNvPr id="7" name="Rectangle 6"/>
            <p:cNvSpPr>
              <a:spLocks/>
            </p:cNvSpPr>
            <p:nvPr/>
          </p:nvSpPr>
          <p:spPr>
            <a:xfrm>
              <a:off x="3947159" y="482600"/>
              <a:ext cx="3930015" cy="42291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fld id="{736AB9FE-D634-405C-BC98-8B45F0377B79}" type="datetime'Contents'">
              <a:rPr lang="en-US" altLang="en-US"/>
              <a:pPr/>
              <a:t>Contents</a:t>
            </a:fld>
            <a:endParaRPr lang="en-US" dirty="0"/>
          </a:p>
        </p:txBody>
      </p:sp>
      <p:sp>
        <p:nvSpPr>
          <p:cNvPr id="22" name="Text Placeholder 2">
            <a:hlinkClick r:id="rId19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1926" y="536575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b="1" dirty="0"/>
              <a:t>Chapter 1: Overview of Project Development and </a:t>
            </a:r>
            <a:r>
              <a:rPr lang="en-US" altLang="en-US" b="1" dirty="0" smtClean="0"/>
              <a:t>Delivery</a:t>
            </a:r>
            <a:endParaRPr lang="en-US" b="1" dirty="0"/>
          </a:p>
        </p:txBody>
      </p:sp>
      <p:sp>
        <p:nvSpPr>
          <p:cNvPr id="79" name="Text Placeholder 2">
            <a:hlinkClick r:id="rId20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1926" y="942975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Performance Based </a:t>
            </a:r>
            <a:r>
              <a:rPr lang="en-US" altLang="en-US" dirty="0"/>
              <a:t>Planning</a:t>
            </a:r>
            <a:endParaRPr lang="en-US" dirty="0"/>
          </a:p>
        </p:txBody>
      </p:sp>
      <p:sp>
        <p:nvSpPr>
          <p:cNvPr id="83" name="Text Placeholder 2">
            <a:hlinkClick r:id="rId21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1926" y="1350963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/>
              <a:t>Quarterly Review Process</a:t>
            </a:r>
            <a:endParaRPr lang="en-US" dirty="0"/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1926" y="1757363"/>
            <a:ext cx="5260975" cy="407988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xtLst/>
        </p:spPr>
        <p:txBody>
          <a:bodyPr vert="horz" wrap="square" lIns="80893" tIns="80893" rIns="0" bIns="82480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>
              <a:buClr>
                <a:schemeClr val="bg1"/>
              </a:buClr>
            </a:pPr>
            <a:r>
              <a:rPr lang="en-US" altLang="en-US" b="1" dirty="0" smtClean="0">
                <a:solidFill>
                  <a:schemeClr val="bg1"/>
                </a:solidFill>
              </a:rPr>
              <a:t>Project Delivery and Governance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0" name="Text Placeholder 2">
            <a:hlinkClick r:id="rId22" action="ppaction://hlinksldjump"/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1926" y="2165350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2: Project </a:t>
            </a:r>
            <a:r>
              <a:rPr lang="en-US" altLang="en-US" dirty="0" smtClean="0"/>
              <a:t>Initiation/Planning</a:t>
            </a:r>
            <a:endParaRPr lang="en-US" dirty="0"/>
          </a:p>
        </p:txBody>
      </p:sp>
      <p:sp>
        <p:nvSpPr>
          <p:cNvPr id="56" name="Text Placeholder 2">
            <a:hlinkClick r:id="" action="ppaction://noaction"/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61926" y="2571750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3: Preliminary Engineering</a:t>
            </a:r>
            <a:endParaRPr lang="en-US" dirty="0"/>
          </a:p>
        </p:txBody>
      </p:sp>
      <p:sp>
        <p:nvSpPr>
          <p:cNvPr id="61" name="Text Placeholder 2">
            <a:hlinkClick r:id="" action="ppaction://noaction"/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1926" y="2978150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4: Plans, Specifications, and </a:t>
            </a:r>
            <a:r>
              <a:rPr lang="en-US" altLang="en-US" dirty="0" smtClean="0"/>
              <a:t>Estimate </a:t>
            </a:r>
            <a:r>
              <a:rPr lang="en-US" altLang="en-US" dirty="0"/>
              <a:t>(PS&amp;E)</a:t>
            </a:r>
          </a:p>
        </p:txBody>
      </p:sp>
      <p:sp>
        <p:nvSpPr>
          <p:cNvPr id="66" name="Text Placeholder 2">
            <a:hlinkClick r:id="" action="ppaction://noaction"/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61926" y="3386138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5: Letting </a:t>
            </a:r>
          </a:p>
        </p:txBody>
      </p:sp>
      <p:sp>
        <p:nvSpPr>
          <p:cNvPr id="71" name="Text Placeholder 2">
            <a:hlinkClick r:id="" action="ppaction://noaction"/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61926" y="3792538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2480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6: Construction </a:t>
            </a:r>
          </a:p>
        </p:txBody>
      </p:sp>
      <p:sp>
        <p:nvSpPr>
          <p:cNvPr id="76" name="Text Placeholder 2">
            <a:hlinkClick r:id="" action="ppaction://noaction"/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1926" y="4200525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7: Summary &amp; Review</a:t>
            </a:r>
            <a:endParaRPr lang="en-US" dirty="0"/>
          </a:p>
        </p:txBody>
      </p:sp>
      <p:sp>
        <p:nvSpPr>
          <p:cNvPr id="84" name="Marvin Title Tracker Circle"/>
          <p:cNvSpPr/>
          <p:nvPr/>
        </p:nvSpPr>
        <p:spPr>
          <a:xfrm>
            <a:off x="479371" y="991114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A</a:t>
            </a:r>
          </a:p>
        </p:txBody>
      </p:sp>
      <p:sp>
        <p:nvSpPr>
          <p:cNvPr id="85" name="Marvin Title Tracker Circle"/>
          <p:cNvSpPr/>
          <p:nvPr/>
        </p:nvSpPr>
        <p:spPr>
          <a:xfrm>
            <a:off x="479371" y="1389140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B</a:t>
            </a:r>
          </a:p>
        </p:txBody>
      </p:sp>
      <p:sp>
        <p:nvSpPr>
          <p:cNvPr id="86" name="Marvin Title Tracker Circle"/>
          <p:cNvSpPr/>
          <p:nvPr/>
        </p:nvSpPr>
        <p:spPr>
          <a:xfrm>
            <a:off x="479371" y="178716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172851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9014719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47" name="think-cell Slide" r:id="rId18" imgW="526" imgH="526" progId="TCLayout.ActiveDocument.1">
                  <p:embed/>
                </p:oleObj>
              </mc:Choice>
              <mc:Fallback>
                <p:oleObj name="think-cell Slide" r:id="rId18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8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4071" y="1992045"/>
            <a:ext cx="2513715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efine clear key performance measure (KPM) goals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evelop planning targets for each District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Align with strategic objectives and support compliance with State Legislative requirements</a:t>
            </a:r>
            <a:endParaRPr lang="en-US" dirty="0">
              <a:latin typeface="Franklin Gothic Book"/>
            </a:endParaRPr>
          </a:p>
        </p:txBody>
      </p:sp>
      <p:grpSp>
        <p:nvGrpSpPr>
          <p:cNvPr id="23" name="Flow 66"/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440953" y="708572"/>
            <a:ext cx="2738928" cy="1194775"/>
            <a:chOff x="503236" y="883132"/>
            <a:chExt cx="2619469" cy="914401"/>
          </a:xfrm>
        </p:grpSpPr>
        <p:sp>
          <p:nvSpPr>
            <p:cNvPr id="24" name="Freeform 23"/>
            <p:cNvSpPr/>
            <p:nvPr>
              <p:custDataLst>
                <p:tags r:id="rId14"/>
              </p:custDataLst>
            </p:nvPr>
          </p:nvSpPr>
          <p:spPr bwMode="auto">
            <a:xfrm>
              <a:off x="503236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9" y="0"/>
                  </a:lnTo>
                  <a:lnTo>
                    <a:pt x="1828800" y="457200"/>
                  </a:lnTo>
                  <a:lnTo>
                    <a:pt x="1713889" y="914401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</p:spPr>
          <p:txBody>
            <a:bodyPr wrap="none" rtlCol="0" anchor="ctr">
              <a:noAutofit/>
            </a:bodyPr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27" name="TextBox 9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54036" y="1156856"/>
              <a:ext cx="2404077" cy="341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Plan</a:t>
              </a:r>
            </a:p>
            <a:p>
              <a:pPr algn="ctr"/>
              <a:r>
                <a:rPr lang="en-US" sz="1300" dirty="0">
                  <a:solidFill>
                    <a:schemeClr val="bg1">
                      <a:lumMod val="95000"/>
                    </a:schemeClr>
                  </a:solidFill>
                </a:rPr>
                <a:t>(Performance based planning, PBP)</a:t>
              </a:r>
            </a:p>
          </p:txBody>
        </p:sp>
      </p:grpSp>
      <p:sp>
        <p:nvSpPr>
          <p:cNvPr id="28" name="Rectangle 28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68847" y="1992045"/>
            <a:ext cx="2428366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istricts program a mix of projects to help meet their KPM goals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Manage portfolio to maintain the right volume and mix of projects</a:t>
            </a:r>
          </a:p>
          <a:p>
            <a:pPr lvl="1">
              <a:spcBef>
                <a:spcPct val="50000"/>
              </a:spcBef>
              <a:buClrTx/>
            </a:pPr>
            <a:r>
              <a:rPr lang="en-US" dirty="0" smtClean="0">
                <a:latin typeface="Franklin Gothic Book"/>
              </a:rPr>
              <a:t>Defined meeting cadence standardized throughout state</a:t>
            </a:r>
            <a:endParaRPr lang="en-US" dirty="0">
              <a:latin typeface="Franklin Gothic Book"/>
            </a:endParaRPr>
          </a:p>
        </p:txBody>
      </p:sp>
      <p:grpSp>
        <p:nvGrpSpPr>
          <p:cNvPr id="29" name="Flow 50"/>
          <p:cNvGrpSpPr/>
          <p:nvPr>
            <p:custDataLst>
              <p:tags r:id="rId6"/>
            </p:custDataLst>
          </p:nvPr>
        </p:nvGrpSpPr>
        <p:grpSpPr>
          <a:xfrm>
            <a:off x="3230384" y="708572"/>
            <a:ext cx="2738928" cy="1194775"/>
            <a:chOff x="3171005" y="883132"/>
            <a:chExt cx="2619469" cy="914401"/>
          </a:xfrm>
        </p:grpSpPr>
        <p:sp>
          <p:nvSpPr>
            <p:cNvPr id="30" name="Freeform 29"/>
            <p:cNvSpPr/>
            <p:nvPr>
              <p:custDataLst>
                <p:tags r:id="rId12"/>
              </p:custDataLst>
            </p:nvPr>
          </p:nvSpPr>
          <p:spPr bwMode="auto">
            <a:xfrm>
              <a:off x="3171005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9" y="0"/>
                  </a:lnTo>
                  <a:lnTo>
                    <a:pt x="1828800" y="457200"/>
                  </a:lnTo>
                  <a:lnTo>
                    <a:pt x="1713889" y="914401"/>
                  </a:lnTo>
                  <a:lnTo>
                    <a:pt x="0" y="914400"/>
                  </a:lnTo>
                  <a:lnTo>
                    <a:pt x="114911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31" name="TextBox 9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386397" y="1156870"/>
              <a:ext cx="2239484" cy="341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Manage</a:t>
              </a:r>
            </a:p>
            <a:p>
              <a:pPr algn="ctr"/>
              <a:r>
                <a:rPr lang="en-US" sz="1300" b="1" dirty="0">
                  <a:solidFill>
                    <a:schemeClr val="bg1">
                      <a:lumMod val="95000"/>
                    </a:schemeClr>
                  </a:solidFill>
                </a:rPr>
                <a:t>(Quarterly review process, QRP)</a:t>
              </a:r>
            </a:p>
          </p:txBody>
        </p:sp>
      </p:grpSp>
      <p:sp>
        <p:nvSpPr>
          <p:cNvPr id="13" name="Rectangle 28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24997" y="1992031"/>
            <a:ext cx="2461649" cy="2659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Standardized workflow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Track projects from start to finish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Defined roles and responsibilities 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Pro-active collaboration</a:t>
            </a:r>
          </a:p>
          <a:p>
            <a:pPr lvl="1">
              <a:spcBef>
                <a:spcPct val="20000"/>
              </a:spcBef>
              <a:buClrTx/>
            </a:pPr>
            <a:r>
              <a:rPr lang="en-US" dirty="0" smtClean="0">
                <a:latin typeface="Franklin Gothic Book"/>
              </a:rPr>
              <a:t>Individual projects are delivered on time and at budgeted cost to minimize delays and cost overruns</a:t>
            </a:r>
          </a:p>
        </p:txBody>
      </p:sp>
      <p:grpSp>
        <p:nvGrpSpPr>
          <p:cNvPr id="10" name="Flow 90"/>
          <p:cNvGrpSpPr/>
          <p:nvPr>
            <p:custDataLst>
              <p:tags r:id="rId8"/>
            </p:custDataLst>
          </p:nvPr>
        </p:nvGrpSpPr>
        <p:grpSpPr>
          <a:xfrm>
            <a:off x="6019816" y="708572"/>
            <a:ext cx="2738928" cy="1194775"/>
            <a:chOff x="5838774" y="883132"/>
            <a:chExt cx="2619469" cy="914401"/>
          </a:xfrm>
        </p:grpSpPr>
        <p:sp>
          <p:nvSpPr>
            <p:cNvPr id="11" name="Freeform 10"/>
            <p:cNvSpPr/>
            <p:nvPr>
              <p:custDataLst>
                <p:tags r:id="rId10"/>
              </p:custDataLst>
            </p:nvPr>
          </p:nvSpPr>
          <p:spPr bwMode="auto">
            <a:xfrm>
              <a:off x="5838774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8" y="0"/>
                  </a:lnTo>
                  <a:lnTo>
                    <a:pt x="1828800" y="457200"/>
                  </a:lnTo>
                  <a:lnTo>
                    <a:pt x="1713888" y="914401"/>
                  </a:lnTo>
                  <a:lnTo>
                    <a:pt x="0" y="914400"/>
                  </a:lnTo>
                  <a:lnTo>
                    <a:pt x="114911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12" name="TextBox 9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054166" y="1080306"/>
              <a:ext cx="2239484" cy="4946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 smtClean="0">
                  <a:solidFill>
                    <a:schemeClr val="bg1">
                      <a:lumMod val="95000"/>
                    </a:schemeClr>
                  </a:solidFill>
                  <a:latin typeface="Franklin Gothic Book"/>
                </a:rPr>
                <a:t>Deliver</a:t>
              </a:r>
            </a:p>
            <a:p>
              <a:pPr algn="ctr"/>
              <a:r>
                <a:rPr lang="en-US" sz="1300" b="1" dirty="0">
                  <a:solidFill>
                    <a:schemeClr val="bg1">
                      <a:lumMod val="95000"/>
                    </a:schemeClr>
                  </a:solidFill>
                  <a:latin typeface="Franklin Gothic Book"/>
                </a:rPr>
                <a:t>(Project Delivery and Governance, PD&amp;G)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</p:spPr>
        <p:txBody>
          <a:bodyPr/>
          <a:lstStyle/>
          <a:p>
            <a:pPr marL="366385">
              <a:tabLst/>
            </a:pPr>
            <a:r>
              <a:rPr lang="en-US" dirty="0"/>
              <a:t>Successful project delivery through </a:t>
            </a:r>
            <a:r>
              <a:rPr lang="en-US" dirty="0" smtClean="0"/>
              <a:t>PD&amp;G </a:t>
            </a:r>
            <a:endParaRPr lang="en-US" dirty="0"/>
          </a:p>
        </p:txBody>
      </p:sp>
      <p:sp>
        <p:nvSpPr>
          <p:cNvPr id="37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C</a:t>
            </a:r>
          </a:p>
        </p:txBody>
      </p:sp>
      <p:sp>
        <p:nvSpPr>
          <p:cNvPr id="32" name="Rectangle 3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49284" y="501355"/>
            <a:ext cx="5850249" cy="4149866"/>
          </a:xfrm>
          <a:prstGeom prst="rect">
            <a:avLst/>
          </a:prstGeom>
          <a:solidFill>
            <a:schemeClr val="bg2">
              <a:alpha val="91000"/>
            </a:schemeClr>
          </a:solidFill>
          <a:ln w="9525">
            <a:solidFill>
              <a:schemeClr val="bg2">
                <a:alpha val="7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501" tIns="72501" rIns="72501" bIns="72501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4738" eaLnBrk="1" hangingPunct="1">
              <a:buClr>
                <a:schemeClr val="tx2"/>
              </a:buClr>
              <a:defRPr sz="1524" baseline="0">
                <a:latin typeface="+mn-lt"/>
                <a:cs typeface="Arial"/>
              </a:defRPr>
            </a:lvl1pPr>
            <a:lvl2pPr marL="193543" indent="-191957" defTabSz="89473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24" baseline="0">
                <a:latin typeface="+mn-lt"/>
              </a:defRPr>
            </a:lvl2pPr>
            <a:lvl3pPr marL="456888" indent="-261760" defTabSz="89473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24" baseline="0">
                <a:latin typeface="+mn-lt"/>
              </a:defRPr>
            </a:lvl3pPr>
            <a:lvl4pPr marL="613945" indent="-155468" defTabSz="89473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24" baseline="0">
                <a:latin typeface="+mn-lt"/>
              </a:defRPr>
            </a:lvl4pPr>
            <a:lvl5pPr marL="749297" indent="-130086" defTabSz="89473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24" baseline="0">
                <a:latin typeface="+mn-lt"/>
              </a:defRPr>
            </a:lvl5pPr>
            <a:lvl6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6pPr>
            <a:lvl7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7pPr>
            <a:lvl8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8pPr>
            <a:lvl9pPr marL="749297" indent="-130086" defTabSz="8947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19" baseline="0">
                <a:latin typeface="+mn-lt"/>
              </a:defRPr>
            </a:lvl9pPr>
          </a:lstStyle>
          <a:p>
            <a:pPr>
              <a:buClr>
                <a:srgbClr val="132A53"/>
              </a:buClr>
            </a:pPr>
            <a:endParaRPr lang="en-US" sz="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11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2442" name="think-cell Slide" r:id="rId20" imgW="353" imgH="353" progId="TCLayout.ActiveDocument.1">
                  <p:embed/>
                </p:oleObj>
              </mc:Choice>
              <mc:Fallback>
                <p:oleObj name="think-cell Slide" r:id="rId20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3" name="Group 32"/>
          <p:cNvGrpSpPr/>
          <p:nvPr/>
        </p:nvGrpSpPr>
        <p:grpSpPr>
          <a:xfrm>
            <a:off x="0" y="908318"/>
            <a:ext cx="9144000" cy="486719"/>
            <a:chOff x="0" y="895350"/>
            <a:chExt cx="9144000" cy="486719"/>
          </a:xfrm>
        </p:grpSpPr>
        <p:sp>
          <p:nvSpPr>
            <p:cNvPr id="34" name="Rectangle 33"/>
            <p:cNvSpPr>
              <a:spLocks/>
            </p:cNvSpPr>
            <p:nvPr/>
          </p:nvSpPr>
          <p:spPr>
            <a:xfrm>
              <a:off x="0" y="895350"/>
              <a:ext cx="9144000" cy="486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39" name="Straight Connector 38"/>
            <p:cNvCxnSpPr>
              <a:cxnSpLocks/>
            </p:cNvCxnSpPr>
            <p:nvPr/>
          </p:nvCxnSpPr>
          <p:spPr>
            <a:xfrm>
              <a:off x="0" y="895350"/>
              <a:ext cx="9144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7839"/>
            <a:r>
              <a:rPr lang="en-US" dirty="0"/>
              <a:t>Successful project delivery through PD&amp;G</a:t>
            </a:r>
          </a:p>
        </p:txBody>
      </p:sp>
      <p:sp>
        <p:nvSpPr>
          <p:cNvPr id="10" name="Rectangle 1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0877" y="987402"/>
            <a:ext cx="2115412" cy="2890217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12" tIns="46606" rIns="93212" bIns="46606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2" name="Rectangle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46692" y="1097795"/>
            <a:ext cx="1983782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sz="1600" b="1">
                <a:solidFill>
                  <a:schemeClr val="accent2"/>
                </a:solidFill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dirty="0"/>
              <a:t>Early involvement</a:t>
            </a:r>
          </a:p>
        </p:txBody>
      </p:sp>
      <p:sp>
        <p:nvSpPr>
          <p:cNvPr id="13" name="Rectangle 87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46692" y="1421311"/>
            <a:ext cx="1983782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600" dirty="0"/>
              <a:t>Involve all stakeholders early in the project development and delivery process to avoid delays later in the project</a:t>
            </a:r>
          </a:p>
        </p:txBody>
      </p:sp>
      <p:sp>
        <p:nvSpPr>
          <p:cNvPr id="40" name="Rectangle 1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403155" y="987403"/>
            <a:ext cx="2115412" cy="2890217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12" tIns="46606" rIns="93212" bIns="46606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2" name="Rectangle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468970" y="1097783"/>
            <a:ext cx="1983782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accent2"/>
                </a:solidFill>
              </a:rPr>
              <a:t>Collaboration</a:t>
            </a:r>
          </a:p>
        </p:txBody>
      </p:sp>
      <p:sp>
        <p:nvSpPr>
          <p:cNvPr id="43" name="Rectangle 87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468971" y="1421306"/>
            <a:ext cx="2041401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n-US" sz="1600" dirty="0">
                <a:solidFill>
                  <a:srgbClr val="000000"/>
                </a:solidFill>
              </a:rPr>
              <a:t>Ensure all stakeholders are collaborating to effectively deliver projects on time and on budget</a:t>
            </a:r>
          </a:p>
        </p:txBody>
      </p:sp>
      <p:sp>
        <p:nvSpPr>
          <p:cNvPr id="45" name="Rectangle 1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625433" y="987403"/>
            <a:ext cx="2115412" cy="2890217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12" tIns="46606" rIns="93212" bIns="46606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47" name="Rectangle 5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691248" y="1097783"/>
            <a:ext cx="1983782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accent2"/>
                </a:solidFill>
              </a:rPr>
              <a:t>Parallel processing</a:t>
            </a:r>
          </a:p>
        </p:txBody>
      </p:sp>
      <p:sp>
        <p:nvSpPr>
          <p:cNvPr id="48" name="Rectangle 87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691248" y="1421307"/>
            <a:ext cx="1983782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n-US" sz="1600" dirty="0"/>
              <a:t>Perform multiple key tasks concurrently (in parallel) to streamline project delivery</a:t>
            </a:r>
          </a:p>
        </p:txBody>
      </p:sp>
      <p:sp>
        <p:nvSpPr>
          <p:cNvPr id="50" name="Rectangle 1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847711" y="987403"/>
            <a:ext cx="2115412" cy="2890217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12" tIns="46606" rIns="93212" bIns="46606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sz="16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2" name="Rectangle 5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6913526" y="1097783"/>
            <a:ext cx="1983782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accent2"/>
                </a:solidFill>
              </a:rPr>
              <a:t>Visibility</a:t>
            </a:r>
          </a:p>
        </p:txBody>
      </p:sp>
      <p:sp>
        <p:nvSpPr>
          <p:cNvPr id="53" name="Rectangle 87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913526" y="1421320"/>
            <a:ext cx="1983782" cy="1760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n-US" sz="1600" dirty="0"/>
              <a:t>Provide the ability for all stakeholders to see project status on all tasks and be aware of all issues from project beginning to project end</a:t>
            </a: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180877" y="619239"/>
            <a:ext cx="878224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accent2"/>
                </a:solidFill>
              </a:rPr>
              <a:t>There are four guiding principles that ensure successful project delivery: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28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C</a:t>
            </a:r>
          </a:p>
        </p:txBody>
      </p:sp>
      <p:sp>
        <p:nvSpPr>
          <p:cNvPr id="23" name="Rectangle 87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055448" y="4001986"/>
            <a:ext cx="5121133" cy="640678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3401" tIns="73401" rIns="73401" bIns="73401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algn="ctr" defTabSz="895350" eaLnBrk="1" hangingPunct="1">
              <a:spcBef>
                <a:spcPct val="50000"/>
              </a:spcBef>
              <a:buClr>
                <a:schemeClr val="lt1"/>
              </a:buClr>
              <a:buSzPct val="125000"/>
              <a:buFont typeface="Arial" charset="0"/>
              <a:buNone/>
              <a:defRPr sz="1600" b="1" baseline="0">
                <a:solidFill>
                  <a:schemeClr val="lt1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algn="l"/>
            <a:r>
              <a:rPr lang="en-US" dirty="0"/>
              <a:t>Successful project delivery occurs when </a:t>
            </a:r>
            <a:r>
              <a:rPr lang="en-US" dirty="0" smtClean="0"/>
              <a:t>a project </a:t>
            </a:r>
            <a:r>
              <a:rPr lang="en-US" dirty="0"/>
              <a:t>is let on schedule and open to the public on time and on budget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236773" y="1369403"/>
            <a:ext cx="2003620" cy="0"/>
          </a:xfrm>
          <a:prstGeom prst="straightConnector1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>
            <a:off x="2459051" y="1369403"/>
            <a:ext cx="2003620" cy="0"/>
          </a:xfrm>
          <a:prstGeom prst="straightConnector1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4681329" y="1369403"/>
            <a:ext cx="2003620" cy="0"/>
          </a:xfrm>
          <a:prstGeom prst="straightConnector1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6903607" y="1369403"/>
            <a:ext cx="2003620" cy="0"/>
          </a:xfrm>
          <a:prstGeom prst="straightConnector1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/>
          <p:cNvGrpSpPr/>
          <p:nvPr/>
        </p:nvGrpSpPr>
        <p:grpSpPr>
          <a:xfrm>
            <a:off x="1902104" y="1117919"/>
            <a:ext cx="338289" cy="177736"/>
            <a:chOff x="3949080" y="4210929"/>
            <a:chExt cx="1381556" cy="725868"/>
          </a:xfrm>
          <a:solidFill>
            <a:srgbClr val="5A6B7D"/>
          </a:solidFill>
        </p:grpSpPr>
        <p:sp>
          <p:nvSpPr>
            <p:cNvPr id="49" name="Freeform 394"/>
            <p:cNvSpPr>
              <a:spLocks/>
            </p:cNvSpPr>
            <p:nvPr/>
          </p:nvSpPr>
          <p:spPr bwMode="gray">
            <a:xfrm>
              <a:off x="3949080" y="4500163"/>
              <a:ext cx="264532" cy="436634"/>
            </a:xfrm>
            <a:custGeom>
              <a:avLst/>
              <a:gdLst>
                <a:gd name="T0" fmla="*/ 32 w 334"/>
                <a:gd name="T1" fmla="*/ 532 h 532"/>
                <a:gd name="T2" fmla="*/ 65 w 334"/>
                <a:gd name="T3" fmla="*/ 500 h 532"/>
                <a:gd name="T4" fmla="*/ 47 w 334"/>
                <a:gd name="T5" fmla="*/ 471 h 532"/>
                <a:gd name="T6" fmla="*/ 47 w 334"/>
                <a:gd name="T7" fmla="*/ 459 h 532"/>
                <a:gd name="T8" fmla="*/ 150 w 334"/>
                <a:gd name="T9" fmla="*/ 425 h 532"/>
                <a:gd name="T10" fmla="*/ 154 w 334"/>
                <a:gd name="T11" fmla="*/ 469 h 532"/>
                <a:gd name="T12" fmla="*/ 133 w 334"/>
                <a:gd name="T13" fmla="*/ 500 h 532"/>
                <a:gd name="T14" fmla="*/ 165 w 334"/>
                <a:gd name="T15" fmla="*/ 532 h 532"/>
                <a:gd name="T16" fmla="*/ 198 w 334"/>
                <a:gd name="T17" fmla="*/ 500 h 532"/>
                <a:gd name="T18" fmla="*/ 180 w 334"/>
                <a:gd name="T19" fmla="*/ 471 h 532"/>
                <a:gd name="T20" fmla="*/ 184 w 334"/>
                <a:gd name="T21" fmla="*/ 425 h 532"/>
                <a:gd name="T22" fmla="*/ 269 w 334"/>
                <a:gd name="T23" fmla="*/ 444 h 532"/>
                <a:gd name="T24" fmla="*/ 286 w 334"/>
                <a:gd name="T25" fmla="*/ 456 h 532"/>
                <a:gd name="T26" fmla="*/ 288 w 334"/>
                <a:gd name="T27" fmla="*/ 459 h 532"/>
                <a:gd name="T28" fmla="*/ 288 w 334"/>
                <a:gd name="T29" fmla="*/ 470 h 532"/>
                <a:gd name="T30" fmla="*/ 269 w 334"/>
                <a:gd name="T31" fmla="*/ 500 h 532"/>
                <a:gd name="T32" fmla="*/ 301 w 334"/>
                <a:gd name="T33" fmla="*/ 532 h 532"/>
                <a:gd name="T34" fmla="*/ 334 w 334"/>
                <a:gd name="T35" fmla="*/ 500 h 532"/>
                <a:gd name="T36" fmla="*/ 312 w 334"/>
                <a:gd name="T37" fmla="*/ 470 h 532"/>
                <a:gd name="T38" fmla="*/ 312 w 334"/>
                <a:gd name="T39" fmla="*/ 451 h 532"/>
                <a:gd name="T40" fmla="*/ 310 w 334"/>
                <a:gd name="T41" fmla="*/ 448 h 532"/>
                <a:gd name="T42" fmla="*/ 186 w 334"/>
                <a:gd name="T43" fmla="*/ 401 h 532"/>
                <a:gd name="T44" fmla="*/ 193 w 334"/>
                <a:gd name="T45" fmla="*/ 326 h 532"/>
                <a:gd name="T46" fmla="*/ 306 w 334"/>
                <a:gd name="T47" fmla="*/ 326 h 532"/>
                <a:gd name="T48" fmla="*/ 318 w 334"/>
                <a:gd name="T49" fmla="*/ 314 h 532"/>
                <a:gd name="T50" fmla="*/ 318 w 334"/>
                <a:gd name="T51" fmla="*/ 269 h 532"/>
                <a:gd name="T52" fmla="*/ 306 w 334"/>
                <a:gd name="T53" fmla="*/ 257 h 532"/>
                <a:gd name="T54" fmla="*/ 165 w 334"/>
                <a:gd name="T55" fmla="*/ 268 h 532"/>
                <a:gd name="T56" fmla="*/ 73 w 334"/>
                <a:gd name="T57" fmla="*/ 263 h 532"/>
                <a:gd name="T58" fmla="*/ 64 w 334"/>
                <a:gd name="T59" fmla="*/ 209 h 532"/>
                <a:gd name="T60" fmla="*/ 87 w 334"/>
                <a:gd name="T61" fmla="*/ 12 h 532"/>
                <a:gd name="T62" fmla="*/ 75 w 334"/>
                <a:gd name="T63" fmla="*/ 0 h 532"/>
                <a:gd name="T64" fmla="*/ 22 w 334"/>
                <a:gd name="T65" fmla="*/ 0 h 532"/>
                <a:gd name="T66" fmla="*/ 10 w 334"/>
                <a:gd name="T67" fmla="*/ 12 h 532"/>
                <a:gd name="T68" fmla="*/ 10 w 334"/>
                <a:gd name="T69" fmla="*/ 314 h 532"/>
                <a:gd name="T70" fmla="*/ 22 w 334"/>
                <a:gd name="T71" fmla="*/ 326 h 532"/>
                <a:gd name="T72" fmla="*/ 46 w 334"/>
                <a:gd name="T73" fmla="*/ 326 h 532"/>
                <a:gd name="T74" fmla="*/ 75 w 334"/>
                <a:gd name="T75" fmla="*/ 326 h 532"/>
                <a:gd name="T76" fmla="*/ 142 w 334"/>
                <a:gd name="T77" fmla="*/ 326 h 532"/>
                <a:gd name="T78" fmla="*/ 148 w 334"/>
                <a:gd name="T79" fmla="*/ 401 h 532"/>
                <a:gd name="T80" fmla="*/ 24 w 334"/>
                <a:gd name="T81" fmla="*/ 448 h 532"/>
                <a:gd name="T82" fmla="*/ 23 w 334"/>
                <a:gd name="T83" fmla="*/ 451 h 532"/>
                <a:gd name="T84" fmla="*/ 23 w 334"/>
                <a:gd name="T85" fmla="*/ 469 h 532"/>
                <a:gd name="T86" fmla="*/ 0 w 334"/>
                <a:gd name="T87" fmla="*/ 500 h 532"/>
                <a:gd name="T88" fmla="*/ 32 w 334"/>
                <a:gd name="T89" fmla="*/ 532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4" h="532">
                  <a:moveTo>
                    <a:pt x="32" y="532"/>
                  </a:moveTo>
                  <a:cubicBezTo>
                    <a:pt x="50" y="532"/>
                    <a:pt x="65" y="518"/>
                    <a:pt x="65" y="500"/>
                  </a:cubicBezTo>
                  <a:cubicBezTo>
                    <a:pt x="65" y="487"/>
                    <a:pt x="57" y="476"/>
                    <a:pt x="47" y="471"/>
                  </a:cubicBezTo>
                  <a:cubicBezTo>
                    <a:pt x="47" y="459"/>
                    <a:pt x="47" y="459"/>
                    <a:pt x="47" y="459"/>
                  </a:cubicBezTo>
                  <a:cubicBezTo>
                    <a:pt x="53" y="451"/>
                    <a:pt x="78" y="428"/>
                    <a:pt x="150" y="425"/>
                  </a:cubicBezTo>
                  <a:cubicBezTo>
                    <a:pt x="154" y="469"/>
                    <a:pt x="154" y="469"/>
                    <a:pt x="154" y="469"/>
                  </a:cubicBezTo>
                  <a:cubicBezTo>
                    <a:pt x="142" y="474"/>
                    <a:pt x="133" y="486"/>
                    <a:pt x="133" y="500"/>
                  </a:cubicBezTo>
                  <a:cubicBezTo>
                    <a:pt x="133" y="518"/>
                    <a:pt x="147" y="532"/>
                    <a:pt x="165" y="532"/>
                  </a:cubicBezTo>
                  <a:cubicBezTo>
                    <a:pt x="183" y="532"/>
                    <a:pt x="198" y="518"/>
                    <a:pt x="198" y="500"/>
                  </a:cubicBezTo>
                  <a:cubicBezTo>
                    <a:pt x="198" y="487"/>
                    <a:pt x="191" y="477"/>
                    <a:pt x="180" y="471"/>
                  </a:cubicBezTo>
                  <a:cubicBezTo>
                    <a:pt x="184" y="425"/>
                    <a:pt x="184" y="425"/>
                    <a:pt x="184" y="425"/>
                  </a:cubicBezTo>
                  <a:cubicBezTo>
                    <a:pt x="227" y="427"/>
                    <a:pt x="253" y="436"/>
                    <a:pt x="269" y="444"/>
                  </a:cubicBezTo>
                  <a:cubicBezTo>
                    <a:pt x="277" y="449"/>
                    <a:pt x="283" y="453"/>
                    <a:pt x="286" y="456"/>
                  </a:cubicBezTo>
                  <a:cubicBezTo>
                    <a:pt x="287" y="457"/>
                    <a:pt x="288" y="458"/>
                    <a:pt x="288" y="459"/>
                  </a:cubicBezTo>
                  <a:cubicBezTo>
                    <a:pt x="288" y="470"/>
                    <a:pt x="288" y="470"/>
                    <a:pt x="288" y="470"/>
                  </a:cubicBezTo>
                  <a:cubicBezTo>
                    <a:pt x="277" y="475"/>
                    <a:pt x="269" y="487"/>
                    <a:pt x="269" y="500"/>
                  </a:cubicBezTo>
                  <a:cubicBezTo>
                    <a:pt x="269" y="518"/>
                    <a:pt x="283" y="532"/>
                    <a:pt x="301" y="532"/>
                  </a:cubicBezTo>
                  <a:cubicBezTo>
                    <a:pt x="319" y="532"/>
                    <a:pt x="334" y="518"/>
                    <a:pt x="334" y="500"/>
                  </a:cubicBezTo>
                  <a:cubicBezTo>
                    <a:pt x="334" y="486"/>
                    <a:pt x="325" y="474"/>
                    <a:pt x="312" y="470"/>
                  </a:cubicBezTo>
                  <a:cubicBezTo>
                    <a:pt x="312" y="451"/>
                    <a:pt x="312" y="451"/>
                    <a:pt x="312" y="451"/>
                  </a:cubicBezTo>
                  <a:cubicBezTo>
                    <a:pt x="310" y="448"/>
                    <a:pt x="310" y="448"/>
                    <a:pt x="310" y="448"/>
                  </a:cubicBezTo>
                  <a:cubicBezTo>
                    <a:pt x="309" y="445"/>
                    <a:pt x="282" y="405"/>
                    <a:pt x="186" y="401"/>
                  </a:cubicBezTo>
                  <a:cubicBezTo>
                    <a:pt x="193" y="326"/>
                    <a:pt x="193" y="326"/>
                    <a:pt x="193" y="326"/>
                  </a:cubicBezTo>
                  <a:cubicBezTo>
                    <a:pt x="306" y="326"/>
                    <a:pt x="306" y="326"/>
                    <a:pt x="306" y="326"/>
                  </a:cubicBezTo>
                  <a:cubicBezTo>
                    <a:pt x="313" y="326"/>
                    <a:pt x="318" y="320"/>
                    <a:pt x="318" y="314"/>
                  </a:cubicBezTo>
                  <a:cubicBezTo>
                    <a:pt x="318" y="269"/>
                    <a:pt x="318" y="269"/>
                    <a:pt x="318" y="269"/>
                  </a:cubicBezTo>
                  <a:cubicBezTo>
                    <a:pt x="318" y="263"/>
                    <a:pt x="313" y="257"/>
                    <a:pt x="306" y="257"/>
                  </a:cubicBezTo>
                  <a:cubicBezTo>
                    <a:pt x="306" y="257"/>
                    <a:pt x="258" y="268"/>
                    <a:pt x="165" y="268"/>
                  </a:cubicBezTo>
                  <a:cubicBezTo>
                    <a:pt x="120" y="268"/>
                    <a:pt x="91" y="265"/>
                    <a:pt x="73" y="263"/>
                  </a:cubicBezTo>
                  <a:cubicBezTo>
                    <a:pt x="69" y="246"/>
                    <a:pt x="66" y="227"/>
                    <a:pt x="64" y="209"/>
                  </a:cubicBezTo>
                  <a:cubicBezTo>
                    <a:pt x="59" y="157"/>
                    <a:pt x="87" y="12"/>
                    <a:pt x="87" y="12"/>
                  </a:cubicBezTo>
                  <a:cubicBezTo>
                    <a:pt x="87" y="5"/>
                    <a:pt x="81" y="0"/>
                    <a:pt x="7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6" y="0"/>
                    <a:pt x="10" y="5"/>
                    <a:pt x="10" y="12"/>
                  </a:cubicBezTo>
                  <a:cubicBezTo>
                    <a:pt x="10" y="314"/>
                    <a:pt x="10" y="314"/>
                    <a:pt x="10" y="314"/>
                  </a:cubicBezTo>
                  <a:cubicBezTo>
                    <a:pt x="10" y="320"/>
                    <a:pt x="16" y="326"/>
                    <a:pt x="22" y="326"/>
                  </a:cubicBezTo>
                  <a:cubicBezTo>
                    <a:pt x="46" y="326"/>
                    <a:pt x="46" y="326"/>
                    <a:pt x="46" y="326"/>
                  </a:cubicBezTo>
                  <a:cubicBezTo>
                    <a:pt x="75" y="326"/>
                    <a:pt x="75" y="326"/>
                    <a:pt x="75" y="326"/>
                  </a:cubicBezTo>
                  <a:cubicBezTo>
                    <a:pt x="142" y="326"/>
                    <a:pt x="142" y="326"/>
                    <a:pt x="142" y="326"/>
                  </a:cubicBezTo>
                  <a:cubicBezTo>
                    <a:pt x="148" y="401"/>
                    <a:pt x="148" y="401"/>
                    <a:pt x="148" y="401"/>
                  </a:cubicBezTo>
                  <a:cubicBezTo>
                    <a:pt x="53" y="405"/>
                    <a:pt x="26" y="445"/>
                    <a:pt x="24" y="448"/>
                  </a:cubicBezTo>
                  <a:cubicBezTo>
                    <a:pt x="23" y="451"/>
                    <a:pt x="23" y="451"/>
                    <a:pt x="23" y="451"/>
                  </a:cubicBezTo>
                  <a:cubicBezTo>
                    <a:pt x="23" y="469"/>
                    <a:pt x="23" y="469"/>
                    <a:pt x="23" y="469"/>
                  </a:cubicBezTo>
                  <a:cubicBezTo>
                    <a:pt x="9" y="473"/>
                    <a:pt x="0" y="486"/>
                    <a:pt x="0" y="500"/>
                  </a:cubicBezTo>
                  <a:cubicBezTo>
                    <a:pt x="0" y="518"/>
                    <a:pt x="15" y="532"/>
                    <a:pt x="32" y="5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55" name="Freeform 395"/>
            <p:cNvSpPr>
              <a:spLocks/>
            </p:cNvSpPr>
            <p:nvPr/>
          </p:nvSpPr>
          <p:spPr bwMode="gray">
            <a:xfrm>
              <a:off x="4048954" y="4363890"/>
              <a:ext cx="261832" cy="542315"/>
            </a:xfrm>
            <a:custGeom>
              <a:avLst/>
              <a:gdLst>
                <a:gd name="T0" fmla="*/ 86 w 327"/>
                <a:gd name="T1" fmla="*/ 412 h 659"/>
                <a:gd name="T2" fmla="*/ 93 w 327"/>
                <a:gd name="T3" fmla="*/ 412 h 659"/>
                <a:gd name="T4" fmla="*/ 228 w 327"/>
                <a:gd name="T5" fmla="*/ 414 h 659"/>
                <a:gd name="T6" fmla="*/ 264 w 327"/>
                <a:gd name="T7" fmla="*/ 633 h 659"/>
                <a:gd name="T8" fmla="*/ 276 w 327"/>
                <a:gd name="T9" fmla="*/ 659 h 659"/>
                <a:gd name="T10" fmla="*/ 327 w 327"/>
                <a:gd name="T11" fmla="*/ 400 h 659"/>
                <a:gd name="T12" fmla="*/ 320 w 327"/>
                <a:gd name="T13" fmla="*/ 356 h 659"/>
                <a:gd name="T14" fmla="*/ 294 w 327"/>
                <a:gd name="T15" fmla="*/ 319 h 659"/>
                <a:gd name="T16" fmla="*/ 276 w 327"/>
                <a:gd name="T17" fmla="*/ 319 h 659"/>
                <a:gd name="T18" fmla="*/ 261 w 327"/>
                <a:gd name="T19" fmla="*/ 314 h 659"/>
                <a:gd name="T20" fmla="*/ 161 w 327"/>
                <a:gd name="T21" fmla="*/ 313 h 659"/>
                <a:gd name="T22" fmla="*/ 187 w 327"/>
                <a:gd name="T23" fmla="*/ 178 h 659"/>
                <a:gd name="T24" fmla="*/ 153 w 327"/>
                <a:gd name="T25" fmla="*/ 154 h 659"/>
                <a:gd name="T26" fmla="*/ 110 w 327"/>
                <a:gd name="T27" fmla="*/ 103 h 659"/>
                <a:gd name="T28" fmla="*/ 107 w 327"/>
                <a:gd name="T29" fmla="*/ 72 h 659"/>
                <a:gd name="T30" fmla="*/ 126 w 327"/>
                <a:gd name="T31" fmla="*/ 49 h 659"/>
                <a:gd name="T32" fmla="*/ 145 w 327"/>
                <a:gd name="T33" fmla="*/ 44 h 659"/>
                <a:gd name="T34" fmla="*/ 181 w 327"/>
                <a:gd name="T35" fmla="*/ 65 h 659"/>
                <a:gd name="T36" fmla="*/ 181 w 327"/>
                <a:gd name="T37" fmla="*/ 66 h 659"/>
                <a:gd name="T38" fmla="*/ 186 w 327"/>
                <a:gd name="T39" fmla="*/ 73 h 659"/>
                <a:gd name="T40" fmla="*/ 186 w 327"/>
                <a:gd name="T41" fmla="*/ 73 h 659"/>
                <a:gd name="T42" fmla="*/ 205 w 327"/>
                <a:gd name="T43" fmla="*/ 94 h 659"/>
                <a:gd name="T44" fmla="*/ 211 w 327"/>
                <a:gd name="T45" fmla="*/ 98 h 659"/>
                <a:gd name="T46" fmla="*/ 213 w 327"/>
                <a:gd name="T47" fmla="*/ 100 h 659"/>
                <a:gd name="T48" fmla="*/ 210 w 327"/>
                <a:gd name="T49" fmla="*/ 85 h 659"/>
                <a:gd name="T50" fmla="*/ 178 w 327"/>
                <a:gd name="T51" fmla="*/ 27 h 659"/>
                <a:gd name="T52" fmla="*/ 55 w 327"/>
                <a:gd name="T53" fmla="*/ 78 h 659"/>
                <a:gd name="T54" fmla="*/ 1 w 327"/>
                <a:gd name="T55" fmla="*/ 312 h 659"/>
                <a:gd name="T56" fmla="*/ 86 w 327"/>
                <a:gd name="T57" fmla="*/ 412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7" h="659">
                  <a:moveTo>
                    <a:pt x="86" y="412"/>
                  </a:moveTo>
                  <a:cubicBezTo>
                    <a:pt x="88" y="412"/>
                    <a:pt x="91" y="412"/>
                    <a:pt x="93" y="412"/>
                  </a:cubicBezTo>
                  <a:cubicBezTo>
                    <a:pt x="228" y="414"/>
                    <a:pt x="228" y="414"/>
                    <a:pt x="228" y="414"/>
                  </a:cubicBezTo>
                  <a:cubicBezTo>
                    <a:pt x="264" y="633"/>
                    <a:pt x="264" y="633"/>
                    <a:pt x="264" y="633"/>
                  </a:cubicBezTo>
                  <a:cubicBezTo>
                    <a:pt x="266" y="643"/>
                    <a:pt x="270" y="652"/>
                    <a:pt x="276" y="659"/>
                  </a:cubicBezTo>
                  <a:cubicBezTo>
                    <a:pt x="282" y="573"/>
                    <a:pt x="306" y="473"/>
                    <a:pt x="327" y="400"/>
                  </a:cubicBezTo>
                  <a:cubicBezTo>
                    <a:pt x="320" y="356"/>
                    <a:pt x="320" y="356"/>
                    <a:pt x="320" y="356"/>
                  </a:cubicBezTo>
                  <a:cubicBezTo>
                    <a:pt x="318" y="340"/>
                    <a:pt x="307" y="327"/>
                    <a:pt x="294" y="319"/>
                  </a:cubicBezTo>
                  <a:cubicBezTo>
                    <a:pt x="276" y="319"/>
                    <a:pt x="276" y="319"/>
                    <a:pt x="276" y="319"/>
                  </a:cubicBezTo>
                  <a:cubicBezTo>
                    <a:pt x="270" y="319"/>
                    <a:pt x="265" y="317"/>
                    <a:pt x="261" y="314"/>
                  </a:cubicBezTo>
                  <a:cubicBezTo>
                    <a:pt x="161" y="313"/>
                    <a:pt x="161" y="313"/>
                    <a:pt x="161" y="313"/>
                  </a:cubicBezTo>
                  <a:cubicBezTo>
                    <a:pt x="162" y="267"/>
                    <a:pt x="171" y="221"/>
                    <a:pt x="187" y="178"/>
                  </a:cubicBezTo>
                  <a:cubicBezTo>
                    <a:pt x="173" y="170"/>
                    <a:pt x="161" y="161"/>
                    <a:pt x="153" y="154"/>
                  </a:cubicBezTo>
                  <a:cubicBezTo>
                    <a:pt x="128" y="132"/>
                    <a:pt x="115" y="111"/>
                    <a:pt x="110" y="103"/>
                  </a:cubicBezTo>
                  <a:cubicBezTo>
                    <a:pt x="105" y="93"/>
                    <a:pt x="104" y="82"/>
                    <a:pt x="107" y="72"/>
                  </a:cubicBezTo>
                  <a:cubicBezTo>
                    <a:pt x="110" y="62"/>
                    <a:pt x="117" y="54"/>
                    <a:pt x="126" y="49"/>
                  </a:cubicBezTo>
                  <a:cubicBezTo>
                    <a:pt x="132" y="45"/>
                    <a:pt x="139" y="44"/>
                    <a:pt x="145" y="44"/>
                  </a:cubicBezTo>
                  <a:cubicBezTo>
                    <a:pt x="160" y="44"/>
                    <a:pt x="174" y="52"/>
                    <a:pt x="181" y="65"/>
                  </a:cubicBezTo>
                  <a:cubicBezTo>
                    <a:pt x="181" y="65"/>
                    <a:pt x="181" y="66"/>
                    <a:pt x="181" y="66"/>
                  </a:cubicBezTo>
                  <a:cubicBezTo>
                    <a:pt x="182" y="67"/>
                    <a:pt x="183" y="70"/>
                    <a:pt x="186" y="73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90" y="78"/>
                    <a:pt x="196" y="86"/>
                    <a:pt x="205" y="94"/>
                  </a:cubicBezTo>
                  <a:cubicBezTo>
                    <a:pt x="207" y="95"/>
                    <a:pt x="209" y="96"/>
                    <a:pt x="211" y="98"/>
                  </a:cubicBezTo>
                  <a:cubicBezTo>
                    <a:pt x="211" y="98"/>
                    <a:pt x="212" y="99"/>
                    <a:pt x="213" y="100"/>
                  </a:cubicBezTo>
                  <a:cubicBezTo>
                    <a:pt x="212" y="94"/>
                    <a:pt x="211" y="89"/>
                    <a:pt x="210" y="85"/>
                  </a:cubicBezTo>
                  <a:cubicBezTo>
                    <a:pt x="207" y="63"/>
                    <a:pt x="196" y="42"/>
                    <a:pt x="178" y="27"/>
                  </a:cubicBezTo>
                  <a:cubicBezTo>
                    <a:pt x="144" y="0"/>
                    <a:pt x="83" y="19"/>
                    <a:pt x="55" y="78"/>
                  </a:cubicBezTo>
                  <a:cubicBezTo>
                    <a:pt x="21" y="151"/>
                    <a:pt x="3" y="231"/>
                    <a:pt x="1" y="312"/>
                  </a:cubicBezTo>
                  <a:cubicBezTo>
                    <a:pt x="0" y="375"/>
                    <a:pt x="44" y="419"/>
                    <a:pt x="86" y="4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56" name="Freeform 396"/>
            <p:cNvSpPr>
              <a:spLocks/>
            </p:cNvSpPr>
            <p:nvPr/>
          </p:nvSpPr>
          <p:spPr bwMode="gray">
            <a:xfrm>
              <a:off x="4148829" y="4227616"/>
              <a:ext cx="159258" cy="164086"/>
            </a:xfrm>
            <a:custGeom>
              <a:avLst/>
              <a:gdLst>
                <a:gd name="T0" fmla="*/ 79 w 198"/>
                <a:gd name="T1" fmla="*/ 186 h 197"/>
                <a:gd name="T2" fmla="*/ 187 w 198"/>
                <a:gd name="T3" fmla="*/ 119 h 197"/>
                <a:gd name="T4" fmla="*/ 120 w 198"/>
                <a:gd name="T5" fmla="*/ 11 h 197"/>
                <a:gd name="T6" fmla="*/ 12 w 198"/>
                <a:gd name="T7" fmla="*/ 78 h 197"/>
                <a:gd name="T8" fmla="*/ 79 w 198"/>
                <a:gd name="T9" fmla="*/ 18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97">
                  <a:moveTo>
                    <a:pt x="79" y="186"/>
                  </a:moveTo>
                  <a:cubicBezTo>
                    <a:pt x="127" y="197"/>
                    <a:pt x="176" y="167"/>
                    <a:pt x="187" y="119"/>
                  </a:cubicBezTo>
                  <a:cubicBezTo>
                    <a:pt x="198" y="71"/>
                    <a:pt x="168" y="22"/>
                    <a:pt x="120" y="11"/>
                  </a:cubicBezTo>
                  <a:cubicBezTo>
                    <a:pt x="71" y="0"/>
                    <a:pt x="23" y="30"/>
                    <a:pt x="12" y="78"/>
                  </a:cubicBezTo>
                  <a:cubicBezTo>
                    <a:pt x="0" y="126"/>
                    <a:pt x="30" y="175"/>
                    <a:pt x="79" y="1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58" name="Freeform 397"/>
            <p:cNvSpPr>
              <a:spLocks/>
            </p:cNvSpPr>
            <p:nvPr/>
          </p:nvSpPr>
          <p:spPr bwMode="gray">
            <a:xfrm>
              <a:off x="4200115" y="4514070"/>
              <a:ext cx="32392" cy="80653"/>
            </a:xfrm>
            <a:custGeom>
              <a:avLst/>
              <a:gdLst>
                <a:gd name="T0" fmla="*/ 0 w 39"/>
                <a:gd name="T1" fmla="*/ 54 h 98"/>
                <a:gd name="T2" fmla="*/ 14 w 39"/>
                <a:gd name="T3" fmla="*/ 98 h 98"/>
                <a:gd name="T4" fmla="*/ 38 w 39"/>
                <a:gd name="T5" fmla="*/ 57 h 98"/>
                <a:gd name="T6" fmla="*/ 36 w 39"/>
                <a:gd name="T7" fmla="*/ 12 h 98"/>
                <a:gd name="T8" fmla="*/ 6 w 39"/>
                <a:gd name="T9" fmla="*/ 0 h 98"/>
                <a:gd name="T10" fmla="*/ 0 w 39"/>
                <a:gd name="T11" fmla="*/ 5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98">
                  <a:moveTo>
                    <a:pt x="0" y="54"/>
                  </a:moveTo>
                  <a:cubicBezTo>
                    <a:pt x="5" y="68"/>
                    <a:pt x="10" y="83"/>
                    <a:pt x="14" y="98"/>
                  </a:cubicBezTo>
                  <a:cubicBezTo>
                    <a:pt x="22" y="85"/>
                    <a:pt x="31" y="71"/>
                    <a:pt x="38" y="57"/>
                  </a:cubicBezTo>
                  <a:cubicBezTo>
                    <a:pt x="39" y="45"/>
                    <a:pt x="38" y="29"/>
                    <a:pt x="36" y="12"/>
                  </a:cubicBezTo>
                  <a:cubicBezTo>
                    <a:pt x="25" y="8"/>
                    <a:pt x="15" y="4"/>
                    <a:pt x="6" y="0"/>
                  </a:cubicBezTo>
                  <a:cubicBezTo>
                    <a:pt x="5" y="18"/>
                    <a:pt x="3" y="36"/>
                    <a:pt x="0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59" name="Freeform 398"/>
            <p:cNvSpPr>
              <a:spLocks/>
            </p:cNvSpPr>
            <p:nvPr/>
          </p:nvSpPr>
          <p:spPr bwMode="gray">
            <a:xfrm>
              <a:off x="4135332" y="4402826"/>
              <a:ext cx="232141" cy="122368"/>
            </a:xfrm>
            <a:custGeom>
              <a:avLst/>
              <a:gdLst>
                <a:gd name="T0" fmla="*/ 91 w 291"/>
                <a:gd name="T1" fmla="*/ 53 h 149"/>
                <a:gd name="T2" fmla="*/ 84 w 291"/>
                <a:gd name="T3" fmla="*/ 46 h 149"/>
                <a:gd name="T4" fmla="*/ 70 w 291"/>
                <a:gd name="T5" fmla="*/ 30 h 149"/>
                <a:gd name="T6" fmla="*/ 65 w 291"/>
                <a:gd name="T7" fmla="*/ 23 h 149"/>
                <a:gd name="T8" fmla="*/ 64 w 291"/>
                <a:gd name="T9" fmla="*/ 22 h 149"/>
                <a:gd name="T10" fmla="*/ 64 w 291"/>
                <a:gd name="T11" fmla="*/ 22 h 149"/>
                <a:gd name="T12" fmla="*/ 21 w 291"/>
                <a:gd name="T13" fmla="*/ 9 h 149"/>
                <a:gd name="T14" fmla="*/ 8 w 291"/>
                <a:gd name="T15" fmla="*/ 52 h 149"/>
                <a:gd name="T16" fmla="*/ 50 w 291"/>
                <a:gd name="T17" fmla="*/ 101 h 149"/>
                <a:gd name="T18" fmla="*/ 81 w 291"/>
                <a:gd name="T19" fmla="*/ 123 h 149"/>
                <a:gd name="T20" fmla="*/ 88 w 291"/>
                <a:gd name="T21" fmla="*/ 127 h 149"/>
                <a:gd name="T22" fmla="*/ 117 w 291"/>
                <a:gd name="T23" fmla="*/ 139 h 149"/>
                <a:gd name="T24" fmla="*/ 181 w 291"/>
                <a:gd name="T25" fmla="*/ 149 h 149"/>
                <a:gd name="T26" fmla="*/ 181 w 291"/>
                <a:gd name="T27" fmla="*/ 149 h 149"/>
                <a:gd name="T28" fmla="*/ 265 w 291"/>
                <a:gd name="T29" fmla="*/ 135 h 149"/>
                <a:gd name="T30" fmla="*/ 285 w 291"/>
                <a:gd name="T31" fmla="*/ 95 h 149"/>
                <a:gd name="T32" fmla="*/ 245 w 291"/>
                <a:gd name="T33" fmla="*/ 74 h 149"/>
                <a:gd name="T34" fmla="*/ 181 w 291"/>
                <a:gd name="T35" fmla="*/ 85 h 149"/>
                <a:gd name="T36" fmla="*/ 106 w 291"/>
                <a:gd name="T37" fmla="*/ 64 h 149"/>
                <a:gd name="T38" fmla="*/ 101 w 291"/>
                <a:gd name="T39" fmla="*/ 60 h 149"/>
                <a:gd name="T40" fmla="*/ 91 w 291"/>
                <a:gd name="T41" fmla="*/ 5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1" h="149">
                  <a:moveTo>
                    <a:pt x="91" y="53"/>
                  </a:moveTo>
                  <a:cubicBezTo>
                    <a:pt x="89" y="50"/>
                    <a:pt x="86" y="48"/>
                    <a:pt x="84" y="46"/>
                  </a:cubicBezTo>
                  <a:cubicBezTo>
                    <a:pt x="78" y="40"/>
                    <a:pt x="73" y="35"/>
                    <a:pt x="70" y="30"/>
                  </a:cubicBezTo>
                  <a:cubicBezTo>
                    <a:pt x="68" y="27"/>
                    <a:pt x="66" y="25"/>
                    <a:pt x="65" y="23"/>
                  </a:cubicBezTo>
                  <a:cubicBezTo>
                    <a:pt x="65" y="23"/>
                    <a:pt x="65" y="22"/>
                    <a:pt x="64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56" y="6"/>
                    <a:pt x="37" y="0"/>
                    <a:pt x="21" y="9"/>
                  </a:cubicBezTo>
                  <a:cubicBezTo>
                    <a:pt x="6" y="17"/>
                    <a:pt x="0" y="36"/>
                    <a:pt x="8" y="52"/>
                  </a:cubicBezTo>
                  <a:cubicBezTo>
                    <a:pt x="9" y="54"/>
                    <a:pt x="22" y="77"/>
                    <a:pt x="50" y="101"/>
                  </a:cubicBezTo>
                  <a:cubicBezTo>
                    <a:pt x="58" y="109"/>
                    <a:pt x="69" y="116"/>
                    <a:pt x="81" y="123"/>
                  </a:cubicBezTo>
                  <a:cubicBezTo>
                    <a:pt x="83" y="125"/>
                    <a:pt x="86" y="126"/>
                    <a:pt x="88" y="127"/>
                  </a:cubicBezTo>
                  <a:cubicBezTo>
                    <a:pt x="97" y="132"/>
                    <a:pt x="107" y="136"/>
                    <a:pt x="117" y="139"/>
                  </a:cubicBezTo>
                  <a:cubicBezTo>
                    <a:pt x="136" y="145"/>
                    <a:pt x="157" y="149"/>
                    <a:pt x="181" y="149"/>
                  </a:cubicBezTo>
                  <a:cubicBezTo>
                    <a:pt x="181" y="149"/>
                    <a:pt x="181" y="149"/>
                    <a:pt x="181" y="149"/>
                  </a:cubicBezTo>
                  <a:cubicBezTo>
                    <a:pt x="207" y="149"/>
                    <a:pt x="235" y="145"/>
                    <a:pt x="265" y="135"/>
                  </a:cubicBezTo>
                  <a:cubicBezTo>
                    <a:pt x="281" y="130"/>
                    <a:pt x="291" y="112"/>
                    <a:pt x="285" y="95"/>
                  </a:cubicBezTo>
                  <a:cubicBezTo>
                    <a:pt x="280" y="78"/>
                    <a:pt x="262" y="69"/>
                    <a:pt x="245" y="74"/>
                  </a:cubicBezTo>
                  <a:cubicBezTo>
                    <a:pt x="221" y="82"/>
                    <a:pt x="200" y="85"/>
                    <a:pt x="181" y="85"/>
                  </a:cubicBezTo>
                  <a:cubicBezTo>
                    <a:pt x="149" y="85"/>
                    <a:pt x="125" y="76"/>
                    <a:pt x="106" y="64"/>
                  </a:cubicBezTo>
                  <a:cubicBezTo>
                    <a:pt x="105" y="63"/>
                    <a:pt x="103" y="62"/>
                    <a:pt x="101" y="60"/>
                  </a:cubicBezTo>
                  <a:cubicBezTo>
                    <a:pt x="98" y="58"/>
                    <a:pt x="94" y="55"/>
                    <a:pt x="91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60" name="Freeform 399"/>
            <p:cNvSpPr>
              <a:spLocks/>
            </p:cNvSpPr>
            <p:nvPr/>
          </p:nvSpPr>
          <p:spPr bwMode="gray">
            <a:xfrm>
              <a:off x="4488942" y="4694840"/>
              <a:ext cx="140364" cy="241957"/>
            </a:xfrm>
            <a:custGeom>
              <a:avLst/>
              <a:gdLst>
                <a:gd name="T0" fmla="*/ 170 w 176"/>
                <a:gd name="T1" fmla="*/ 174 h 296"/>
                <a:gd name="T2" fmla="*/ 108 w 176"/>
                <a:gd name="T3" fmla="*/ 165 h 296"/>
                <a:gd name="T4" fmla="*/ 115 w 176"/>
                <a:gd name="T5" fmla="*/ 79 h 296"/>
                <a:gd name="T6" fmla="*/ 164 w 176"/>
                <a:gd name="T7" fmla="*/ 79 h 296"/>
                <a:gd name="T8" fmla="*/ 155 w 176"/>
                <a:gd name="T9" fmla="*/ 39 h 296"/>
                <a:gd name="T10" fmla="*/ 154 w 176"/>
                <a:gd name="T11" fmla="*/ 35 h 296"/>
                <a:gd name="T12" fmla="*/ 150 w 176"/>
                <a:gd name="T13" fmla="*/ 24 h 296"/>
                <a:gd name="T14" fmla="*/ 138 w 176"/>
                <a:gd name="T15" fmla="*/ 0 h 296"/>
                <a:gd name="T16" fmla="*/ 100 w 176"/>
                <a:gd name="T17" fmla="*/ 27 h 296"/>
                <a:gd name="T18" fmla="*/ 90 w 176"/>
                <a:gd name="T19" fmla="*/ 35 h 296"/>
                <a:gd name="T20" fmla="*/ 41 w 176"/>
                <a:gd name="T21" fmla="*/ 79 h 296"/>
                <a:gd name="T22" fmla="*/ 63 w 176"/>
                <a:gd name="T23" fmla="*/ 79 h 296"/>
                <a:gd name="T24" fmla="*/ 70 w 176"/>
                <a:gd name="T25" fmla="*/ 165 h 296"/>
                <a:gd name="T26" fmla="*/ 7 w 176"/>
                <a:gd name="T27" fmla="*/ 175 h 296"/>
                <a:gd name="T28" fmla="*/ 7 w 176"/>
                <a:gd name="T29" fmla="*/ 175 h 296"/>
                <a:gd name="T30" fmla="*/ 0 w 176"/>
                <a:gd name="T31" fmla="*/ 202 h 296"/>
                <a:gd name="T32" fmla="*/ 72 w 176"/>
                <a:gd name="T33" fmla="*/ 189 h 296"/>
                <a:gd name="T34" fmla="*/ 76 w 176"/>
                <a:gd name="T35" fmla="*/ 233 h 296"/>
                <a:gd name="T36" fmla="*/ 54 w 176"/>
                <a:gd name="T37" fmla="*/ 264 h 296"/>
                <a:gd name="T38" fmla="*/ 87 w 176"/>
                <a:gd name="T39" fmla="*/ 296 h 296"/>
                <a:gd name="T40" fmla="*/ 119 w 176"/>
                <a:gd name="T41" fmla="*/ 264 h 296"/>
                <a:gd name="T42" fmla="*/ 102 w 176"/>
                <a:gd name="T43" fmla="*/ 235 h 296"/>
                <a:gd name="T44" fmla="*/ 106 w 176"/>
                <a:gd name="T45" fmla="*/ 189 h 296"/>
                <a:gd name="T46" fmla="*/ 176 w 176"/>
                <a:gd name="T47" fmla="*/ 202 h 296"/>
                <a:gd name="T48" fmla="*/ 170 w 176"/>
                <a:gd name="T49" fmla="*/ 175 h 296"/>
                <a:gd name="T50" fmla="*/ 170 w 176"/>
                <a:gd name="T51" fmla="*/ 17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6" h="296">
                  <a:moveTo>
                    <a:pt x="170" y="174"/>
                  </a:moveTo>
                  <a:cubicBezTo>
                    <a:pt x="153" y="169"/>
                    <a:pt x="133" y="166"/>
                    <a:pt x="108" y="165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64" y="79"/>
                    <a:pt x="164" y="79"/>
                    <a:pt x="164" y="79"/>
                  </a:cubicBezTo>
                  <a:cubicBezTo>
                    <a:pt x="161" y="62"/>
                    <a:pt x="158" y="48"/>
                    <a:pt x="155" y="39"/>
                  </a:cubicBezTo>
                  <a:cubicBezTo>
                    <a:pt x="155" y="37"/>
                    <a:pt x="155" y="36"/>
                    <a:pt x="154" y="35"/>
                  </a:cubicBezTo>
                  <a:cubicBezTo>
                    <a:pt x="153" y="31"/>
                    <a:pt x="152" y="27"/>
                    <a:pt x="150" y="24"/>
                  </a:cubicBezTo>
                  <a:cubicBezTo>
                    <a:pt x="146" y="14"/>
                    <a:pt x="142" y="6"/>
                    <a:pt x="138" y="0"/>
                  </a:cubicBezTo>
                  <a:cubicBezTo>
                    <a:pt x="124" y="9"/>
                    <a:pt x="112" y="18"/>
                    <a:pt x="100" y="27"/>
                  </a:cubicBezTo>
                  <a:cubicBezTo>
                    <a:pt x="96" y="30"/>
                    <a:pt x="93" y="32"/>
                    <a:pt x="90" y="35"/>
                  </a:cubicBezTo>
                  <a:cubicBezTo>
                    <a:pt x="72" y="50"/>
                    <a:pt x="56" y="64"/>
                    <a:pt x="41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70" y="165"/>
                    <a:pt x="70" y="165"/>
                    <a:pt x="70" y="165"/>
                  </a:cubicBezTo>
                  <a:cubicBezTo>
                    <a:pt x="44" y="166"/>
                    <a:pt x="24" y="170"/>
                    <a:pt x="7" y="175"/>
                  </a:cubicBezTo>
                  <a:cubicBezTo>
                    <a:pt x="7" y="175"/>
                    <a:pt x="7" y="175"/>
                    <a:pt x="7" y="175"/>
                  </a:cubicBezTo>
                  <a:cubicBezTo>
                    <a:pt x="7" y="185"/>
                    <a:pt x="4" y="194"/>
                    <a:pt x="0" y="202"/>
                  </a:cubicBezTo>
                  <a:cubicBezTo>
                    <a:pt x="16" y="196"/>
                    <a:pt x="39" y="190"/>
                    <a:pt x="72" y="189"/>
                  </a:cubicBezTo>
                  <a:cubicBezTo>
                    <a:pt x="76" y="233"/>
                    <a:pt x="76" y="233"/>
                    <a:pt x="76" y="233"/>
                  </a:cubicBezTo>
                  <a:cubicBezTo>
                    <a:pt x="63" y="238"/>
                    <a:pt x="54" y="250"/>
                    <a:pt x="54" y="264"/>
                  </a:cubicBezTo>
                  <a:cubicBezTo>
                    <a:pt x="54" y="282"/>
                    <a:pt x="69" y="296"/>
                    <a:pt x="87" y="296"/>
                  </a:cubicBezTo>
                  <a:cubicBezTo>
                    <a:pt x="105" y="296"/>
                    <a:pt x="119" y="282"/>
                    <a:pt x="119" y="264"/>
                  </a:cubicBezTo>
                  <a:cubicBezTo>
                    <a:pt x="119" y="251"/>
                    <a:pt x="112" y="241"/>
                    <a:pt x="102" y="235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38" y="190"/>
                    <a:pt x="160" y="196"/>
                    <a:pt x="176" y="202"/>
                  </a:cubicBezTo>
                  <a:cubicBezTo>
                    <a:pt x="172" y="194"/>
                    <a:pt x="170" y="185"/>
                    <a:pt x="170" y="175"/>
                  </a:cubicBezTo>
                  <a:cubicBezTo>
                    <a:pt x="170" y="175"/>
                    <a:pt x="170" y="175"/>
                    <a:pt x="170" y="1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61" name="Freeform 400"/>
            <p:cNvSpPr>
              <a:spLocks/>
            </p:cNvSpPr>
            <p:nvPr/>
          </p:nvSpPr>
          <p:spPr bwMode="gray">
            <a:xfrm>
              <a:off x="4426857" y="4881175"/>
              <a:ext cx="51286" cy="55622"/>
            </a:xfrm>
            <a:custGeom>
              <a:avLst/>
              <a:gdLst>
                <a:gd name="T0" fmla="*/ 22 w 64"/>
                <a:gd name="T1" fmla="*/ 3 h 68"/>
                <a:gd name="T2" fmla="*/ 22 w 64"/>
                <a:gd name="T3" fmla="*/ 5 h 68"/>
                <a:gd name="T4" fmla="*/ 0 w 64"/>
                <a:gd name="T5" fmla="*/ 36 h 68"/>
                <a:gd name="T6" fmla="*/ 32 w 64"/>
                <a:gd name="T7" fmla="*/ 68 h 68"/>
                <a:gd name="T8" fmla="*/ 64 w 64"/>
                <a:gd name="T9" fmla="*/ 36 h 68"/>
                <a:gd name="T10" fmla="*/ 46 w 64"/>
                <a:gd name="T11" fmla="*/ 7 h 68"/>
                <a:gd name="T12" fmla="*/ 46 w 64"/>
                <a:gd name="T13" fmla="*/ 0 h 68"/>
                <a:gd name="T14" fmla="*/ 29 w 64"/>
                <a:gd name="T15" fmla="*/ 3 h 68"/>
                <a:gd name="T16" fmla="*/ 22 w 64"/>
                <a:gd name="T17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68">
                  <a:moveTo>
                    <a:pt x="22" y="3"/>
                  </a:moveTo>
                  <a:cubicBezTo>
                    <a:pt x="22" y="5"/>
                    <a:pt x="22" y="5"/>
                    <a:pt x="22" y="5"/>
                  </a:cubicBezTo>
                  <a:cubicBezTo>
                    <a:pt x="9" y="9"/>
                    <a:pt x="0" y="22"/>
                    <a:pt x="0" y="36"/>
                  </a:cubicBezTo>
                  <a:cubicBezTo>
                    <a:pt x="0" y="54"/>
                    <a:pt x="14" y="68"/>
                    <a:pt x="32" y="68"/>
                  </a:cubicBezTo>
                  <a:cubicBezTo>
                    <a:pt x="50" y="68"/>
                    <a:pt x="64" y="54"/>
                    <a:pt x="64" y="36"/>
                  </a:cubicBezTo>
                  <a:cubicBezTo>
                    <a:pt x="64" y="23"/>
                    <a:pt x="57" y="12"/>
                    <a:pt x="46" y="7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1" y="2"/>
                    <a:pt x="35" y="3"/>
                    <a:pt x="29" y="3"/>
                  </a:cubicBezTo>
                  <a:cubicBezTo>
                    <a:pt x="27" y="3"/>
                    <a:pt x="24" y="3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62" name="Freeform 401"/>
            <p:cNvSpPr>
              <a:spLocks/>
            </p:cNvSpPr>
            <p:nvPr/>
          </p:nvSpPr>
          <p:spPr bwMode="gray">
            <a:xfrm>
              <a:off x="4640104" y="4881175"/>
              <a:ext cx="26993" cy="55622"/>
            </a:xfrm>
            <a:custGeom>
              <a:avLst/>
              <a:gdLst>
                <a:gd name="T0" fmla="*/ 14 w 31"/>
                <a:gd name="T1" fmla="*/ 35 h 67"/>
                <a:gd name="T2" fmla="*/ 20 w 31"/>
                <a:gd name="T3" fmla="*/ 14 h 67"/>
                <a:gd name="T4" fmla="*/ 30 w 31"/>
                <a:gd name="T5" fmla="*/ 3 h 67"/>
                <a:gd name="T6" fmla="*/ 31 w 31"/>
                <a:gd name="T7" fmla="*/ 2 h 67"/>
                <a:gd name="T8" fmla="*/ 20 w 31"/>
                <a:gd name="T9" fmla="*/ 0 h 67"/>
                <a:gd name="T10" fmla="*/ 20 w 31"/>
                <a:gd name="T11" fmla="*/ 5 h 67"/>
                <a:gd name="T12" fmla="*/ 0 w 31"/>
                <a:gd name="T13" fmla="*/ 35 h 67"/>
                <a:gd name="T14" fmla="*/ 30 w 31"/>
                <a:gd name="T15" fmla="*/ 67 h 67"/>
                <a:gd name="T16" fmla="*/ 14 w 31"/>
                <a:gd name="T17" fmla="*/ 3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67">
                  <a:moveTo>
                    <a:pt x="14" y="35"/>
                  </a:moveTo>
                  <a:cubicBezTo>
                    <a:pt x="14" y="27"/>
                    <a:pt x="16" y="20"/>
                    <a:pt x="20" y="14"/>
                  </a:cubicBezTo>
                  <a:cubicBezTo>
                    <a:pt x="22" y="10"/>
                    <a:pt x="26" y="6"/>
                    <a:pt x="30" y="3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7" y="2"/>
                    <a:pt x="23" y="1"/>
                    <a:pt x="20" y="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8" y="10"/>
                    <a:pt x="0" y="22"/>
                    <a:pt x="0" y="35"/>
                  </a:cubicBezTo>
                  <a:cubicBezTo>
                    <a:pt x="0" y="52"/>
                    <a:pt x="13" y="66"/>
                    <a:pt x="30" y="67"/>
                  </a:cubicBezTo>
                  <a:cubicBezTo>
                    <a:pt x="20" y="60"/>
                    <a:pt x="14" y="48"/>
                    <a:pt x="14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63" name="Freeform 402"/>
            <p:cNvSpPr>
              <a:spLocks/>
            </p:cNvSpPr>
            <p:nvPr/>
          </p:nvSpPr>
          <p:spPr bwMode="gray">
            <a:xfrm>
              <a:off x="4478145" y="4210929"/>
              <a:ext cx="164657" cy="169648"/>
            </a:xfrm>
            <a:custGeom>
              <a:avLst/>
              <a:gdLst>
                <a:gd name="T0" fmla="*/ 125 w 207"/>
                <a:gd name="T1" fmla="*/ 194 h 206"/>
                <a:gd name="T2" fmla="*/ 195 w 207"/>
                <a:gd name="T3" fmla="*/ 82 h 206"/>
                <a:gd name="T4" fmla="*/ 82 w 207"/>
                <a:gd name="T5" fmla="*/ 11 h 206"/>
                <a:gd name="T6" fmla="*/ 12 w 207"/>
                <a:gd name="T7" fmla="*/ 124 h 206"/>
                <a:gd name="T8" fmla="*/ 125 w 207"/>
                <a:gd name="T9" fmla="*/ 194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206">
                  <a:moveTo>
                    <a:pt x="125" y="194"/>
                  </a:moveTo>
                  <a:cubicBezTo>
                    <a:pt x="175" y="183"/>
                    <a:pt x="207" y="132"/>
                    <a:pt x="195" y="82"/>
                  </a:cubicBezTo>
                  <a:cubicBezTo>
                    <a:pt x="183" y="31"/>
                    <a:pt x="133" y="0"/>
                    <a:pt x="82" y="11"/>
                  </a:cubicBezTo>
                  <a:cubicBezTo>
                    <a:pt x="32" y="23"/>
                    <a:pt x="0" y="74"/>
                    <a:pt x="12" y="124"/>
                  </a:cubicBezTo>
                  <a:cubicBezTo>
                    <a:pt x="24" y="175"/>
                    <a:pt x="74" y="206"/>
                    <a:pt x="125" y="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64" name="Freeform 403"/>
            <p:cNvSpPr>
              <a:spLocks/>
            </p:cNvSpPr>
            <p:nvPr/>
          </p:nvSpPr>
          <p:spPr bwMode="gray">
            <a:xfrm>
              <a:off x="4440355" y="4797742"/>
              <a:ext cx="48588" cy="80653"/>
            </a:xfrm>
            <a:custGeom>
              <a:avLst/>
              <a:gdLst>
                <a:gd name="T0" fmla="*/ 62 w 62"/>
                <a:gd name="T1" fmla="*/ 0 h 97"/>
                <a:gd name="T2" fmla="*/ 0 w 62"/>
                <a:gd name="T3" fmla="*/ 95 h 97"/>
                <a:gd name="T4" fmla="*/ 6 w 62"/>
                <a:gd name="T5" fmla="*/ 97 h 97"/>
                <a:gd name="T6" fmla="*/ 13 w 62"/>
                <a:gd name="T7" fmla="*/ 97 h 97"/>
                <a:gd name="T8" fmla="*/ 35 w 62"/>
                <a:gd name="T9" fmla="*/ 92 h 97"/>
                <a:gd name="T10" fmla="*/ 46 w 62"/>
                <a:gd name="T11" fmla="*/ 84 h 97"/>
                <a:gd name="T12" fmla="*/ 61 w 62"/>
                <a:gd name="T13" fmla="*/ 51 h 97"/>
                <a:gd name="T14" fmla="*/ 61 w 62"/>
                <a:gd name="T15" fmla="*/ 49 h 97"/>
                <a:gd name="T16" fmla="*/ 62 w 62"/>
                <a:gd name="T1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97">
                  <a:moveTo>
                    <a:pt x="62" y="0"/>
                  </a:moveTo>
                  <a:cubicBezTo>
                    <a:pt x="35" y="34"/>
                    <a:pt x="15" y="68"/>
                    <a:pt x="0" y="95"/>
                  </a:cubicBezTo>
                  <a:cubicBezTo>
                    <a:pt x="2" y="96"/>
                    <a:pt x="4" y="96"/>
                    <a:pt x="6" y="97"/>
                  </a:cubicBezTo>
                  <a:cubicBezTo>
                    <a:pt x="8" y="97"/>
                    <a:pt x="11" y="97"/>
                    <a:pt x="13" y="97"/>
                  </a:cubicBezTo>
                  <a:cubicBezTo>
                    <a:pt x="21" y="97"/>
                    <a:pt x="28" y="95"/>
                    <a:pt x="35" y="92"/>
                  </a:cubicBezTo>
                  <a:cubicBezTo>
                    <a:pt x="39" y="90"/>
                    <a:pt x="43" y="87"/>
                    <a:pt x="46" y="84"/>
                  </a:cubicBezTo>
                  <a:cubicBezTo>
                    <a:pt x="55" y="76"/>
                    <a:pt x="60" y="64"/>
                    <a:pt x="61" y="51"/>
                  </a:cubicBezTo>
                  <a:cubicBezTo>
                    <a:pt x="61" y="50"/>
                    <a:pt x="61" y="50"/>
                    <a:pt x="61" y="49"/>
                  </a:cubicBezTo>
                  <a:cubicBezTo>
                    <a:pt x="61" y="31"/>
                    <a:pt x="61" y="15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65" name="Freeform 404"/>
            <p:cNvSpPr>
              <a:spLocks/>
            </p:cNvSpPr>
            <p:nvPr/>
          </p:nvSpPr>
          <p:spPr bwMode="gray">
            <a:xfrm>
              <a:off x="4605012" y="4655905"/>
              <a:ext cx="64783" cy="219708"/>
            </a:xfrm>
            <a:custGeom>
              <a:avLst/>
              <a:gdLst>
                <a:gd name="T0" fmla="*/ 42 w 83"/>
                <a:gd name="T1" fmla="*/ 226 h 266"/>
                <a:gd name="T2" fmla="*/ 42 w 83"/>
                <a:gd name="T3" fmla="*/ 221 h 266"/>
                <a:gd name="T4" fmla="*/ 47 w 83"/>
                <a:gd name="T5" fmla="*/ 125 h 266"/>
                <a:gd name="T6" fmla="*/ 54 w 83"/>
                <a:gd name="T7" fmla="*/ 81 h 266"/>
                <a:gd name="T8" fmla="*/ 58 w 83"/>
                <a:gd name="T9" fmla="*/ 64 h 266"/>
                <a:gd name="T10" fmla="*/ 61 w 83"/>
                <a:gd name="T11" fmla="*/ 53 h 266"/>
                <a:gd name="T12" fmla="*/ 73 w 83"/>
                <a:gd name="T13" fmla="*/ 20 h 266"/>
                <a:gd name="T14" fmla="*/ 83 w 83"/>
                <a:gd name="T15" fmla="*/ 0 h 266"/>
                <a:gd name="T16" fmla="*/ 73 w 83"/>
                <a:gd name="T17" fmla="*/ 4 h 266"/>
                <a:gd name="T18" fmla="*/ 0 w 83"/>
                <a:gd name="T19" fmla="*/ 42 h 266"/>
                <a:gd name="T20" fmla="*/ 14 w 83"/>
                <a:gd name="T21" fmla="*/ 69 h 266"/>
                <a:gd name="T22" fmla="*/ 19 w 83"/>
                <a:gd name="T23" fmla="*/ 81 h 266"/>
                <a:gd name="T24" fmla="*/ 19 w 83"/>
                <a:gd name="T25" fmla="*/ 82 h 266"/>
                <a:gd name="T26" fmla="*/ 28 w 83"/>
                <a:gd name="T27" fmla="*/ 125 h 266"/>
                <a:gd name="T28" fmla="*/ 34 w 83"/>
                <a:gd name="T29" fmla="*/ 221 h 266"/>
                <a:gd name="T30" fmla="*/ 34 w 83"/>
                <a:gd name="T31" fmla="*/ 223 h 266"/>
                <a:gd name="T32" fmla="*/ 47 w 83"/>
                <a:gd name="T33" fmla="*/ 255 h 266"/>
                <a:gd name="T34" fmla="*/ 62 w 83"/>
                <a:gd name="T35" fmla="*/ 265 h 266"/>
                <a:gd name="T36" fmla="*/ 64 w 83"/>
                <a:gd name="T37" fmla="*/ 266 h 266"/>
                <a:gd name="T38" fmla="*/ 42 w 83"/>
                <a:gd name="T39" fmla="*/ 22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" h="266">
                  <a:moveTo>
                    <a:pt x="42" y="226"/>
                  </a:moveTo>
                  <a:cubicBezTo>
                    <a:pt x="42" y="224"/>
                    <a:pt x="42" y="223"/>
                    <a:pt x="42" y="221"/>
                  </a:cubicBezTo>
                  <a:cubicBezTo>
                    <a:pt x="42" y="186"/>
                    <a:pt x="43" y="154"/>
                    <a:pt x="47" y="125"/>
                  </a:cubicBezTo>
                  <a:cubicBezTo>
                    <a:pt x="48" y="110"/>
                    <a:pt x="51" y="95"/>
                    <a:pt x="54" y="81"/>
                  </a:cubicBezTo>
                  <a:cubicBezTo>
                    <a:pt x="55" y="75"/>
                    <a:pt x="56" y="70"/>
                    <a:pt x="58" y="64"/>
                  </a:cubicBezTo>
                  <a:cubicBezTo>
                    <a:pt x="59" y="60"/>
                    <a:pt x="59" y="57"/>
                    <a:pt x="61" y="53"/>
                  </a:cubicBezTo>
                  <a:cubicBezTo>
                    <a:pt x="64" y="41"/>
                    <a:pt x="68" y="30"/>
                    <a:pt x="73" y="20"/>
                  </a:cubicBezTo>
                  <a:cubicBezTo>
                    <a:pt x="76" y="13"/>
                    <a:pt x="79" y="6"/>
                    <a:pt x="83" y="0"/>
                  </a:cubicBezTo>
                  <a:cubicBezTo>
                    <a:pt x="79" y="1"/>
                    <a:pt x="76" y="2"/>
                    <a:pt x="73" y="4"/>
                  </a:cubicBezTo>
                  <a:cubicBezTo>
                    <a:pt x="46" y="15"/>
                    <a:pt x="22" y="28"/>
                    <a:pt x="0" y="42"/>
                  </a:cubicBezTo>
                  <a:cubicBezTo>
                    <a:pt x="5" y="48"/>
                    <a:pt x="10" y="56"/>
                    <a:pt x="14" y="69"/>
                  </a:cubicBezTo>
                  <a:cubicBezTo>
                    <a:pt x="16" y="73"/>
                    <a:pt x="17" y="77"/>
                    <a:pt x="19" y="81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22" y="94"/>
                    <a:pt x="25" y="108"/>
                    <a:pt x="28" y="125"/>
                  </a:cubicBezTo>
                  <a:cubicBezTo>
                    <a:pt x="31" y="151"/>
                    <a:pt x="34" y="182"/>
                    <a:pt x="34" y="221"/>
                  </a:cubicBezTo>
                  <a:cubicBezTo>
                    <a:pt x="34" y="222"/>
                    <a:pt x="34" y="222"/>
                    <a:pt x="34" y="223"/>
                  </a:cubicBezTo>
                  <a:cubicBezTo>
                    <a:pt x="34" y="235"/>
                    <a:pt x="39" y="246"/>
                    <a:pt x="47" y="255"/>
                  </a:cubicBezTo>
                  <a:cubicBezTo>
                    <a:pt x="52" y="259"/>
                    <a:pt x="57" y="263"/>
                    <a:pt x="62" y="265"/>
                  </a:cubicBezTo>
                  <a:cubicBezTo>
                    <a:pt x="63" y="265"/>
                    <a:pt x="63" y="265"/>
                    <a:pt x="64" y="266"/>
                  </a:cubicBezTo>
                  <a:cubicBezTo>
                    <a:pt x="51" y="256"/>
                    <a:pt x="43" y="242"/>
                    <a:pt x="42" y="2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66" name="Freeform 405"/>
            <p:cNvSpPr>
              <a:spLocks noEditPoints="1"/>
            </p:cNvSpPr>
            <p:nvPr/>
          </p:nvSpPr>
          <p:spPr bwMode="gray">
            <a:xfrm>
              <a:off x="4383668" y="4388919"/>
              <a:ext cx="286127" cy="147399"/>
            </a:xfrm>
            <a:custGeom>
              <a:avLst/>
              <a:gdLst>
                <a:gd name="T0" fmla="*/ 1 w 359"/>
                <a:gd name="T1" fmla="*/ 113 h 178"/>
                <a:gd name="T2" fmla="*/ 6 w 359"/>
                <a:gd name="T3" fmla="*/ 134 h 178"/>
                <a:gd name="T4" fmla="*/ 31 w 359"/>
                <a:gd name="T5" fmla="*/ 159 h 178"/>
                <a:gd name="T6" fmla="*/ 85 w 359"/>
                <a:gd name="T7" fmla="*/ 174 h 178"/>
                <a:gd name="T8" fmla="*/ 93 w 359"/>
                <a:gd name="T9" fmla="*/ 174 h 178"/>
                <a:gd name="T10" fmla="*/ 106 w 359"/>
                <a:gd name="T11" fmla="*/ 176 h 178"/>
                <a:gd name="T12" fmla="*/ 114 w 359"/>
                <a:gd name="T13" fmla="*/ 176 h 178"/>
                <a:gd name="T14" fmla="*/ 142 w 359"/>
                <a:gd name="T15" fmla="*/ 178 h 178"/>
                <a:gd name="T16" fmla="*/ 176 w 359"/>
                <a:gd name="T17" fmla="*/ 178 h 178"/>
                <a:gd name="T18" fmla="*/ 195 w 359"/>
                <a:gd name="T19" fmla="*/ 167 h 178"/>
                <a:gd name="T20" fmla="*/ 203 w 359"/>
                <a:gd name="T21" fmla="*/ 146 h 178"/>
                <a:gd name="T22" fmla="*/ 201 w 359"/>
                <a:gd name="T23" fmla="*/ 134 h 178"/>
                <a:gd name="T24" fmla="*/ 200 w 359"/>
                <a:gd name="T25" fmla="*/ 133 h 178"/>
                <a:gd name="T26" fmla="*/ 171 w 359"/>
                <a:gd name="T27" fmla="*/ 114 h 178"/>
                <a:gd name="T28" fmla="*/ 114 w 359"/>
                <a:gd name="T29" fmla="*/ 112 h 178"/>
                <a:gd name="T30" fmla="*/ 106 w 359"/>
                <a:gd name="T31" fmla="*/ 112 h 178"/>
                <a:gd name="T32" fmla="*/ 75 w 359"/>
                <a:gd name="T33" fmla="*/ 107 h 178"/>
                <a:gd name="T34" fmla="*/ 85 w 359"/>
                <a:gd name="T35" fmla="*/ 99 h 178"/>
                <a:gd name="T36" fmla="*/ 106 w 359"/>
                <a:gd name="T37" fmla="*/ 86 h 178"/>
                <a:gd name="T38" fmla="*/ 114 w 359"/>
                <a:gd name="T39" fmla="*/ 81 h 178"/>
                <a:gd name="T40" fmla="*/ 114 w 359"/>
                <a:gd name="T41" fmla="*/ 104 h 178"/>
                <a:gd name="T42" fmla="*/ 169 w 359"/>
                <a:gd name="T43" fmla="*/ 106 h 178"/>
                <a:gd name="T44" fmla="*/ 171 w 359"/>
                <a:gd name="T45" fmla="*/ 106 h 178"/>
                <a:gd name="T46" fmla="*/ 202 w 359"/>
                <a:gd name="T47" fmla="*/ 121 h 178"/>
                <a:gd name="T48" fmla="*/ 206 w 359"/>
                <a:gd name="T49" fmla="*/ 87 h 178"/>
                <a:gd name="T50" fmla="*/ 222 w 359"/>
                <a:gd name="T51" fmla="*/ 90 h 178"/>
                <a:gd name="T52" fmla="*/ 222 w 359"/>
                <a:gd name="T53" fmla="*/ 90 h 178"/>
                <a:gd name="T54" fmla="*/ 222 w 359"/>
                <a:gd name="T55" fmla="*/ 90 h 178"/>
                <a:gd name="T56" fmla="*/ 238 w 359"/>
                <a:gd name="T57" fmla="*/ 87 h 178"/>
                <a:gd name="T58" fmla="*/ 243 w 359"/>
                <a:gd name="T59" fmla="*/ 121 h 178"/>
                <a:gd name="T60" fmla="*/ 274 w 359"/>
                <a:gd name="T61" fmla="*/ 106 h 178"/>
                <a:gd name="T62" fmla="*/ 274 w 359"/>
                <a:gd name="T63" fmla="*/ 106 h 178"/>
                <a:gd name="T64" fmla="*/ 284 w 359"/>
                <a:gd name="T65" fmla="*/ 106 h 178"/>
                <a:gd name="T66" fmla="*/ 294 w 359"/>
                <a:gd name="T67" fmla="*/ 78 h 178"/>
                <a:gd name="T68" fmla="*/ 303 w 359"/>
                <a:gd name="T69" fmla="*/ 67 h 178"/>
                <a:gd name="T70" fmla="*/ 313 w 359"/>
                <a:gd name="T71" fmla="*/ 57 h 178"/>
                <a:gd name="T72" fmla="*/ 331 w 359"/>
                <a:gd name="T73" fmla="*/ 43 h 178"/>
                <a:gd name="T74" fmla="*/ 339 w 359"/>
                <a:gd name="T75" fmla="*/ 37 h 178"/>
                <a:gd name="T76" fmla="*/ 356 w 359"/>
                <a:gd name="T77" fmla="*/ 26 h 178"/>
                <a:gd name="T78" fmla="*/ 359 w 359"/>
                <a:gd name="T79" fmla="*/ 24 h 178"/>
                <a:gd name="T80" fmla="*/ 333 w 359"/>
                <a:gd name="T81" fmla="*/ 11 h 178"/>
                <a:gd name="T82" fmla="*/ 318 w 359"/>
                <a:gd name="T83" fmla="*/ 4 h 178"/>
                <a:gd name="T84" fmla="*/ 309 w 359"/>
                <a:gd name="T85" fmla="*/ 1 h 178"/>
                <a:gd name="T86" fmla="*/ 300 w 359"/>
                <a:gd name="T87" fmla="*/ 0 h 178"/>
                <a:gd name="T88" fmla="*/ 145 w 359"/>
                <a:gd name="T89" fmla="*/ 0 h 178"/>
                <a:gd name="T90" fmla="*/ 136 w 359"/>
                <a:gd name="T91" fmla="*/ 1 h 178"/>
                <a:gd name="T92" fmla="*/ 127 w 359"/>
                <a:gd name="T93" fmla="*/ 4 h 178"/>
                <a:gd name="T94" fmla="*/ 127 w 359"/>
                <a:gd name="T95" fmla="*/ 4 h 178"/>
                <a:gd name="T96" fmla="*/ 112 w 359"/>
                <a:gd name="T97" fmla="*/ 11 h 178"/>
                <a:gd name="T98" fmla="*/ 70 w 359"/>
                <a:gd name="T99" fmla="*/ 33 h 178"/>
                <a:gd name="T100" fmla="*/ 28 w 359"/>
                <a:gd name="T101" fmla="*/ 63 h 178"/>
                <a:gd name="T102" fmla="*/ 12 w 359"/>
                <a:gd name="T103" fmla="*/ 80 h 178"/>
                <a:gd name="T104" fmla="*/ 10 w 359"/>
                <a:gd name="T105" fmla="*/ 82 h 178"/>
                <a:gd name="T106" fmla="*/ 1 w 359"/>
                <a:gd name="T107" fmla="*/ 113 h 178"/>
                <a:gd name="T108" fmla="*/ 207 w 359"/>
                <a:gd name="T109" fmla="*/ 38 h 178"/>
                <a:gd name="T110" fmla="*/ 222 w 359"/>
                <a:gd name="T111" fmla="*/ 38 h 178"/>
                <a:gd name="T112" fmla="*/ 238 w 359"/>
                <a:gd name="T113" fmla="*/ 38 h 178"/>
                <a:gd name="T114" fmla="*/ 245 w 359"/>
                <a:gd name="T115" fmla="*/ 68 h 178"/>
                <a:gd name="T116" fmla="*/ 244 w 359"/>
                <a:gd name="T117" fmla="*/ 70 h 178"/>
                <a:gd name="T118" fmla="*/ 222 w 359"/>
                <a:gd name="T119" fmla="*/ 78 h 178"/>
                <a:gd name="T120" fmla="*/ 201 w 359"/>
                <a:gd name="T121" fmla="*/ 70 h 178"/>
                <a:gd name="T122" fmla="*/ 200 w 359"/>
                <a:gd name="T123" fmla="*/ 68 h 178"/>
                <a:gd name="T124" fmla="*/ 207 w 359"/>
                <a:gd name="T125" fmla="*/ 3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9" h="178">
                  <a:moveTo>
                    <a:pt x="1" y="113"/>
                  </a:moveTo>
                  <a:cubicBezTo>
                    <a:pt x="0" y="120"/>
                    <a:pt x="2" y="128"/>
                    <a:pt x="6" y="134"/>
                  </a:cubicBezTo>
                  <a:cubicBezTo>
                    <a:pt x="12" y="146"/>
                    <a:pt x="21" y="153"/>
                    <a:pt x="31" y="159"/>
                  </a:cubicBezTo>
                  <a:cubicBezTo>
                    <a:pt x="46" y="166"/>
                    <a:pt x="63" y="170"/>
                    <a:pt x="85" y="174"/>
                  </a:cubicBezTo>
                  <a:cubicBezTo>
                    <a:pt x="88" y="174"/>
                    <a:pt x="90" y="174"/>
                    <a:pt x="93" y="174"/>
                  </a:cubicBezTo>
                  <a:cubicBezTo>
                    <a:pt x="97" y="175"/>
                    <a:pt x="101" y="175"/>
                    <a:pt x="106" y="176"/>
                  </a:cubicBezTo>
                  <a:cubicBezTo>
                    <a:pt x="109" y="176"/>
                    <a:pt x="111" y="176"/>
                    <a:pt x="114" y="176"/>
                  </a:cubicBezTo>
                  <a:cubicBezTo>
                    <a:pt x="123" y="177"/>
                    <a:pt x="132" y="177"/>
                    <a:pt x="142" y="178"/>
                  </a:cubicBezTo>
                  <a:cubicBezTo>
                    <a:pt x="176" y="178"/>
                    <a:pt x="176" y="178"/>
                    <a:pt x="176" y="178"/>
                  </a:cubicBezTo>
                  <a:cubicBezTo>
                    <a:pt x="184" y="177"/>
                    <a:pt x="191" y="172"/>
                    <a:pt x="195" y="167"/>
                  </a:cubicBezTo>
                  <a:cubicBezTo>
                    <a:pt x="200" y="161"/>
                    <a:pt x="203" y="154"/>
                    <a:pt x="203" y="146"/>
                  </a:cubicBezTo>
                  <a:cubicBezTo>
                    <a:pt x="203" y="142"/>
                    <a:pt x="202" y="138"/>
                    <a:pt x="201" y="134"/>
                  </a:cubicBezTo>
                  <a:cubicBezTo>
                    <a:pt x="200" y="134"/>
                    <a:pt x="200" y="133"/>
                    <a:pt x="200" y="133"/>
                  </a:cubicBezTo>
                  <a:cubicBezTo>
                    <a:pt x="195" y="122"/>
                    <a:pt x="184" y="114"/>
                    <a:pt x="171" y="114"/>
                  </a:cubicBezTo>
                  <a:cubicBezTo>
                    <a:pt x="149" y="114"/>
                    <a:pt x="130" y="113"/>
                    <a:pt x="114" y="112"/>
                  </a:cubicBezTo>
                  <a:cubicBezTo>
                    <a:pt x="111" y="112"/>
                    <a:pt x="109" y="112"/>
                    <a:pt x="106" y="112"/>
                  </a:cubicBezTo>
                  <a:cubicBezTo>
                    <a:pt x="93" y="110"/>
                    <a:pt x="82" y="109"/>
                    <a:pt x="75" y="107"/>
                  </a:cubicBezTo>
                  <a:cubicBezTo>
                    <a:pt x="78" y="104"/>
                    <a:pt x="81" y="102"/>
                    <a:pt x="85" y="99"/>
                  </a:cubicBezTo>
                  <a:cubicBezTo>
                    <a:pt x="91" y="95"/>
                    <a:pt x="99" y="90"/>
                    <a:pt x="106" y="86"/>
                  </a:cubicBezTo>
                  <a:cubicBezTo>
                    <a:pt x="109" y="84"/>
                    <a:pt x="112" y="83"/>
                    <a:pt x="114" y="81"/>
                  </a:cubicBezTo>
                  <a:cubicBezTo>
                    <a:pt x="114" y="104"/>
                    <a:pt x="114" y="104"/>
                    <a:pt x="114" y="104"/>
                  </a:cubicBezTo>
                  <a:cubicBezTo>
                    <a:pt x="128" y="105"/>
                    <a:pt x="146" y="106"/>
                    <a:pt x="169" y="106"/>
                  </a:cubicBezTo>
                  <a:cubicBezTo>
                    <a:pt x="171" y="106"/>
                    <a:pt x="171" y="106"/>
                    <a:pt x="171" y="106"/>
                  </a:cubicBezTo>
                  <a:cubicBezTo>
                    <a:pt x="183" y="106"/>
                    <a:pt x="194" y="112"/>
                    <a:pt x="202" y="121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211" y="89"/>
                    <a:pt x="217" y="90"/>
                    <a:pt x="222" y="90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28" y="90"/>
                    <a:pt x="233" y="89"/>
                    <a:pt x="238" y="87"/>
                  </a:cubicBezTo>
                  <a:cubicBezTo>
                    <a:pt x="243" y="121"/>
                    <a:pt x="243" y="121"/>
                    <a:pt x="243" y="121"/>
                  </a:cubicBezTo>
                  <a:cubicBezTo>
                    <a:pt x="250" y="112"/>
                    <a:pt x="261" y="106"/>
                    <a:pt x="274" y="106"/>
                  </a:cubicBezTo>
                  <a:cubicBezTo>
                    <a:pt x="274" y="106"/>
                    <a:pt x="274" y="106"/>
                    <a:pt x="274" y="106"/>
                  </a:cubicBezTo>
                  <a:cubicBezTo>
                    <a:pt x="277" y="106"/>
                    <a:pt x="281" y="106"/>
                    <a:pt x="284" y="106"/>
                  </a:cubicBezTo>
                  <a:cubicBezTo>
                    <a:pt x="285" y="94"/>
                    <a:pt x="290" y="84"/>
                    <a:pt x="294" y="78"/>
                  </a:cubicBezTo>
                  <a:cubicBezTo>
                    <a:pt x="297" y="74"/>
                    <a:pt x="299" y="71"/>
                    <a:pt x="303" y="67"/>
                  </a:cubicBezTo>
                  <a:cubicBezTo>
                    <a:pt x="306" y="64"/>
                    <a:pt x="309" y="60"/>
                    <a:pt x="313" y="57"/>
                  </a:cubicBezTo>
                  <a:cubicBezTo>
                    <a:pt x="319" y="52"/>
                    <a:pt x="325" y="47"/>
                    <a:pt x="331" y="43"/>
                  </a:cubicBezTo>
                  <a:cubicBezTo>
                    <a:pt x="333" y="41"/>
                    <a:pt x="336" y="39"/>
                    <a:pt x="339" y="37"/>
                  </a:cubicBezTo>
                  <a:cubicBezTo>
                    <a:pt x="345" y="33"/>
                    <a:pt x="351" y="29"/>
                    <a:pt x="356" y="26"/>
                  </a:cubicBezTo>
                  <a:cubicBezTo>
                    <a:pt x="357" y="26"/>
                    <a:pt x="358" y="25"/>
                    <a:pt x="359" y="24"/>
                  </a:cubicBezTo>
                  <a:cubicBezTo>
                    <a:pt x="349" y="19"/>
                    <a:pt x="340" y="14"/>
                    <a:pt x="333" y="11"/>
                  </a:cubicBezTo>
                  <a:cubicBezTo>
                    <a:pt x="324" y="7"/>
                    <a:pt x="318" y="4"/>
                    <a:pt x="318" y="4"/>
                  </a:cubicBezTo>
                  <a:cubicBezTo>
                    <a:pt x="315" y="3"/>
                    <a:pt x="312" y="2"/>
                    <a:pt x="309" y="1"/>
                  </a:cubicBezTo>
                  <a:cubicBezTo>
                    <a:pt x="306" y="1"/>
                    <a:pt x="303" y="0"/>
                    <a:pt x="300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2" y="0"/>
                    <a:pt x="139" y="1"/>
                    <a:pt x="136" y="1"/>
                  </a:cubicBezTo>
                  <a:cubicBezTo>
                    <a:pt x="133" y="2"/>
                    <a:pt x="130" y="3"/>
                    <a:pt x="127" y="4"/>
                  </a:cubicBezTo>
                  <a:cubicBezTo>
                    <a:pt x="127" y="4"/>
                    <a:pt x="127" y="4"/>
                    <a:pt x="127" y="4"/>
                  </a:cubicBezTo>
                  <a:cubicBezTo>
                    <a:pt x="127" y="4"/>
                    <a:pt x="121" y="7"/>
                    <a:pt x="112" y="11"/>
                  </a:cubicBezTo>
                  <a:cubicBezTo>
                    <a:pt x="101" y="16"/>
                    <a:pt x="86" y="24"/>
                    <a:pt x="70" y="33"/>
                  </a:cubicBezTo>
                  <a:cubicBezTo>
                    <a:pt x="55" y="42"/>
                    <a:pt x="41" y="51"/>
                    <a:pt x="28" y="63"/>
                  </a:cubicBezTo>
                  <a:cubicBezTo>
                    <a:pt x="22" y="68"/>
                    <a:pt x="17" y="73"/>
                    <a:pt x="12" y="80"/>
                  </a:cubicBezTo>
                  <a:cubicBezTo>
                    <a:pt x="11" y="81"/>
                    <a:pt x="11" y="82"/>
                    <a:pt x="10" y="82"/>
                  </a:cubicBezTo>
                  <a:cubicBezTo>
                    <a:pt x="5" y="90"/>
                    <a:pt x="1" y="100"/>
                    <a:pt x="1" y="113"/>
                  </a:cubicBezTo>
                  <a:close/>
                  <a:moveTo>
                    <a:pt x="207" y="38"/>
                  </a:moveTo>
                  <a:cubicBezTo>
                    <a:pt x="222" y="38"/>
                    <a:pt x="222" y="38"/>
                    <a:pt x="222" y="38"/>
                  </a:cubicBezTo>
                  <a:cubicBezTo>
                    <a:pt x="238" y="38"/>
                    <a:pt x="238" y="38"/>
                    <a:pt x="238" y="38"/>
                  </a:cubicBezTo>
                  <a:cubicBezTo>
                    <a:pt x="245" y="68"/>
                    <a:pt x="245" y="68"/>
                    <a:pt x="245" y="68"/>
                  </a:cubicBezTo>
                  <a:cubicBezTo>
                    <a:pt x="244" y="70"/>
                    <a:pt x="244" y="70"/>
                    <a:pt x="244" y="70"/>
                  </a:cubicBezTo>
                  <a:cubicBezTo>
                    <a:pt x="238" y="76"/>
                    <a:pt x="230" y="78"/>
                    <a:pt x="222" y="78"/>
                  </a:cubicBezTo>
                  <a:cubicBezTo>
                    <a:pt x="215" y="78"/>
                    <a:pt x="207" y="76"/>
                    <a:pt x="201" y="70"/>
                  </a:cubicBezTo>
                  <a:cubicBezTo>
                    <a:pt x="200" y="68"/>
                    <a:pt x="200" y="68"/>
                    <a:pt x="200" y="68"/>
                  </a:cubicBezTo>
                  <a:lnTo>
                    <a:pt x="207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67" name="Freeform 406"/>
            <p:cNvSpPr>
              <a:spLocks/>
            </p:cNvSpPr>
            <p:nvPr/>
          </p:nvSpPr>
          <p:spPr bwMode="gray">
            <a:xfrm>
              <a:off x="4575320" y="4483477"/>
              <a:ext cx="80979" cy="52842"/>
            </a:xfrm>
            <a:custGeom>
              <a:avLst/>
              <a:gdLst>
                <a:gd name="T0" fmla="*/ 0 w 101"/>
                <a:gd name="T1" fmla="*/ 32 h 64"/>
                <a:gd name="T2" fmla="*/ 7 w 101"/>
                <a:gd name="T3" fmla="*/ 53 h 64"/>
                <a:gd name="T4" fmla="*/ 27 w 101"/>
                <a:gd name="T5" fmla="*/ 64 h 64"/>
                <a:gd name="T6" fmla="*/ 61 w 101"/>
                <a:gd name="T7" fmla="*/ 64 h 64"/>
                <a:gd name="T8" fmla="*/ 89 w 101"/>
                <a:gd name="T9" fmla="*/ 62 h 64"/>
                <a:gd name="T10" fmla="*/ 97 w 101"/>
                <a:gd name="T11" fmla="*/ 62 h 64"/>
                <a:gd name="T12" fmla="*/ 101 w 101"/>
                <a:gd name="T13" fmla="*/ 61 h 64"/>
                <a:gd name="T14" fmla="*/ 97 w 101"/>
                <a:gd name="T15" fmla="*/ 60 h 64"/>
                <a:gd name="T16" fmla="*/ 89 w 101"/>
                <a:gd name="T17" fmla="*/ 57 h 64"/>
                <a:gd name="T18" fmla="*/ 76 w 101"/>
                <a:gd name="T19" fmla="*/ 52 h 64"/>
                <a:gd name="T20" fmla="*/ 47 w 101"/>
                <a:gd name="T21" fmla="*/ 24 h 64"/>
                <a:gd name="T22" fmla="*/ 45 w 101"/>
                <a:gd name="T23" fmla="*/ 20 h 64"/>
                <a:gd name="T24" fmla="*/ 41 w 101"/>
                <a:gd name="T25" fmla="*/ 0 h 64"/>
                <a:gd name="T26" fmla="*/ 32 w 101"/>
                <a:gd name="T27" fmla="*/ 0 h 64"/>
                <a:gd name="T28" fmla="*/ 3 w 101"/>
                <a:gd name="T29" fmla="*/ 19 h 64"/>
                <a:gd name="T30" fmla="*/ 2 w 101"/>
                <a:gd name="T31" fmla="*/ 20 h 64"/>
                <a:gd name="T32" fmla="*/ 0 w 101"/>
                <a:gd name="T33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1" h="64">
                  <a:moveTo>
                    <a:pt x="0" y="32"/>
                  </a:moveTo>
                  <a:cubicBezTo>
                    <a:pt x="0" y="40"/>
                    <a:pt x="3" y="47"/>
                    <a:pt x="7" y="53"/>
                  </a:cubicBezTo>
                  <a:cubicBezTo>
                    <a:pt x="12" y="58"/>
                    <a:pt x="19" y="63"/>
                    <a:pt x="27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71" y="63"/>
                    <a:pt x="80" y="63"/>
                    <a:pt x="89" y="62"/>
                  </a:cubicBezTo>
                  <a:cubicBezTo>
                    <a:pt x="91" y="62"/>
                    <a:pt x="94" y="62"/>
                    <a:pt x="97" y="62"/>
                  </a:cubicBezTo>
                  <a:cubicBezTo>
                    <a:pt x="98" y="62"/>
                    <a:pt x="100" y="62"/>
                    <a:pt x="101" y="61"/>
                  </a:cubicBezTo>
                  <a:cubicBezTo>
                    <a:pt x="100" y="61"/>
                    <a:pt x="98" y="60"/>
                    <a:pt x="97" y="60"/>
                  </a:cubicBezTo>
                  <a:cubicBezTo>
                    <a:pt x="94" y="59"/>
                    <a:pt x="91" y="58"/>
                    <a:pt x="89" y="57"/>
                  </a:cubicBezTo>
                  <a:cubicBezTo>
                    <a:pt x="84" y="56"/>
                    <a:pt x="80" y="54"/>
                    <a:pt x="76" y="52"/>
                  </a:cubicBezTo>
                  <a:cubicBezTo>
                    <a:pt x="63" y="45"/>
                    <a:pt x="53" y="36"/>
                    <a:pt x="47" y="24"/>
                  </a:cubicBezTo>
                  <a:cubicBezTo>
                    <a:pt x="47" y="23"/>
                    <a:pt x="46" y="21"/>
                    <a:pt x="45" y="20"/>
                  </a:cubicBezTo>
                  <a:cubicBezTo>
                    <a:pt x="43" y="14"/>
                    <a:pt x="41" y="7"/>
                    <a:pt x="41" y="0"/>
                  </a:cubicBezTo>
                  <a:cubicBezTo>
                    <a:pt x="38" y="0"/>
                    <a:pt x="35" y="0"/>
                    <a:pt x="32" y="0"/>
                  </a:cubicBezTo>
                  <a:cubicBezTo>
                    <a:pt x="19" y="0"/>
                    <a:pt x="8" y="8"/>
                    <a:pt x="3" y="19"/>
                  </a:cubicBezTo>
                  <a:cubicBezTo>
                    <a:pt x="3" y="19"/>
                    <a:pt x="2" y="20"/>
                    <a:pt x="2" y="20"/>
                  </a:cubicBezTo>
                  <a:cubicBezTo>
                    <a:pt x="1" y="24"/>
                    <a:pt x="0" y="28"/>
                    <a:pt x="0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68" name="Freeform 407"/>
            <p:cNvSpPr>
              <a:spLocks/>
            </p:cNvSpPr>
            <p:nvPr/>
          </p:nvSpPr>
          <p:spPr bwMode="gray">
            <a:xfrm>
              <a:off x="4920832" y="4881175"/>
              <a:ext cx="35090" cy="55622"/>
            </a:xfrm>
            <a:custGeom>
              <a:avLst/>
              <a:gdLst>
                <a:gd name="T0" fmla="*/ 2 w 44"/>
                <a:gd name="T1" fmla="*/ 3 h 68"/>
                <a:gd name="T2" fmla="*/ 2 w 44"/>
                <a:gd name="T3" fmla="*/ 5 h 68"/>
                <a:gd name="T4" fmla="*/ 0 w 44"/>
                <a:gd name="T5" fmla="*/ 6 h 68"/>
                <a:gd name="T6" fmla="*/ 2 w 44"/>
                <a:gd name="T7" fmla="*/ 7 h 68"/>
                <a:gd name="T8" fmla="*/ 9 w 44"/>
                <a:gd name="T9" fmla="*/ 16 h 68"/>
                <a:gd name="T10" fmla="*/ 15 w 44"/>
                <a:gd name="T11" fmla="*/ 36 h 68"/>
                <a:gd name="T12" fmla="*/ 1 w 44"/>
                <a:gd name="T13" fmla="*/ 67 h 68"/>
                <a:gd name="T14" fmla="*/ 12 w 44"/>
                <a:gd name="T15" fmla="*/ 68 h 68"/>
                <a:gd name="T16" fmla="*/ 44 w 44"/>
                <a:gd name="T17" fmla="*/ 36 h 68"/>
                <a:gd name="T18" fmla="*/ 26 w 44"/>
                <a:gd name="T19" fmla="*/ 7 h 68"/>
                <a:gd name="T20" fmla="*/ 26 w 44"/>
                <a:gd name="T21" fmla="*/ 0 h 68"/>
                <a:gd name="T22" fmla="*/ 9 w 44"/>
                <a:gd name="T23" fmla="*/ 3 h 68"/>
                <a:gd name="T24" fmla="*/ 2 w 44"/>
                <a:gd name="T25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68">
                  <a:moveTo>
                    <a:pt x="2" y="3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0" y="6"/>
                  </a:cubicBezTo>
                  <a:cubicBezTo>
                    <a:pt x="1" y="6"/>
                    <a:pt x="1" y="6"/>
                    <a:pt x="2" y="7"/>
                  </a:cubicBezTo>
                  <a:cubicBezTo>
                    <a:pt x="5" y="9"/>
                    <a:pt x="7" y="12"/>
                    <a:pt x="9" y="16"/>
                  </a:cubicBezTo>
                  <a:cubicBezTo>
                    <a:pt x="12" y="22"/>
                    <a:pt x="15" y="29"/>
                    <a:pt x="15" y="36"/>
                  </a:cubicBezTo>
                  <a:cubicBezTo>
                    <a:pt x="15" y="48"/>
                    <a:pt x="9" y="59"/>
                    <a:pt x="1" y="67"/>
                  </a:cubicBezTo>
                  <a:cubicBezTo>
                    <a:pt x="4" y="68"/>
                    <a:pt x="8" y="68"/>
                    <a:pt x="12" y="68"/>
                  </a:cubicBezTo>
                  <a:cubicBezTo>
                    <a:pt x="29" y="68"/>
                    <a:pt x="44" y="54"/>
                    <a:pt x="44" y="36"/>
                  </a:cubicBezTo>
                  <a:cubicBezTo>
                    <a:pt x="44" y="23"/>
                    <a:pt x="37" y="12"/>
                    <a:pt x="26" y="7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0" y="2"/>
                    <a:pt x="15" y="3"/>
                    <a:pt x="9" y="3"/>
                  </a:cubicBezTo>
                  <a:cubicBezTo>
                    <a:pt x="6" y="3"/>
                    <a:pt x="4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69" name="Freeform 408"/>
            <p:cNvSpPr>
              <a:spLocks/>
            </p:cNvSpPr>
            <p:nvPr/>
          </p:nvSpPr>
          <p:spPr bwMode="gray">
            <a:xfrm>
              <a:off x="4966719" y="4680936"/>
              <a:ext cx="140364" cy="255861"/>
            </a:xfrm>
            <a:custGeom>
              <a:avLst/>
              <a:gdLst>
                <a:gd name="T0" fmla="*/ 169 w 176"/>
                <a:gd name="T1" fmla="*/ 190 h 312"/>
                <a:gd name="T2" fmla="*/ 107 w 176"/>
                <a:gd name="T3" fmla="*/ 181 h 312"/>
                <a:gd name="T4" fmla="*/ 115 w 176"/>
                <a:gd name="T5" fmla="*/ 95 h 312"/>
                <a:gd name="T6" fmla="*/ 163 w 176"/>
                <a:gd name="T7" fmla="*/ 95 h 312"/>
                <a:gd name="T8" fmla="*/ 155 w 176"/>
                <a:gd name="T9" fmla="*/ 55 h 312"/>
                <a:gd name="T10" fmla="*/ 154 w 176"/>
                <a:gd name="T11" fmla="*/ 51 h 312"/>
                <a:gd name="T12" fmla="*/ 150 w 176"/>
                <a:gd name="T13" fmla="*/ 40 h 312"/>
                <a:gd name="T14" fmla="*/ 131 w 176"/>
                <a:gd name="T15" fmla="*/ 10 h 312"/>
                <a:gd name="T16" fmla="*/ 118 w 176"/>
                <a:gd name="T17" fmla="*/ 3 h 312"/>
                <a:gd name="T18" fmla="*/ 89 w 176"/>
                <a:gd name="T19" fmla="*/ 0 h 312"/>
                <a:gd name="T20" fmla="*/ 88 w 176"/>
                <a:gd name="T21" fmla="*/ 0 h 312"/>
                <a:gd name="T22" fmla="*/ 86 w 176"/>
                <a:gd name="T23" fmla="*/ 0 h 312"/>
                <a:gd name="T24" fmla="*/ 55 w 176"/>
                <a:gd name="T25" fmla="*/ 4 h 312"/>
                <a:gd name="T26" fmla="*/ 35 w 176"/>
                <a:gd name="T27" fmla="*/ 21 h 312"/>
                <a:gd name="T28" fmla="*/ 26 w 176"/>
                <a:gd name="T29" fmla="*/ 40 h 312"/>
                <a:gd name="T30" fmla="*/ 22 w 176"/>
                <a:gd name="T31" fmla="*/ 51 h 312"/>
                <a:gd name="T32" fmla="*/ 18 w 176"/>
                <a:gd name="T33" fmla="*/ 65 h 312"/>
                <a:gd name="T34" fmla="*/ 13 w 176"/>
                <a:gd name="T35" fmla="*/ 95 h 312"/>
                <a:gd name="T36" fmla="*/ 62 w 176"/>
                <a:gd name="T37" fmla="*/ 95 h 312"/>
                <a:gd name="T38" fmla="*/ 70 w 176"/>
                <a:gd name="T39" fmla="*/ 181 h 312"/>
                <a:gd name="T40" fmla="*/ 7 w 176"/>
                <a:gd name="T41" fmla="*/ 191 h 312"/>
                <a:gd name="T42" fmla="*/ 7 w 176"/>
                <a:gd name="T43" fmla="*/ 191 h 312"/>
                <a:gd name="T44" fmla="*/ 0 w 176"/>
                <a:gd name="T45" fmla="*/ 218 h 312"/>
                <a:gd name="T46" fmla="*/ 72 w 176"/>
                <a:gd name="T47" fmla="*/ 205 h 312"/>
                <a:gd name="T48" fmla="*/ 76 w 176"/>
                <a:gd name="T49" fmla="*/ 249 h 312"/>
                <a:gd name="T50" fmla="*/ 54 w 176"/>
                <a:gd name="T51" fmla="*/ 280 h 312"/>
                <a:gd name="T52" fmla="*/ 86 w 176"/>
                <a:gd name="T53" fmla="*/ 312 h 312"/>
                <a:gd name="T54" fmla="*/ 119 w 176"/>
                <a:gd name="T55" fmla="*/ 280 h 312"/>
                <a:gd name="T56" fmla="*/ 101 w 176"/>
                <a:gd name="T57" fmla="*/ 251 h 312"/>
                <a:gd name="T58" fmla="*/ 105 w 176"/>
                <a:gd name="T59" fmla="*/ 205 h 312"/>
                <a:gd name="T60" fmla="*/ 176 w 176"/>
                <a:gd name="T61" fmla="*/ 218 h 312"/>
                <a:gd name="T62" fmla="*/ 169 w 176"/>
                <a:gd name="T63" fmla="*/ 191 h 312"/>
                <a:gd name="T64" fmla="*/ 169 w 176"/>
                <a:gd name="T65" fmla="*/ 19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6" h="312">
                  <a:moveTo>
                    <a:pt x="169" y="190"/>
                  </a:moveTo>
                  <a:cubicBezTo>
                    <a:pt x="153" y="185"/>
                    <a:pt x="132" y="182"/>
                    <a:pt x="107" y="181"/>
                  </a:cubicBezTo>
                  <a:cubicBezTo>
                    <a:pt x="115" y="95"/>
                    <a:pt x="115" y="95"/>
                    <a:pt x="115" y="95"/>
                  </a:cubicBezTo>
                  <a:cubicBezTo>
                    <a:pt x="163" y="95"/>
                    <a:pt x="163" y="95"/>
                    <a:pt x="163" y="95"/>
                  </a:cubicBezTo>
                  <a:cubicBezTo>
                    <a:pt x="161" y="78"/>
                    <a:pt x="158" y="64"/>
                    <a:pt x="155" y="55"/>
                  </a:cubicBezTo>
                  <a:cubicBezTo>
                    <a:pt x="154" y="53"/>
                    <a:pt x="154" y="52"/>
                    <a:pt x="154" y="51"/>
                  </a:cubicBezTo>
                  <a:cubicBezTo>
                    <a:pt x="152" y="47"/>
                    <a:pt x="151" y="43"/>
                    <a:pt x="150" y="40"/>
                  </a:cubicBezTo>
                  <a:cubicBezTo>
                    <a:pt x="144" y="26"/>
                    <a:pt x="138" y="16"/>
                    <a:pt x="131" y="10"/>
                  </a:cubicBezTo>
                  <a:cubicBezTo>
                    <a:pt x="127" y="7"/>
                    <a:pt x="124" y="5"/>
                    <a:pt x="118" y="3"/>
                  </a:cubicBezTo>
                  <a:cubicBezTo>
                    <a:pt x="112" y="1"/>
                    <a:pt x="103" y="0"/>
                    <a:pt x="89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1" y="0"/>
                    <a:pt x="62" y="2"/>
                    <a:pt x="55" y="4"/>
                  </a:cubicBezTo>
                  <a:cubicBezTo>
                    <a:pt x="48" y="7"/>
                    <a:pt x="43" y="9"/>
                    <a:pt x="35" y="21"/>
                  </a:cubicBezTo>
                  <a:cubicBezTo>
                    <a:pt x="33" y="25"/>
                    <a:pt x="29" y="31"/>
                    <a:pt x="26" y="40"/>
                  </a:cubicBezTo>
                  <a:cubicBezTo>
                    <a:pt x="25" y="43"/>
                    <a:pt x="23" y="47"/>
                    <a:pt x="22" y="51"/>
                  </a:cubicBezTo>
                  <a:cubicBezTo>
                    <a:pt x="21" y="55"/>
                    <a:pt x="20" y="60"/>
                    <a:pt x="18" y="65"/>
                  </a:cubicBezTo>
                  <a:cubicBezTo>
                    <a:pt x="16" y="74"/>
                    <a:pt x="14" y="84"/>
                    <a:pt x="13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70" y="181"/>
                    <a:pt x="70" y="181"/>
                    <a:pt x="70" y="181"/>
                  </a:cubicBezTo>
                  <a:cubicBezTo>
                    <a:pt x="44" y="182"/>
                    <a:pt x="23" y="186"/>
                    <a:pt x="7" y="191"/>
                  </a:cubicBezTo>
                  <a:cubicBezTo>
                    <a:pt x="7" y="191"/>
                    <a:pt x="7" y="191"/>
                    <a:pt x="7" y="191"/>
                  </a:cubicBezTo>
                  <a:cubicBezTo>
                    <a:pt x="7" y="201"/>
                    <a:pt x="4" y="210"/>
                    <a:pt x="0" y="218"/>
                  </a:cubicBezTo>
                  <a:cubicBezTo>
                    <a:pt x="16" y="212"/>
                    <a:pt x="39" y="206"/>
                    <a:pt x="72" y="205"/>
                  </a:cubicBezTo>
                  <a:cubicBezTo>
                    <a:pt x="76" y="249"/>
                    <a:pt x="76" y="249"/>
                    <a:pt x="76" y="249"/>
                  </a:cubicBezTo>
                  <a:cubicBezTo>
                    <a:pt x="63" y="254"/>
                    <a:pt x="54" y="266"/>
                    <a:pt x="54" y="280"/>
                  </a:cubicBezTo>
                  <a:cubicBezTo>
                    <a:pt x="54" y="298"/>
                    <a:pt x="68" y="312"/>
                    <a:pt x="86" y="312"/>
                  </a:cubicBezTo>
                  <a:cubicBezTo>
                    <a:pt x="104" y="312"/>
                    <a:pt x="119" y="298"/>
                    <a:pt x="119" y="280"/>
                  </a:cubicBezTo>
                  <a:cubicBezTo>
                    <a:pt x="119" y="267"/>
                    <a:pt x="112" y="257"/>
                    <a:pt x="101" y="251"/>
                  </a:cubicBezTo>
                  <a:cubicBezTo>
                    <a:pt x="105" y="205"/>
                    <a:pt x="105" y="205"/>
                    <a:pt x="105" y="205"/>
                  </a:cubicBezTo>
                  <a:cubicBezTo>
                    <a:pt x="137" y="206"/>
                    <a:pt x="160" y="212"/>
                    <a:pt x="176" y="218"/>
                  </a:cubicBezTo>
                  <a:cubicBezTo>
                    <a:pt x="172" y="210"/>
                    <a:pt x="169" y="201"/>
                    <a:pt x="169" y="191"/>
                  </a:cubicBezTo>
                  <a:cubicBezTo>
                    <a:pt x="169" y="191"/>
                    <a:pt x="169" y="191"/>
                    <a:pt x="169" y="1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70" name="Freeform 411"/>
            <p:cNvSpPr>
              <a:spLocks/>
            </p:cNvSpPr>
            <p:nvPr/>
          </p:nvSpPr>
          <p:spPr bwMode="gray">
            <a:xfrm>
              <a:off x="4931629" y="4625314"/>
              <a:ext cx="5399" cy="5562"/>
            </a:xfrm>
            <a:custGeom>
              <a:avLst/>
              <a:gdLst>
                <a:gd name="T0" fmla="*/ 5 w 5"/>
                <a:gd name="T1" fmla="*/ 0 h 5"/>
                <a:gd name="T2" fmla="*/ 0 w 5"/>
                <a:gd name="T3" fmla="*/ 0 h 5"/>
                <a:gd name="T4" fmla="*/ 0 w 5"/>
                <a:gd name="T5" fmla="*/ 5 h 5"/>
                <a:gd name="T6" fmla="*/ 5 w 5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3"/>
                    <a:pt x="3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71" name="Freeform 412"/>
            <p:cNvSpPr>
              <a:spLocks/>
            </p:cNvSpPr>
            <p:nvPr/>
          </p:nvSpPr>
          <p:spPr bwMode="gray">
            <a:xfrm>
              <a:off x="4953224" y="4210929"/>
              <a:ext cx="164657" cy="169648"/>
            </a:xfrm>
            <a:custGeom>
              <a:avLst/>
              <a:gdLst>
                <a:gd name="T0" fmla="*/ 124 w 206"/>
                <a:gd name="T1" fmla="*/ 194 h 206"/>
                <a:gd name="T2" fmla="*/ 194 w 206"/>
                <a:gd name="T3" fmla="*/ 82 h 206"/>
                <a:gd name="T4" fmla="*/ 82 w 206"/>
                <a:gd name="T5" fmla="*/ 11 h 206"/>
                <a:gd name="T6" fmla="*/ 11 w 206"/>
                <a:gd name="T7" fmla="*/ 124 h 206"/>
                <a:gd name="T8" fmla="*/ 124 w 206"/>
                <a:gd name="T9" fmla="*/ 194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6">
                  <a:moveTo>
                    <a:pt x="124" y="194"/>
                  </a:moveTo>
                  <a:cubicBezTo>
                    <a:pt x="175" y="183"/>
                    <a:pt x="206" y="132"/>
                    <a:pt x="194" y="82"/>
                  </a:cubicBezTo>
                  <a:cubicBezTo>
                    <a:pt x="183" y="31"/>
                    <a:pt x="132" y="0"/>
                    <a:pt x="82" y="11"/>
                  </a:cubicBezTo>
                  <a:cubicBezTo>
                    <a:pt x="31" y="23"/>
                    <a:pt x="0" y="74"/>
                    <a:pt x="11" y="124"/>
                  </a:cubicBezTo>
                  <a:cubicBezTo>
                    <a:pt x="23" y="175"/>
                    <a:pt x="74" y="206"/>
                    <a:pt x="124" y="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72" name="Freeform 413"/>
            <p:cNvSpPr>
              <a:spLocks/>
            </p:cNvSpPr>
            <p:nvPr/>
          </p:nvSpPr>
          <p:spPr bwMode="gray">
            <a:xfrm>
              <a:off x="4918132" y="4625314"/>
              <a:ext cx="234839" cy="253081"/>
            </a:xfrm>
            <a:custGeom>
              <a:avLst/>
              <a:gdLst>
                <a:gd name="T0" fmla="*/ 263 w 297"/>
                <a:gd name="T1" fmla="*/ 270 h 306"/>
                <a:gd name="T2" fmla="*/ 262 w 297"/>
                <a:gd name="T3" fmla="*/ 258 h 306"/>
                <a:gd name="T4" fmla="*/ 267 w 297"/>
                <a:gd name="T5" fmla="*/ 162 h 306"/>
                <a:gd name="T6" fmla="*/ 276 w 297"/>
                <a:gd name="T7" fmla="*/ 109 h 306"/>
                <a:gd name="T8" fmla="*/ 277 w 297"/>
                <a:gd name="T9" fmla="*/ 103 h 306"/>
                <a:gd name="T10" fmla="*/ 278 w 297"/>
                <a:gd name="T11" fmla="*/ 99 h 306"/>
                <a:gd name="T12" fmla="*/ 280 w 297"/>
                <a:gd name="T13" fmla="*/ 90 h 306"/>
                <a:gd name="T14" fmla="*/ 297 w 297"/>
                <a:gd name="T15" fmla="*/ 46 h 306"/>
                <a:gd name="T16" fmla="*/ 289 w 297"/>
                <a:gd name="T17" fmla="*/ 32 h 306"/>
                <a:gd name="T18" fmla="*/ 277 w 297"/>
                <a:gd name="T19" fmla="*/ 16 h 306"/>
                <a:gd name="T20" fmla="*/ 263 w 297"/>
                <a:gd name="T21" fmla="*/ 0 h 306"/>
                <a:gd name="T22" fmla="*/ 155 w 297"/>
                <a:gd name="T23" fmla="*/ 0 h 306"/>
                <a:gd name="T24" fmla="*/ 149 w 297"/>
                <a:gd name="T25" fmla="*/ 8 h 306"/>
                <a:gd name="T26" fmla="*/ 143 w 297"/>
                <a:gd name="T27" fmla="*/ 0 h 306"/>
                <a:gd name="T28" fmla="*/ 35 w 297"/>
                <a:gd name="T29" fmla="*/ 0 h 306"/>
                <a:gd name="T30" fmla="*/ 19 w 297"/>
                <a:gd name="T31" fmla="*/ 17 h 306"/>
                <a:gd name="T32" fmla="*/ 0 w 297"/>
                <a:gd name="T33" fmla="*/ 46 h 306"/>
                <a:gd name="T34" fmla="*/ 19 w 297"/>
                <a:gd name="T35" fmla="*/ 97 h 306"/>
                <a:gd name="T36" fmla="*/ 20 w 297"/>
                <a:gd name="T37" fmla="*/ 99 h 306"/>
                <a:gd name="T38" fmla="*/ 21 w 297"/>
                <a:gd name="T39" fmla="*/ 105 h 306"/>
                <a:gd name="T40" fmla="*/ 23 w 297"/>
                <a:gd name="T41" fmla="*/ 112 h 306"/>
                <a:gd name="T42" fmla="*/ 31 w 297"/>
                <a:gd name="T43" fmla="*/ 162 h 306"/>
                <a:gd name="T44" fmla="*/ 36 w 297"/>
                <a:gd name="T45" fmla="*/ 258 h 306"/>
                <a:gd name="T46" fmla="*/ 35 w 297"/>
                <a:gd name="T47" fmla="*/ 271 h 306"/>
                <a:gd name="T48" fmla="*/ 9 w 297"/>
                <a:gd name="T49" fmla="*/ 306 h 306"/>
                <a:gd name="T50" fmla="*/ 12 w 297"/>
                <a:gd name="T51" fmla="*/ 306 h 306"/>
                <a:gd name="T52" fmla="*/ 34 w 297"/>
                <a:gd name="T53" fmla="*/ 301 h 306"/>
                <a:gd name="T54" fmla="*/ 44 w 297"/>
                <a:gd name="T55" fmla="*/ 293 h 306"/>
                <a:gd name="T56" fmla="*/ 59 w 297"/>
                <a:gd name="T57" fmla="*/ 260 h 306"/>
                <a:gd name="T58" fmla="*/ 60 w 297"/>
                <a:gd name="T59" fmla="*/ 258 h 306"/>
                <a:gd name="T60" fmla="*/ 65 w 297"/>
                <a:gd name="T61" fmla="*/ 162 h 306"/>
                <a:gd name="T62" fmla="*/ 72 w 297"/>
                <a:gd name="T63" fmla="*/ 130 h 306"/>
                <a:gd name="T64" fmla="*/ 75 w 297"/>
                <a:gd name="T65" fmla="*/ 118 h 306"/>
                <a:gd name="T66" fmla="*/ 79 w 297"/>
                <a:gd name="T67" fmla="*/ 106 h 306"/>
                <a:gd name="T68" fmla="*/ 89 w 297"/>
                <a:gd name="T69" fmla="*/ 84 h 306"/>
                <a:gd name="T70" fmla="*/ 113 w 297"/>
                <a:gd name="T71" fmla="*/ 63 h 306"/>
                <a:gd name="T72" fmla="*/ 149 w 297"/>
                <a:gd name="T73" fmla="*/ 59 h 306"/>
                <a:gd name="T74" fmla="*/ 182 w 297"/>
                <a:gd name="T75" fmla="*/ 63 h 306"/>
                <a:gd name="T76" fmla="*/ 197 w 297"/>
                <a:gd name="T77" fmla="*/ 71 h 306"/>
                <a:gd name="T78" fmla="*/ 219 w 297"/>
                <a:gd name="T79" fmla="*/ 106 h 306"/>
                <a:gd name="T80" fmla="*/ 223 w 297"/>
                <a:gd name="T81" fmla="*/ 118 h 306"/>
                <a:gd name="T82" fmla="*/ 223 w 297"/>
                <a:gd name="T83" fmla="*/ 119 h 306"/>
                <a:gd name="T84" fmla="*/ 232 w 297"/>
                <a:gd name="T85" fmla="*/ 162 h 306"/>
                <a:gd name="T86" fmla="*/ 238 w 297"/>
                <a:gd name="T87" fmla="*/ 258 h 306"/>
                <a:gd name="T88" fmla="*/ 238 w 297"/>
                <a:gd name="T89" fmla="*/ 260 h 306"/>
                <a:gd name="T90" fmla="*/ 252 w 297"/>
                <a:gd name="T91" fmla="*/ 292 h 306"/>
                <a:gd name="T92" fmla="*/ 267 w 297"/>
                <a:gd name="T93" fmla="*/ 302 h 306"/>
                <a:gd name="T94" fmla="*/ 286 w 297"/>
                <a:gd name="T95" fmla="*/ 306 h 306"/>
                <a:gd name="T96" fmla="*/ 289 w 297"/>
                <a:gd name="T97" fmla="*/ 306 h 306"/>
                <a:gd name="T98" fmla="*/ 263 w 297"/>
                <a:gd name="T99" fmla="*/ 27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7" h="306">
                  <a:moveTo>
                    <a:pt x="263" y="270"/>
                  </a:moveTo>
                  <a:cubicBezTo>
                    <a:pt x="262" y="266"/>
                    <a:pt x="262" y="262"/>
                    <a:pt x="262" y="258"/>
                  </a:cubicBezTo>
                  <a:cubicBezTo>
                    <a:pt x="262" y="223"/>
                    <a:pt x="263" y="191"/>
                    <a:pt x="267" y="162"/>
                  </a:cubicBezTo>
                  <a:cubicBezTo>
                    <a:pt x="269" y="143"/>
                    <a:pt x="272" y="125"/>
                    <a:pt x="276" y="109"/>
                  </a:cubicBezTo>
                  <a:cubicBezTo>
                    <a:pt x="276" y="107"/>
                    <a:pt x="277" y="105"/>
                    <a:pt x="277" y="103"/>
                  </a:cubicBezTo>
                  <a:cubicBezTo>
                    <a:pt x="277" y="102"/>
                    <a:pt x="278" y="100"/>
                    <a:pt x="278" y="99"/>
                  </a:cubicBezTo>
                  <a:cubicBezTo>
                    <a:pt x="279" y="96"/>
                    <a:pt x="280" y="93"/>
                    <a:pt x="280" y="90"/>
                  </a:cubicBezTo>
                  <a:cubicBezTo>
                    <a:pt x="285" y="74"/>
                    <a:pt x="291" y="60"/>
                    <a:pt x="297" y="46"/>
                  </a:cubicBezTo>
                  <a:cubicBezTo>
                    <a:pt x="295" y="42"/>
                    <a:pt x="292" y="37"/>
                    <a:pt x="289" y="32"/>
                  </a:cubicBezTo>
                  <a:cubicBezTo>
                    <a:pt x="286" y="26"/>
                    <a:pt x="282" y="21"/>
                    <a:pt x="277" y="16"/>
                  </a:cubicBezTo>
                  <a:cubicBezTo>
                    <a:pt x="273" y="10"/>
                    <a:pt x="268" y="5"/>
                    <a:pt x="263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49" y="8"/>
                    <a:pt x="149" y="8"/>
                    <a:pt x="149" y="8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6"/>
                    <a:pt x="24" y="11"/>
                    <a:pt x="19" y="17"/>
                  </a:cubicBezTo>
                  <a:cubicBezTo>
                    <a:pt x="12" y="26"/>
                    <a:pt x="6" y="36"/>
                    <a:pt x="0" y="46"/>
                  </a:cubicBezTo>
                  <a:cubicBezTo>
                    <a:pt x="8" y="61"/>
                    <a:pt x="14" y="78"/>
                    <a:pt x="19" y="97"/>
                  </a:cubicBezTo>
                  <a:cubicBezTo>
                    <a:pt x="19" y="98"/>
                    <a:pt x="19" y="98"/>
                    <a:pt x="20" y="99"/>
                  </a:cubicBezTo>
                  <a:cubicBezTo>
                    <a:pt x="20" y="101"/>
                    <a:pt x="21" y="103"/>
                    <a:pt x="21" y="105"/>
                  </a:cubicBezTo>
                  <a:cubicBezTo>
                    <a:pt x="22" y="107"/>
                    <a:pt x="22" y="110"/>
                    <a:pt x="23" y="112"/>
                  </a:cubicBezTo>
                  <a:cubicBezTo>
                    <a:pt x="26" y="128"/>
                    <a:pt x="29" y="144"/>
                    <a:pt x="31" y="162"/>
                  </a:cubicBezTo>
                  <a:cubicBezTo>
                    <a:pt x="35" y="191"/>
                    <a:pt x="36" y="222"/>
                    <a:pt x="36" y="258"/>
                  </a:cubicBezTo>
                  <a:cubicBezTo>
                    <a:pt x="36" y="263"/>
                    <a:pt x="36" y="267"/>
                    <a:pt x="35" y="271"/>
                  </a:cubicBezTo>
                  <a:cubicBezTo>
                    <a:pt x="31" y="286"/>
                    <a:pt x="22" y="298"/>
                    <a:pt x="9" y="306"/>
                  </a:cubicBezTo>
                  <a:cubicBezTo>
                    <a:pt x="10" y="306"/>
                    <a:pt x="11" y="306"/>
                    <a:pt x="12" y="306"/>
                  </a:cubicBezTo>
                  <a:cubicBezTo>
                    <a:pt x="20" y="306"/>
                    <a:pt x="27" y="304"/>
                    <a:pt x="34" y="301"/>
                  </a:cubicBezTo>
                  <a:cubicBezTo>
                    <a:pt x="38" y="299"/>
                    <a:pt x="41" y="296"/>
                    <a:pt x="44" y="293"/>
                  </a:cubicBezTo>
                  <a:cubicBezTo>
                    <a:pt x="53" y="285"/>
                    <a:pt x="59" y="273"/>
                    <a:pt x="59" y="260"/>
                  </a:cubicBezTo>
                  <a:cubicBezTo>
                    <a:pt x="59" y="259"/>
                    <a:pt x="60" y="259"/>
                    <a:pt x="60" y="258"/>
                  </a:cubicBezTo>
                  <a:cubicBezTo>
                    <a:pt x="60" y="219"/>
                    <a:pt x="62" y="188"/>
                    <a:pt x="65" y="162"/>
                  </a:cubicBezTo>
                  <a:cubicBezTo>
                    <a:pt x="67" y="150"/>
                    <a:pt x="69" y="139"/>
                    <a:pt x="72" y="130"/>
                  </a:cubicBezTo>
                  <a:cubicBezTo>
                    <a:pt x="73" y="126"/>
                    <a:pt x="74" y="122"/>
                    <a:pt x="75" y="118"/>
                  </a:cubicBezTo>
                  <a:cubicBezTo>
                    <a:pt x="76" y="114"/>
                    <a:pt x="77" y="110"/>
                    <a:pt x="79" y="106"/>
                  </a:cubicBezTo>
                  <a:cubicBezTo>
                    <a:pt x="82" y="97"/>
                    <a:pt x="86" y="89"/>
                    <a:pt x="89" y="84"/>
                  </a:cubicBezTo>
                  <a:cubicBezTo>
                    <a:pt x="99" y="70"/>
                    <a:pt x="105" y="67"/>
                    <a:pt x="113" y="63"/>
                  </a:cubicBezTo>
                  <a:cubicBezTo>
                    <a:pt x="122" y="60"/>
                    <a:pt x="134" y="59"/>
                    <a:pt x="149" y="59"/>
                  </a:cubicBezTo>
                  <a:cubicBezTo>
                    <a:pt x="162" y="59"/>
                    <a:pt x="173" y="60"/>
                    <a:pt x="182" y="63"/>
                  </a:cubicBezTo>
                  <a:cubicBezTo>
                    <a:pt x="188" y="64"/>
                    <a:pt x="192" y="67"/>
                    <a:pt x="197" y="71"/>
                  </a:cubicBezTo>
                  <a:cubicBezTo>
                    <a:pt x="203" y="76"/>
                    <a:pt x="211" y="86"/>
                    <a:pt x="219" y="106"/>
                  </a:cubicBezTo>
                  <a:cubicBezTo>
                    <a:pt x="220" y="110"/>
                    <a:pt x="222" y="114"/>
                    <a:pt x="223" y="118"/>
                  </a:cubicBezTo>
                  <a:cubicBezTo>
                    <a:pt x="223" y="119"/>
                    <a:pt x="223" y="119"/>
                    <a:pt x="223" y="119"/>
                  </a:cubicBezTo>
                  <a:cubicBezTo>
                    <a:pt x="227" y="131"/>
                    <a:pt x="230" y="145"/>
                    <a:pt x="232" y="162"/>
                  </a:cubicBezTo>
                  <a:cubicBezTo>
                    <a:pt x="236" y="188"/>
                    <a:pt x="238" y="219"/>
                    <a:pt x="238" y="258"/>
                  </a:cubicBezTo>
                  <a:cubicBezTo>
                    <a:pt x="238" y="259"/>
                    <a:pt x="238" y="259"/>
                    <a:pt x="238" y="260"/>
                  </a:cubicBezTo>
                  <a:cubicBezTo>
                    <a:pt x="239" y="272"/>
                    <a:pt x="244" y="283"/>
                    <a:pt x="252" y="292"/>
                  </a:cubicBezTo>
                  <a:cubicBezTo>
                    <a:pt x="256" y="296"/>
                    <a:pt x="261" y="300"/>
                    <a:pt x="267" y="302"/>
                  </a:cubicBezTo>
                  <a:cubicBezTo>
                    <a:pt x="273" y="305"/>
                    <a:pt x="279" y="306"/>
                    <a:pt x="286" y="306"/>
                  </a:cubicBezTo>
                  <a:cubicBezTo>
                    <a:pt x="287" y="306"/>
                    <a:pt x="288" y="306"/>
                    <a:pt x="289" y="306"/>
                  </a:cubicBezTo>
                  <a:cubicBezTo>
                    <a:pt x="276" y="298"/>
                    <a:pt x="266" y="285"/>
                    <a:pt x="263" y="2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73" name="Freeform 414"/>
            <p:cNvSpPr>
              <a:spLocks noEditPoints="1"/>
            </p:cNvSpPr>
            <p:nvPr/>
          </p:nvSpPr>
          <p:spPr bwMode="gray">
            <a:xfrm>
              <a:off x="4920832" y="4388919"/>
              <a:ext cx="232141" cy="100120"/>
            </a:xfrm>
            <a:custGeom>
              <a:avLst/>
              <a:gdLst>
                <a:gd name="T0" fmla="*/ 29 w 290"/>
                <a:gd name="T1" fmla="*/ 48 h 121"/>
                <a:gd name="T2" fmla="*/ 37 w 290"/>
                <a:gd name="T3" fmla="*/ 55 h 121"/>
                <a:gd name="T4" fmla="*/ 54 w 290"/>
                <a:gd name="T5" fmla="*/ 73 h 121"/>
                <a:gd name="T6" fmla="*/ 57 w 290"/>
                <a:gd name="T7" fmla="*/ 78 h 121"/>
                <a:gd name="T8" fmla="*/ 68 w 290"/>
                <a:gd name="T9" fmla="*/ 106 h 121"/>
                <a:gd name="T10" fmla="*/ 92 w 290"/>
                <a:gd name="T11" fmla="*/ 106 h 121"/>
                <a:gd name="T12" fmla="*/ 93 w 290"/>
                <a:gd name="T13" fmla="*/ 106 h 121"/>
                <a:gd name="T14" fmla="*/ 124 w 290"/>
                <a:gd name="T15" fmla="*/ 121 h 121"/>
                <a:gd name="T16" fmla="*/ 129 w 290"/>
                <a:gd name="T17" fmla="*/ 87 h 121"/>
                <a:gd name="T18" fmla="*/ 145 w 290"/>
                <a:gd name="T19" fmla="*/ 90 h 121"/>
                <a:gd name="T20" fmla="*/ 145 w 290"/>
                <a:gd name="T21" fmla="*/ 90 h 121"/>
                <a:gd name="T22" fmla="*/ 145 w 290"/>
                <a:gd name="T23" fmla="*/ 90 h 121"/>
                <a:gd name="T24" fmla="*/ 161 w 290"/>
                <a:gd name="T25" fmla="*/ 87 h 121"/>
                <a:gd name="T26" fmla="*/ 166 w 290"/>
                <a:gd name="T27" fmla="*/ 121 h 121"/>
                <a:gd name="T28" fmla="*/ 196 w 290"/>
                <a:gd name="T29" fmla="*/ 106 h 121"/>
                <a:gd name="T30" fmla="*/ 197 w 290"/>
                <a:gd name="T31" fmla="*/ 106 h 121"/>
                <a:gd name="T32" fmla="*/ 222 w 290"/>
                <a:gd name="T33" fmla="*/ 106 h 121"/>
                <a:gd name="T34" fmla="*/ 232 w 290"/>
                <a:gd name="T35" fmla="*/ 78 h 121"/>
                <a:gd name="T36" fmla="*/ 236 w 290"/>
                <a:gd name="T37" fmla="*/ 73 h 121"/>
                <a:gd name="T38" fmla="*/ 251 w 290"/>
                <a:gd name="T39" fmla="*/ 57 h 121"/>
                <a:gd name="T40" fmla="*/ 253 w 290"/>
                <a:gd name="T41" fmla="*/ 55 h 121"/>
                <a:gd name="T42" fmla="*/ 261 w 290"/>
                <a:gd name="T43" fmla="*/ 48 h 121"/>
                <a:gd name="T44" fmla="*/ 290 w 290"/>
                <a:gd name="T45" fmla="*/ 29 h 121"/>
                <a:gd name="T46" fmla="*/ 255 w 290"/>
                <a:gd name="T47" fmla="*/ 11 h 121"/>
                <a:gd name="T48" fmla="*/ 240 w 290"/>
                <a:gd name="T49" fmla="*/ 4 h 121"/>
                <a:gd name="T50" fmla="*/ 231 w 290"/>
                <a:gd name="T51" fmla="*/ 1 h 121"/>
                <a:gd name="T52" fmla="*/ 222 w 290"/>
                <a:gd name="T53" fmla="*/ 0 h 121"/>
                <a:gd name="T54" fmla="*/ 68 w 290"/>
                <a:gd name="T55" fmla="*/ 0 h 121"/>
                <a:gd name="T56" fmla="*/ 58 w 290"/>
                <a:gd name="T57" fmla="*/ 1 h 121"/>
                <a:gd name="T58" fmla="*/ 50 w 290"/>
                <a:gd name="T59" fmla="*/ 4 h 121"/>
                <a:gd name="T60" fmla="*/ 50 w 290"/>
                <a:gd name="T61" fmla="*/ 4 h 121"/>
                <a:gd name="T62" fmla="*/ 34 w 290"/>
                <a:gd name="T63" fmla="*/ 11 h 121"/>
                <a:gd name="T64" fmla="*/ 0 w 290"/>
                <a:gd name="T65" fmla="*/ 29 h 121"/>
                <a:gd name="T66" fmla="*/ 23 w 290"/>
                <a:gd name="T67" fmla="*/ 44 h 121"/>
                <a:gd name="T68" fmla="*/ 29 w 290"/>
                <a:gd name="T69" fmla="*/ 48 h 121"/>
                <a:gd name="T70" fmla="*/ 130 w 290"/>
                <a:gd name="T71" fmla="*/ 38 h 121"/>
                <a:gd name="T72" fmla="*/ 145 w 290"/>
                <a:gd name="T73" fmla="*/ 38 h 121"/>
                <a:gd name="T74" fmla="*/ 160 w 290"/>
                <a:gd name="T75" fmla="*/ 38 h 121"/>
                <a:gd name="T76" fmla="*/ 168 w 290"/>
                <a:gd name="T77" fmla="*/ 68 h 121"/>
                <a:gd name="T78" fmla="*/ 167 w 290"/>
                <a:gd name="T79" fmla="*/ 70 h 121"/>
                <a:gd name="T80" fmla="*/ 145 w 290"/>
                <a:gd name="T81" fmla="*/ 78 h 121"/>
                <a:gd name="T82" fmla="*/ 123 w 290"/>
                <a:gd name="T83" fmla="*/ 70 h 121"/>
                <a:gd name="T84" fmla="*/ 122 w 290"/>
                <a:gd name="T85" fmla="*/ 68 h 121"/>
                <a:gd name="T86" fmla="*/ 130 w 290"/>
                <a:gd name="T87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0" h="121">
                  <a:moveTo>
                    <a:pt x="29" y="48"/>
                  </a:moveTo>
                  <a:cubicBezTo>
                    <a:pt x="31" y="50"/>
                    <a:pt x="34" y="53"/>
                    <a:pt x="37" y="55"/>
                  </a:cubicBezTo>
                  <a:cubicBezTo>
                    <a:pt x="43" y="60"/>
                    <a:pt x="48" y="66"/>
                    <a:pt x="54" y="73"/>
                  </a:cubicBezTo>
                  <a:cubicBezTo>
                    <a:pt x="55" y="74"/>
                    <a:pt x="56" y="76"/>
                    <a:pt x="57" y="78"/>
                  </a:cubicBezTo>
                  <a:cubicBezTo>
                    <a:pt x="62" y="84"/>
                    <a:pt x="67" y="93"/>
                    <a:pt x="68" y="106"/>
                  </a:cubicBezTo>
                  <a:cubicBezTo>
                    <a:pt x="75" y="106"/>
                    <a:pt x="83" y="106"/>
                    <a:pt x="92" y="106"/>
                  </a:cubicBezTo>
                  <a:cubicBezTo>
                    <a:pt x="93" y="106"/>
                    <a:pt x="93" y="106"/>
                    <a:pt x="93" y="106"/>
                  </a:cubicBezTo>
                  <a:cubicBezTo>
                    <a:pt x="106" y="106"/>
                    <a:pt x="117" y="112"/>
                    <a:pt x="124" y="121"/>
                  </a:cubicBezTo>
                  <a:cubicBezTo>
                    <a:pt x="129" y="87"/>
                    <a:pt x="129" y="87"/>
                    <a:pt x="129" y="87"/>
                  </a:cubicBezTo>
                  <a:cubicBezTo>
                    <a:pt x="134" y="89"/>
                    <a:pt x="139" y="90"/>
                    <a:pt x="145" y="90"/>
                  </a:cubicBezTo>
                  <a:cubicBezTo>
                    <a:pt x="145" y="90"/>
                    <a:pt x="145" y="90"/>
                    <a:pt x="145" y="90"/>
                  </a:cubicBezTo>
                  <a:cubicBezTo>
                    <a:pt x="145" y="90"/>
                    <a:pt x="145" y="90"/>
                    <a:pt x="145" y="90"/>
                  </a:cubicBezTo>
                  <a:cubicBezTo>
                    <a:pt x="150" y="90"/>
                    <a:pt x="156" y="89"/>
                    <a:pt x="161" y="87"/>
                  </a:cubicBezTo>
                  <a:cubicBezTo>
                    <a:pt x="166" y="121"/>
                    <a:pt x="166" y="121"/>
                    <a:pt x="166" y="121"/>
                  </a:cubicBezTo>
                  <a:cubicBezTo>
                    <a:pt x="173" y="112"/>
                    <a:pt x="184" y="106"/>
                    <a:pt x="196" y="106"/>
                  </a:cubicBezTo>
                  <a:cubicBezTo>
                    <a:pt x="197" y="106"/>
                    <a:pt x="197" y="106"/>
                    <a:pt x="197" y="106"/>
                  </a:cubicBezTo>
                  <a:cubicBezTo>
                    <a:pt x="205" y="106"/>
                    <a:pt x="214" y="106"/>
                    <a:pt x="222" y="106"/>
                  </a:cubicBezTo>
                  <a:cubicBezTo>
                    <a:pt x="223" y="93"/>
                    <a:pt x="228" y="84"/>
                    <a:pt x="232" y="78"/>
                  </a:cubicBezTo>
                  <a:cubicBezTo>
                    <a:pt x="233" y="76"/>
                    <a:pt x="235" y="74"/>
                    <a:pt x="236" y="73"/>
                  </a:cubicBezTo>
                  <a:cubicBezTo>
                    <a:pt x="240" y="67"/>
                    <a:pt x="245" y="62"/>
                    <a:pt x="251" y="57"/>
                  </a:cubicBezTo>
                  <a:cubicBezTo>
                    <a:pt x="252" y="56"/>
                    <a:pt x="252" y="56"/>
                    <a:pt x="253" y="55"/>
                  </a:cubicBezTo>
                  <a:cubicBezTo>
                    <a:pt x="256" y="53"/>
                    <a:pt x="258" y="51"/>
                    <a:pt x="261" y="48"/>
                  </a:cubicBezTo>
                  <a:cubicBezTo>
                    <a:pt x="271" y="41"/>
                    <a:pt x="282" y="34"/>
                    <a:pt x="290" y="29"/>
                  </a:cubicBezTo>
                  <a:cubicBezTo>
                    <a:pt x="277" y="21"/>
                    <a:pt x="265" y="15"/>
                    <a:pt x="255" y="11"/>
                  </a:cubicBezTo>
                  <a:cubicBezTo>
                    <a:pt x="246" y="7"/>
                    <a:pt x="240" y="4"/>
                    <a:pt x="240" y="4"/>
                  </a:cubicBezTo>
                  <a:cubicBezTo>
                    <a:pt x="237" y="3"/>
                    <a:pt x="234" y="2"/>
                    <a:pt x="231" y="1"/>
                  </a:cubicBezTo>
                  <a:cubicBezTo>
                    <a:pt x="229" y="1"/>
                    <a:pt x="225" y="0"/>
                    <a:pt x="222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4" y="0"/>
                    <a:pt x="61" y="1"/>
                    <a:pt x="58" y="1"/>
                  </a:cubicBezTo>
                  <a:cubicBezTo>
                    <a:pt x="55" y="2"/>
                    <a:pt x="52" y="3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3" y="7"/>
                    <a:pt x="34" y="11"/>
                  </a:cubicBezTo>
                  <a:cubicBezTo>
                    <a:pt x="25" y="15"/>
                    <a:pt x="13" y="21"/>
                    <a:pt x="0" y="29"/>
                  </a:cubicBezTo>
                  <a:cubicBezTo>
                    <a:pt x="8" y="34"/>
                    <a:pt x="16" y="39"/>
                    <a:pt x="23" y="44"/>
                  </a:cubicBezTo>
                  <a:cubicBezTo>
                    <a:pt x="25" y="45"/>
                    <a:pt x="27" y="47"/>
                    <a:pt x="29" y="48"/>
                  </a:cubicBezTo>
                  <a:close/>
                  <a:moveTo>
                    <a:pt x="130" y="38"/>
                  </a:moveTo>
                  <a:cubicBezTo>
                    <a:pt x="145" y="38"/>
                    <a:pt x="145" y="38"/>
                    <a:pt x="145" y="38"/>
                  </a:cubicBezTo>
                  <a:cubicBezTo>
                    <a:pt x="160" y="38"/>
                    <a:pt x="160" y="38"/>
                    <a:pt x="160" y="38"/>
                  </a:cubicBezTo>
                  <a:cubicBezTo>
                    <a:pt x="168" y="68"/>
                    <a:pt x="168" y="68"/>
                    <a:pt x="168" y="68"/>
                  </a:cubicBezTo>
                  <a:cubicBezTo>
                    <a:pt x="167" y="70"/>
                    <a:pt x="167" y="70"/>
                    <a:pt x="167" y="70"/>
                  </a:cubicBezTo>
                  <a:cubicBezTo>
                    <a:pt x="160" y="76"/>
                    <a:pt x="153" y="78"/>
                    <a:pt x="145" y="78"/>
                  </a:cubicBezTo>
                  <a:cubicBezTo>
                    <a:pt x="137" y="78"/>
                    <a:pt x="130" y="76"/>
                    <a:pt x="123" y="70"/>
                  </a:cubicBezTo>
                  <a:cubicBezTo>
                    <a:pt x="122" y="68"/>
                    <a:pt x="122" y="68"/>
                    <a:pt x="122" y="68"/>
                  </a:cubicBezTo>
                  <a:lnTo>
                    <a:pt x="130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74" name="Freeform 415"/>
            <p:cNvSpPr>
              <a:spLocks/>
            </p:cNvSpPr>
            <p:nvPr/>
          </p:nvSpPr>
          <p:spPr bwMode="gray">
            <a:xfrm>
              <a:off x="4931629" y="4483477"/>
              <a:ext cx="89076" cy="52842"/>
            </a:xfrm>
            <a:custGeom>
              <a:avLst/>
              <a:gdLst>
                <a:gd name="T0" fmla="*/ 51 w 112"/>
                <a:gd name="T1" fmla="*/ 20 h 64"/>
                <a:gd name="T2" fmla="*/ 50 w 112"/>
                <a:gd name="T3" fmla="*/ 24 h 64"/>
                <a:gd name="T4" fmla="*/ 34 w 112"/>
                <a:gd name="T5" fmla="*/ 43 h 64"/>
                <a:gd name="T6" fmla="*/ 24 w 112"/>
                <a:gd name="T7" fmla="*/ 50 h 64"/>
                <a:gd name="T8" fmla="*/ 16 w 112"/>
                <a:gd name="T9" fmla="*/ 54 h 64"/>
                <a:gd name="T10" fmla="*/ 2 w 112"/>
                <a:gd name="T11" fmla="*/ 59 h 64"/>
                <a:gd name="T12" fmla="*/ 0 w 112"/>
                <a:gd name="T13" fmla="*/ 60 h 64"/>
                <a:gd name="T14" fmla="*/ 2 w 112"/>
                <a:gd name="T15" fmla="*/ 60 h 64"/>
                <a:gd name="T16" fmla="*/ 16 w 112"/>
                <a:gd name="T17" fmla="*/ 62 h 64"/>
                <a:gd name="T18" fmla="*/ 24 w 112"/>
                <a:gd name="T19" fmla="*/ 62 h 64"/>
                <a:gd name="T20" fmla="*/ 52 w 112"/>
                <a:gd name="T21" fmla="*/ 64 h 64"/>
                <a:gd name="T22" fmla="*/ 85 w 112"/>
                <a:gd name="T23" fmla="*/ 64 h 64"/>
                <a:gd name="T24" fmla="*/ 105 w 112"/>
                <a:gd name="T25" fmla="*/ 53 h 64"/>
                <a:gd name="T26" fmla="*/ 112 w 112"/>
                <a:gd name="T27" fmla="*/ 32 h 64"/>
                <a:gd name="T28" fmla="*/ 110 w 112"/>
                <a:gd name="T29" fmla="*/ 20 h 64"/>
                <a:gd name="T30" fmla="*/ 110 w 112"/>
                <a:gd name="T31" fmla="*/ 19 h 64"/>
                <a:gd name="T32" fmla="*/ 80 w 112"/>
                <a:gd name="T33" fmla="*/ 0 h 64"/>
                <a:gd name="T34" fmla="*/ 56 w 112"/>
                <a:gd name="T35" fmla="*/ 0 h 64"/>
                <a:gd name="T36" fmla="*/ 51 w 112"/>
                <a:gd name="T37" fmla="*/ 2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64">
                  <a:moveTo>
                    <a:pt x="51" y="20"/>
                  </a:moveTo>
                  <a:cubicBezTo>
                    <a:pt x="51" y="21"/>
                    <a:pt x="50" y="23"/>
                    <a:pt x="50" y="24"/>
                  </a:cubicBezTo>
                  <a:cubicBezTo>
                    <a:pt x="46" y="31"/>
                    <a:pt x="41" y="37"/>
                    <a:pt x="34" y="43"/>
                  </a:cubicBezTo>
                  <a:cubicBezTo>
                    <a:pt x="31" y="46"/>
                    <a:pt x="27" y="48"/>
                    <a:pt x="24" y="50"/>
                  </a:cubicBezTo>
                  <a:cubicBezTo>
                    <a:pt x="21" y="52"/>
                    <a:pt x="18" y="53"/>
                    <a:pt x="16" y="54"/>
                  </a:cubicBezTo>
                  <a:cubicBezTo>
                    <a:pt x="11" y="56"/>
                    <a:pt x="7" y="58"/>
                    <a:pt x="2" y="59"/>
                  </a:cubicBezTo>
                  <a:cubicBezTo>
                    <a:pt x="1" y="60"/>
                    <a:pt x="1" y="60"/>
                    <a:pt x="0" y="60"/>
                  </a:cubicBezTo>
                  <a:cubicBezTo>
                    <a:pt x="1" y="60"/>
                    <a:pt x="1" y="60"/>
                    <a:pt x="2" y="60"/>
                  </a:cubicBezTo>
                  <a:cubicBezTo>
                    <a:pt x="6" y="61"/>
                    <a:pt x="11" y="61"/>
                    <a:pt x="16" y="62"/>
                  </a:cubicBezTo>
                  <a:cubicBezTo>
                    <a:pt x="18" y="62"/>
                    <a:pt x="21" y="62"/>
                    <a:pt x="24" y="62"/>
                  </a:cubicBezTo>
                  <a:cubicBezTo>
                    <a:pt x="32" y="63"/>
                    <a:pt x="42" y="63"/>
                    <a:pt x="52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93" y="63"/>
                    <a:pt x="100" y="58"/>
                    <a:pt x="105" y="53"/>
                  </a:cubicBezTo>
                  <a:cubicBezTo>
                    <a:pt x="110" y="47"/>
                    <a:pt x="112" y="40"/>
                    <a:pt x="112" y="32"/>
                  </a:cubicBezTo>
                  <a:cubicBezTo>
                    <a:pt x="112" y="28"/>
                    <a:pt x="112" y="24"/>
                    <a:pt x="110" y="20"/>
                  </a:cubicBezTo>
                  <a:cubicBezTo>
                    <a:pt x="110" y="20"/>
                    <a:pt x="110" y="19"/>
                    <a:pt x="110" y="19"/>
                  </a:cubicBezTo>
                  <a:cubicBezTo>
                    <a:pt x="105" y="8"/>
                    <a:pt x="93" y="0"/>
                    <a:pt x="80" y="0"/>
                  </a:cubicBezTo>
                  <a:cubicBezTo>
                    <a:pt x="72" y="0"/>
                    <a:pt x="63" y="0"/>
                    <a:pt x="56" y="0"/>
                  </a:cubicBezTo>
                  <a:cubicBezTo>
                    <a:pt x="56" y="7"/>
                    <a:pt x="54" y="14"/>
                    <a:pt x="51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75" name="Freeform 416"/>
            <p:cNvSpPr>
              <a:spLocks/>
            </p:cNvSpPr>
            <p:nvPr/>
          </p:nvSpPr>
          <p:spPr bwMode="gray">
            <a:xfrm>
              <a:off x="5050399" y="4483477"/>
              <a:ext cx="91777" cy="52842"/>
            </a:xfrm>
            <a:custGeom>
              <a:avLst/>
              <a:gdLst>
                <a:gd name="T0" fmla="*/ 0 w 113"/>
                <a:gd name="T1" fmla="*/ 32 h 64"/>
                <a:gd name="T2" fmla="*/ 8 w 113"/>
                <a:gd name="T3" fmla="*/ 53 h 64"/>
                <a:gd name="T4" fmla="*/ 27 w 113"/>
                <a:gd name="T5" fmla="*/ 64 h 64"/>
                <a:gd name="T6" fmla="*/ 61 w 113"/>
                <a:gd name="T7" fmla="*/ 64 h 64"/>
                <a:gd name="T8" fmla="*/ 89 w 113"/>
                <a:gd name="T9" fmla="*/ 62 h 64"/>
                <a:gd name="T10" fmla="*/ 97 w 113"/>
                <a:gd name="T11" fmla="*/ 62 h 64"/>
                <a:gd name="T12" fmla="*/ 109 w 113"/>
                <a:gd name="T13" fmla="*/ 61 h 64"/>
                <a:gd name="T14" fmla="*/ 113 w 113"/>
                <a:gd name="T15" fmla="*/ 60 h 64"/>
                <a:gd name="T16" fmla="*/ 109 w 113"/>
                <a:gd name="T17" fmla="*/ 59 h 64"/>
                <a:gd name="T18" fmla="*/ 97 w 113"/>
                <a:gd name="T19" fmla="*/ 54 h 64"/>
                <a:gd name="T20" fmla="*/ 92 w 113"/>
                <a:gd name="T21" fmla="*/ 52 h 64"/>
                <a:gd name="T22" fmla="*/ 89 w 113"/>
                <a:gd name="T23" fmla="*/ 50 h 64"/>
                <a:gd name="T24" fmla="*/ 63 w 113"/>
                <a:gd name="T25" fmla="*/ 24 h 64"/>
                <a:gd name="T26" fmla="*/ 61 w 113"/>
                <a:gd name="T27" fmla="*/ 20 h 64"/>
                <a:gd name="T28" fmla="*/ 57 w 113"/>
                <a:gd name="T29" fmla="*/ 0 h 64"/>
                <a:gd name="T30" fmla="*/ 32 w 113"/>
                <a:gd name="T31" fmla="*/ 0 h 64"/>
                <a:gd name="T32" fmla="*/ 3 w 113"/>
                <a:gd name="T33" fmla="*/ 19 h 64"/>
                <a:gd name="T34" fmla="*/ 3 w 113"/>
                <a:gd name="T35" fmla="*/ 20 h 64"/>
                <a:gd name="T36" fmla="*/ 0 w 113"/>
                <a:gd name="T37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64">
                  <a:moveTo>
                    <a:pt x="0" y="32"/>
                  </a:moveTo>
                  <a:cubicBezTo>
                    <a:pt x="0" y="40"/>
                    <a:pt x="3" y="47"/>
                    <a:pt x="8" y="53"/>
                  </a:cubicBezTo>
                  <a:cubicBezTo>
                    <a:pt x="13" y="58"/>
                    <a:pt x="20" y="63"/>
                    <a:pt x="27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71" y="63"/>
                    <a:pt x="80" y="63"/>
                    <a:pt x="89" y="62"/>
                  </a:cubicBezTo>
                  <a:cubicBezTo>
                    <a:pt x="92" y="62"/>
                    <a:pt x="94" y="62"/>
                    <a:pt x="97" y="62"/>
                  </a:cubicBezTo>
                  <a:cubicBezTo>
                    <a:pt x="101" y="61"/>
                    <a:pt x="105" y="61"/>
                    <a:pt x="109" y="61"/>
                  </a:cubicBezTo>
                  <a:cubicBezTo>
                    <a:pt x="111" y="61"/>
                    <a:pt x="112" y="60"/>
                    <a:pt x="113" y="60"/>
                  </a:cubicBezTo>
                  <a:cubicBezTo>
                    <a:pt x="112" y="60"/>
                    <a:pt x="110" y="59"/>
                    <a:pt x="109" y="59"/>
                  </a:cubicBezTo>
                  <a:cubicBezTo>
                    <a:pt x="105" y="58"/>
                    <a:pt x="101" y="56"/>
                    <a:pt x="97" y="54"/>
                  </a:cubicBezTo>
                  <a:cubicBezTo>
                    <a:pt x="95" y="53"/>
                    <a:pt x="94" y="53"/>
                    <a:pt x="92" y="52"/>
                  </a:cubicBezTo>
                  <a:cubicBezTo>
                    <a:pt x="91" y="51"/>
                    <a:pt x="90" y="51"/>
                    <a:pt x="89" y="50"/>
                  </a:cubicBezTo>
                  <a:cubicBezTo>
                    <a:pt x="77" y="43"/>
                    <a:pt x="69" y="35"/>
                    <a:pt x="63" y="24"/>
                  </a:cubicBezTo>
                  <a:cubicBezTo>
                    <a:pt x="62" y="23"/>
                    <a:pt x="62" y="21"/>
                    <a:pt x="61" y="20"/>
                  </a:cubicBezTo>
                  <a:cubicBezTo>
                    <a:pt x="59" y="14"/>
                    <a:pt x="57" y="7"/>
                    <a:pt x="57" y="0"/>
                  </a:cubicBezTo>
                  <a:cubicBezTo>
                    <a:pt x="49" y="0"/>
                    <a:pt x="41" y="0"/>
                    <a:pt x="32" y="0"/>
                  </a:cubicBezTo>
                  <a:cubicBezTo>
                    <a:pt x="19" y="0"/>
                    <a:pt x="8" y="8"/>
                    <a:pt x="3" y="19"/>
                  </a:cubicBezTo>
                  <a:cubicBezTo>
                    <a:pt x="3" y="19"/>
                    <a:pt x="3" y="20"/>
                    <a:pt x="3" y="20"/>
                  </a:cubicBezTo>
                  <a:cubicBezTo>
                    <a:pt x="1" y="24"/>
                    <a:pt x="0" y="28"/>
                    <a:pt x="0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76" name="Freeform 423"/>
            <p:cNvSpPr>
              <a:spLocks noEditPoints="1"/>
            </p:cNvSpPr>
            <p:nvPr/>
          </p:nvSpPr>
          <p:spPr bwMode="gray">
            <a:xfrm>
              <a:off x="4931629" y="4388919"/>
              <a:ext cx="288825" cy="147399"/>
            </a:xfrm>
            <a:custGeom>
              <a:avLst/>
              <a:gdLst>
                <a:gd name="T0" fmla="*/ 29 w 359"/>
                <a:gd name="T1" fmla="*/ 43 h 178"/>
                <a:gd name="T2" fmla="*/ 31 w 359"/>
                <a:gd name="T3" fmla="*/ 44 h 178"/>
                <a:gd name="T4" fmla="*/ 57 w 359"/>
                <a:gd name="T5" fmla="*/ 67 h 178"/>
                <a:gd name="T6" fmla="*/ 65 w 359"/>
                <a:gd name="T7" fmla="*/ 78 h 178"/>
                <a:gd name="T8" fmla="*/ 76 w 359"/>
                <a:gd name="T9" fmla="*/ 106 h 178"/>
                <a:gd name="T10" fmla="*/ 84 w 359"/>
                <a:gd name="T11" fmla="*/ 106 h 178"/>
                <a:gd name="T12" fmla="*/ 86 w 359"/>
                <a:gd name="T13" fmla="*/ 106 h 178"/>
                <a:gd name="T14" fmla="*/ 117 w 359"/>
                <a:gd name="T15" fmla="*/ 121 h 178"/>
                <a:gd name="T16" fmla="*/ 121 w 359"/>
                <a:gd name="T17" fmla="*/ 87 h 178"/>
                <a:gd name="T18" fmla="*/ 137 w 359"/>
                <a:gd name="T19" fmla="*/ 90 h 178"/>
                <a:gd name="T20" fmla="*/ 137 w 359"/>
                <a:gd name="T21" fmla="*/ 90 h 178"/>
                <a:gd name="T22" fmla="*/ 137 w 359"/>
                <a:gd name="T23" fmla="*/ 90 h 178"/>
                <a:gd name="T24" fmla="*/ 154 w 359"/>
                <a:gd name="T25" fmla="*/ 87 h 178"/>
                <a:gd name="T26" fmla="*/ 158 w 359"/>
                <a:gd name="T27" fmla="*/ 121 h 178"/>
                <a:gd name="T28" fmla="*/ 189 w 359"/>
                <a:gd name="T29" fmla="*/ 106 h 178"/>
                <a:gd name="T30" fmla="*/ 189 w 359"/>
                <a:gd name="T31" fmla="*/ 106 h 178"/>
                <a:gd name="T32" fmla="*/ 246 w 359"/>
                <a:gd name="T33" fmla="*/ 104 h 178"/>
                <a:gd name="T34" fmla="*/ 246 w 359"/>
                <a:gd name="T35" fmla="*/ 81 h 178"/>
                <a:gd name="T36" fmla="*/ 254 w 359"/>
                <a:gd name="T37" fmla="*/ 86 h 178"/>
                <a:gd name="T38" fmla="*/ 262 w 359"/>
                <a:gd name="T39" fmla="*/ 91 h 178"/>
                <a:gd name="T40" fmla="*/ 275 w 359"/>
                <a:gd name="T41" fmla="*/ 99 h 178"/>
                <a:gd name="T42" fmla="*/ 285 w 359"/>
                <a:gd name="T43" fmla="*/ 107 h 178"/>
                <a:gd name="T44" fmla="*/ 271 w 359"/>
                <a:gd name="T45" fmla="*/ 109 h 178"/>
                <a:gd name="T46" fmla="*/ 254 w 359"/>
                <a:gd name="T47" fmla="*/ 112 h 178"/>
                <a:gd name="T48" fmla="*/ 246 w 359"/>
                <a:gd name="T49" fmla="*/ 112 h 178"/>
                <a:gd name="T50" fmla="*/ 189 w 359"/>
                <a:gd name="T51" fmla="*/ 114 h 178"/>
                <a:gd name="T52" fmla="*/ 160 w 359"/>
                <a:gd name="T53" fmla="*/ 133 h 178"/>
                <a:gd name="T54" fmla="*/ 159 w 359"/>
                <a:gd name="T55" fmla="*/ 134 h 178"/>
                <a:gd name="T56" fmla="*/ 157 w 359"/>
                <a:gd name="T57" fmla="*/ 146 h 178"/>
                <a:gd name="T58" fmla="*/ 164 w 359"/>
                <a:gd name="T59" fmla="*/ 167 h 178"/>
                <a:gd name="T60" fmla="*/ 184 w 359"/>
                <a:gd name="T61" fmla="*/ 178 h 178"/>
                <a:gd name="T62" fmla="*/ 218 w 359"/>
                <a:gd name="T63" fmla="*/ 178 h 178"/>
                <a:gd name="T64" fmla="*/ 246 w 359"/>
                <a:gd name="T65" fmla="*/ 176 h 178"/>
                <a:gd name="T66" fmla="*/ 254 w 359"/>
                <a:gd name="T67" fmla="*/ 176 h 178"/>
                <a:gd name="T68" fmla="*/ 266 w 359"/>
                <a:gd name="T69" fmla="*/ 175 h 178"/>
                <a:gd name="T70" fmla="*/ 306 w 359"/>
                <a:gd name="T71" fmla="*/ 167 h 178"/>
                <a:gd name="T72" fmla="*/ 341 w 359"/>
                <a:gd name="T73" fmla="*/ 151 h 178"/>
                <a:gd name="T74" fmla="*/ 354 w 359"/>
                <a:gd name="T75" fmla="*/ 134 h 178"/>
                <a:gd name="T76" fmla="*/ 359 w 359"/>
                <a:gd name="T77" fmla="*/ 113 h 178"/>
                <a:gd name="T78" fmla="*/ 349 w 359"/>
                <a:gd name="T79" fmla="*/ 82 h 178"/>
                <a:gd name="T80" fmla="*/ 348 w 359"/>
                <a:gd name="T81" fmla="*/ 80 h 178"/>
                <a:gd name="T82" fmla="*/ 317 w 359"/>
                <a:gd name="T83" fmla="*/ 51 h 178"/>
                <a:gd name="T84" fmla="*/ 248 w 359"/>
                <a:gd name="T85" fmla="*/ 11 h 178"/>
                <a:gd name="T86" fmla="*/ 233 w 359"/>
                <a:gd name="T87" fmla="*/ 4 h 178"/>
                <a:gd name="T88" fmla="*/ 224 w 359"/>
                <a:gd name="T89" fmla="*/ 1 h 178"/>
                <a:gd name="T90" fmla="*/ 215 w 359"/>
                <a:gd name="T91" fmla="*/ 0 h 178"/>
                <a:gd name="T92" fmla="*/ 60 w 359"/>
                <a:gd name="T93" fmla="*/ 0 h 178"/>
                <a:gd name="T94" fmla="*/ 51 w 359"/>
                <a:gd name="T95" fmla="*/ 1 h 178"/>
                <a:gd name="T96" fmla="*/ 42 w 359"/>
                <a:gd name="T97" fmla="*/ 4 h 178"/>
                <a:gd name="T98" fmla="*/ 42 w 359"/>
                <a:gd name="T99" fmla="*/ 4 h 178"/>
                <a:gd name="T100" fmla="*/ 27 w 359"/>
                <a:gd name="T101" fmla="*/ 11 h 178"/>
                <a:gd name="T102" fmla="*/ 0 w 359"/>
                <a:gd name="T103" fmla="*/ 24 h 178"/>
                <a:gd name="T104" fmla="*/ 21 w 359"/>
                <a:gd name="T105" fmla="*/ 37 h 178"/>
                <a:gd name="T106" fmla="*/ 29 w 359"/>
                <a:gd name="T107" fmla="*/ 43 h 178"/>
                <a:gd name="T108" fmla="*/ 122 w 359"/>
                <a:gd name="T109" fmla="*/ 38 h 178"/>
                <a:gd name="T110" fmla="*/ 137 w 359"/>
                <a:gd name="T111" fmla="*/ 38 h 178"/>
                <a:gd name="T112" fmla="*/ 153 w 359"/>
                <a:gd name="T113" fmla="*/ 38 h 178"/>
                <a:gd name="T114" fmla="*/ 160 w 359"/>
                <a:gd name="T115" fmla="*/ 68 h 178"/>
                <a:gd name="T116" fmla="*/ 159 w 359"/>
                <a:gd name="T117" fmla="*/ 70 h 178"/>
                <a:gd name="T118" fmla="*/ 137 w 359"/>
                <a:gd name="T119" fmla="*/ 78 h 178"/>
                <a:gd name="T120" fmla="*/ 116 w 359"/>
                <a:gd name="T121" fmla="*/ 70 h 178"/>
                <a:gd name="T122" fmla="*/ 115 w 359"/>
                <a:gd name="T123" fmla="*/ 68 h 178"/>
                <a:gd name="T124" fmla="*/ 122 w 359"/>
                <a:gd name="T125" fmla="*/ 3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9" h="178">
                  <a:moveTo>
                    <a:pt x="29" y="43"/>
                  </a:moveTo>
                  <a:cubicBezTo>
                    <a:pt x="30" y="43"/>
                    <a:pt x="30" y="44"/>
                    <a:pt x="31" y="44"/>
                  </a:cubicBezTo>
                  <a:cubicBezTo>
                    <a:pt x="39" y="50"/>
                    <a:pt x="49" y="58"/>
                    <a:pt x="57" y="67"/>
                  </a:cubicBezTo>
                  <a:cubicBezTo>
                    <a:pt x="60" y="71"/>
                    <a:pt x="63" y="74"/>
                    <a:pt x="65" y="78"/>
                  </a:cubicBezTo>
                  <a:cubicBezTo>
                    <a:pt x="70" y="84"/>
                    <a:pt x="75" y="94"/>
                    <a:pt x="76" y="106"/>
                  </a:cubicBezTo>
                  <a:cubicBezTo>
                    <a:pt x="79" y="106"/>
                    <a:pt x="81" y="106"/>
                    <a:pt x="84" y="106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98" y="106"/>
                    <a:pt x="109" y="112"/>
                    <a:pt x="117" y="121"/>
                  </a:cubicBezTo>
                  <a:cubicBezTo>
                    <a:pt x="121" y="87"/>
                    <a:pt x="121" y="87"/>
                    <a:pt x="121" y="87"/>
                  </a:cubicBezTo>
                  <a:cubicBezTo>
                    <a:pt x="126" y="89"/>
                    <a:pt x="132" y="90"/>
                    <a:pt x="137" y="90"/>
                  </a:cubicBezTo>
                  <a:cubicBezTo>
                    <a:pt x="137" y="90"/>
                    <a:pt x="137" y="90"/>
                    <a:pt x="137" y="90"/>
                  </a:cubicBezTo>
                  <a:cubicBezTo>
                    <a:pt x="137" y="90"/>
                    <a:pt x="137" y="90"/>
                    <a:pt x="137" y="90"/>
                  </a:cubicBezTo>
                  <a:cubicBezTo>
                    <a:pt x="143" y="90"/>
                    <a:pt x="148" y="89"/>
                    <a:pt x="154" y="87"/>
                  </a:cubicBezTo>
                  <a:cubicBezTo>
                    <a:pt x="158" y="121"/>
                    <a:pt x="158" y="121"/>
                    <a:pt x="158" y="121"/>
                  </a:cubicBezTo>
                  <a:cubicBezTo>
                    <a:pt x="165" y="112"/>
                    <a:pt x="177" y="106"/>
                    <a:pt x="189" y="106"/>
                  </a:cubicBezTo>
                  <a:cubicBezTo>
                    <a:pt x="189" y="106"/>
                    <a:pt x="189" y="106"/>
                    <a:pt x="189" y="106"/>
                  </a:cubicBezTo>
                  <a:cubicBezTo>
                    <a:pt x="211" y="106"/>
                    <a:pt x="230" y="105"/>
                    <a:pt x="246" y="104"/>
                  </a:cubicBezTo>
                  <a:cubicBezTo>
                    <a:pt x="246" y="81"/>
                    <a:pt x="246" y="81"/>
                    <a:pt x="246" y="81"/>
                  </a:cubicBezTo>
                  <a:cubicBezTo>
                    <a:pt x="248" y="83"/>
                    <a:pt x="251" y="84"/>
                    <a:pt x="254" y="86"/>
                  </a:cubicBezTo>
                  <a:cubicBezTo>
                    <a:pt x="256" y="88"/>
                    <a:pt x="259" y="89"/>
                    <a:pt x="262" y="91"/>
                  </a:cubicBezTo>
                  <a:cubicBezTo>
                    <a:pt x="267" y="94"/>
                    <a:pt x="271" y="97"/>
                    <a:pt x="275" y="99"/>
                  </a:cubicBezTo>
                  <a:cubicBezTo>
                    <a:pt x="279" y="102"/>
                    <a:pt x="282" y="104"/>
                    <a:pt x="285" y="107"/>
                  </a:cubicBezTo>
                  <a:cubicBezTo>
                    <a:pt x="281" y="108"/>
                    <a:pt x="276" y="109"/>
                    <a:pt x="271" y="109"/>
                  </a:cubicBezTo>
                  <a:cubicBezTo>
                    <a:pt x="266" y="110"/>
                    <a:pt x="260" y="111"/>
                    <a:pt x="254" y="112"/>
                  </a:cubicBezTo>
                  <a:cubicBezTo>
                    <a:pt x="251" y="112"/>
                    <a:pt x="248" y="112"/>
                    <a:pt x="246" y="112"/>
                  </a:cubicBezTo>
                  <a:cubicBezTo>
                    <a:pt x="230" y="113"/>
                    <a:pt x="211" y="114"/>
                    <a:pt x="189" y="114"/>
                  </a:cubicBezTo>
                  <a:cubicBezTo>
                    <a:pt x="176" y="114"/>
                    <a:pt x="165" y="122"/>
                    <a:pt x="160" y="133"/>
                  </a:cubicBezTo>
                  <a:cubicBezTo>
                    <a:pt x="160" y="133"/>
                    <a:pt x="159" y="134"/>
                    <a:pt x="159" y="134"/>
                  </a:cubicBezTo>
                  <a:cubicBezTo>
                    <a:pt x="158" y="138"/>
                    <a:pt x="157" y="142"/>
                    <a:pt x="157" y="146"/>
                  </a:cubicBezTo>
                  <a:cubicBezTo>
                    <a:pt x="157" y="154"/>
                    <a:pt x="160" y="161"/>
                    <a:pt x="164" y="167"/>
                  </a:cubicBezTo>
                  <a:cubicBezTo>
                    <a:pt x="169" y="172"/>
                    <a:pt x="176" y="177"/>
                    <a:pt x="184" y="178"/>
                  </a:cubicBezTo>
                  <a:cubicBezTo>
                    <a:pt x="218" y="178"/>
                    <a:pt x="218" y="178"/>
                    <a:pt x="218" y="178"/>
                  </a:cubicBezTo>
                  <a:cubicBezTo>
                    <a:pt x="228" y="177"/>
                    <a:pt x="237" y="177"/>
                    <a:pt x="246" y="176"/>
                  </a:cubicBezTo>
                  <a:cubicBezTo>
                    <a:pt x="248" y="176"/>
                    <a:pt x="251" y="176"/>
                    <a:pt x="254" y="176"/>
                  </a:cubicBezTo>
                  <a:cubicBezTo>
                    <a:pt x="258" y="175"/>
                    <a:pt x="262" y="175"/>
                    <a:pt x="266" y="175"/>
                  </a:cubicBezTo>
                  <a:cubicBezTo>
                    <a:pt x="281" y="173"/>
                    <a:pt x="295" y="171"/>
                    <a:pt x="306" y="167"/>
                  </a:cubicBezTo>
                  <a:cubicBezTo>
                    <a:pt x="319" y="164"/>
                    <a:pt x="331" y="159"/>
                    <a:pt x="341" y="151"/>
                  </a:cubicBezTo>
                  <a:cubicBezTo>
                    <a:pt x="346" y="146"/>
                    <a:pt x="351" y="141"/>
                    <a:pt x="354" y="134"/>
                  </a:cubicBezTo>
                  <a:cubicBezTo>
                    <a:pt x="357" y="128"/>
                    <a:pt x="359" y="120"/>
                    <a:pt x="359" y="113"/>
                  </a:cubicBezTo>
                  <a:cubicBezTo>
                    <a:pt x="359" y="100"/>
                    <a:pt x="354" y="90"/>
                    <a:pt x="349" y="82"/>
                  </a:cubicBezTo>
                  <a:cubicBezTo>
                    <a:pt x="349" y="82"/>
                    <a:pt x="348" y="81"/>
                    <a:pt x="348" y="80"/>
                  </a:cubicBezTo>
                  <a:cubicBezTo>
                    <a:pt x="339" y="68"/>
                    <a:pt x="328" y="59"/>
                    <a:pt x="317" y="51"/>
                  </a:cubicBezTo>
                  <a:cubicBezTo>
                    <a:pt x="293" y="33"/>
                    <a:pt x="265" y="19"/>
                    <a:pt x="248" y="11"/>
                  </a:cubicBezTo>
                  <a:cubicBezTo>
                    <a:pt x="239" y="7"/>
                    <a:pt x="233" y="4"/>
                    <a:pt x="233" y="4"/>
                  </a:cubicBezTo>
                  <a:cubicBezTo>
                    <a:pt x="230" y="3"/>
                    <a:pt x="227" y="2"/>
                    <a:pt x="224" y="1"/>
                  </a:cubicBezTo>
                  <a:cubicBezTo>
                    <a:pt x="221" y="1"/>
                    <a:pt x="218" y="0"/>
                    <a:pt x="215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7" y="0"/>
                    <a:pt x="54" y="1"/>
                    <a:pt x="51" y="1"/>
                  </a:cubicBezTo>
                  <a:cubicBezTo>
                    <a:pt x="48" y="2"/>
                    <a:pt x="45" y="3"/>
                    <a:pt x="42" y="4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4"/>
                    <a:pt x="36" y="7"/>
                    <a:pt x="27" y="11"/>
                  </a:cubicBezTo>
                  <a:cubicBezTo>
                    <a:pt x="20" y="14"/>
                    <a:pt x="10" y="19"/>
                    <a:pt x="0" y="24"/>
                  </a:cubicBezTo>
                  <a:cubicBezTo>
                    <a:pt x="8" y="29"/>
                    <a:pt x="15" y="33"/>
                    <a:pt x="21" y="37"/>
                  </a:cubicBezTo>
                  <a:cubicBezTo>
                    <a:pt x="24" y="39"/>
                    <a:pt x="27" y="41"/>
                    <a:pt x="29" y="43"/>
                  </a:cubicBezTo>
                  <a:close/>
                  <a:moveTo>
                    <a:pt x="122" y="38"/>
                  </a:moveTo>
                  <a:cubicBezTo>
                    <a:pt x="137" y="38"/>
                    <a:pt x="137" y="38"/>
                    <a:pt x="137" y="38"/>
                  </a:cubicBezTo>
                  <a:cubicBezTo>
                    <a:pt x="153" y="38"/>
                    <a:pt x="153" y="38"/>
                    <a:pt x="153" y="38"/>
                  </a:cubicBezTo>
                  <a:cubicBezTo>
                    <a:pt x="160" y="68"/>
                    <a:pt x="160" y="68"/>
                    <a:pt x="160" y="68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3" y="76"/>
                    <a:pt x="145" y="78"/>
                    <a:pt x="137" y="78"/>
                  </a:cubicBezTo>
                  <a:cubicBezTo>
                    <a:pt x="130" y="78"/>
                    <a:pt x="122" y="76"/>
                    <a:pt x="116" y="70"/>
                  </a:cubicBezTo>
                  <a:cubicBezTo>
                    <a:pt x="115" y="68"/>
                    <a:pt x="115" y="68"/>
                    <a:pt x="115" y="68"/>
                  </a:cubicBezTo>
                  <a:lnTo>
                    <a:pt x="122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77" name="Freeform 425"/>
            <p:cNvSpPr>
              <a:spLocks/>
            </p:cNvSpPr>
            <p:nvPr/>
          </p:nvSpPr>
          <p:spPr bwMode="gray">
            <a:xfrm>
              <a:off x="4256801" y="4541881"/>
              <a:ext cx="423791" cy="389354"/>
            </a:xfrm>
            <a:custGeom>
              <a:avLst/>
              <a:gdLst>
                <a:gd name="T0" fmla="*/ 15 w 532"/>
                <a:gd name="T1" fmla="*/ 94 h 473"/>
                <a:gd name="T2" fmla="*/ 103 w 532"/>
                <a:gd name="T3" fmla="*/ 94 h 473"/>
                <a:gd name="T4" fmla="*/ 69 w 532"/>
                <a:gd name="T5" fmla="*/ 202 h 473"/>
                <a:gd name="T6" fmla="*/ 23 w 532"/>
                <a:gd name="T7" fmla="*/ 449 h 473"/>
                <a:gd name="T8" fmla="*/ 22 w 532"/>
                <a:gd name="T9" fmla="*/ 473 h 473"/>
                <a:gd name="T10" fmla="*/ 192 w 532"/>
                <a:gd name="T11" fmla="*/ 473 h 473"/>
                <a:gd name="T12" fmla="*/ 218 w 532"/>
                <a:gd name="T13" fmla="*/ 411 h 473"/>
                <a:gd name="T14" fmla="*/ 222 w 532"/>
                <a:gd name="T15" fmla="*/ 404 h 473"/>
                <a:gd name="T16" fmla="*/ 292 w 532"/>
                <a:gd name="T17" fmla="*/ 297 h 473"/>
                <a:gd name="T18" fmla="*/ 301 w 532"/>
                <a:gd name="T19" fmla="*/ 286 h 473"/>
                <a:gd name="T20" fmla="*/ 321 w 532"/>
                <a:gd name="T21" fmla="*/ 264 h 473"/>
                <a:gd name="T22" fmla="*/ 368 w 532"/>
                <a:gd name="T23" fmla="*/ 220 h 473"/>
                <a:gd name="T24" fmla="*/ 377 w 532"/>
                <a:gd name="T25" fmla="*/ 212 h 473"/>
                <a:gd name="T26" fmla="*/ 423 w 532"/>
                <a:gd name="T27" fmla="*/ 179 h 473"/>
                <a:gd name="T28" fmla="*/ 430 w 532"/>
                <a:gd name="T29" fmla="*/ 175 h 473"/>
                <a:gd name="T30" fmla="*/ 508 w 532"/>
                <a:gd name="T31" fmla="*/ 134 h 473"/>
                <a:gd name="T32" fmla="*/ 517 w 532"/>
                <a:gd name="T33" fmla="*/ 130 h 473"/>
                <a:gd name="T34" fmla="*/ 524 w 532"/>
                <a:gd name="T35" fmla="*/ 127 h 473"/>
                <a:gd name="T36" fmla="*/ 525 w 532"/>
                <a:gd name="T37" fmla="*/ 127 h 473"/>
                <a:gd name="T38" fmla="*/ 532 w 532"/>
                <a:gd name="T39" fmla="*/ 117 h 473"/>
                <a:gd name="T40" fmla="*/ 532 w 532"/>
                <a:gd name="T41" fmla="*/ 0 h 473"/>
                <a:gd name="T42" fmla="*/ 508 w 532"/>
                <a:gd name="T43" fmla="*/ 0 h 473"/>
                <a:gd name="T44" fmla="*/ 496 w 532"/>
                <a:gd name="T45" fmla="*/ 0 h 473"/>
                <a:gd name="T46" fmla="*/ 488 w 532"/>
                <a:gd name="T47" fmla="*/ 0 h 473"/>
                <a:gd name="T48" fmla="*/ 460 w 532"/>
                <a:gd name="T49" fmla="*/ 0 h 473"/>
                <a:gd name="T50" fmla="*/ 425 w 532"/>
                <a:gd name="T51" fmla="*/ 0 h 473"/>
                <a:gd name="T52" fmla="*/ 409 w 532"/>
                <a:gd name="T53" fmla="*/ 0 h 473"/>
                <a:gd name="T54" fmla="*/ 350 w 532"/>
                <a:gd name="T55" fmla="*/ 0 h 473"/>
                <a:gd name="T56" fmla="*/ 333 w 532"/>
                <a:gd name="T57" fmla="*/ 0 h 473"/>
                <a:gd name="T58" fmla="*/ 299 w 532"/>
                <a:gd name="T59" fmla="*/ 0 h 473"/>
                <a:gd name="T60" fmla="*/ 271 w 532"/>
                <a:gd name="T61" fmla="*/ 0 h 473"/>
                <a:gd name="T62" fmla="*/ 263 w 532"/>
                <a:gd name="T63" fmla="*/ 0 h 473"/>
                <a:gd name="T64" fmla="*/ 250 w 532"/>
                <a:gd name="T65" fmla="*/ 0 h 473"/>
                <a:gd name="T66" fmla="*/ 15 w 532"/>
                <a:gd name="T67" fmla="*/ 0 h 473"/>
                <a:gd name="T68" fmla="*/ 0 w 532"/>
                <a:gd name="T69" fmla="*/ 14 h 473"/>
                <a:gd name="T70" fmla="*/ 0 w 532"/>
                <a:gd name="T71" fmla="*/ 80 h 473"/>
                <a:gd name="T72" fmla="*/ 15 w 532"/>
                <a:gd name="T73" fmla="*/ 94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32" h="473">
                  <a:moveTo>
                    <a:pt x="15" y="94"/>
                  </a:moveTo>
                  <a:cubicBezTo>
                    <a:pt x="103" y="94"/>
                    <a:pt x="103" y="94"/>
                    <a:pt x="103" y="94"/>
                  </a:cubicBezTo>
                  <a:cubicBezTo>
                    <a:pt x="98" y="107"/>
                    <a:pt x="84" y="148"/>
                    <a:pt x="69" y="202"/>
                  </a:cubicBezTo>
                  <a:cubicBezTo>
                    <a:pt x="49" y="274"/>
                    <a:pt x="27" y="369"/>
                    <a:pt x="23" y="449"/>
                  </a:cubicBezTo>
                  <a:cubicBezTo>
                    <a:pt x="23" y="457"/>
                    <a:pt x="22" y="465"/>
                    <a:pt x="22" y="473"/>
                  </a:cubicBezTo>
                  <a:cubicBezTo>
                    <a:pt x="114" y="473"/>
                    <a:pt x="192" y="473"/>
                    <a:pt x="192" y="473"/>
                  </a:cubicBezTo>
                  <a:cubicBezTo>
                    <a:pt x="192" y="473"/>
                    <a:pt x="199" y="448"/>
                    <a:pt x="218" y="411"/>
                  </a:cubicBezTo>
                  <a:cubicBezTo>
                    <a:pt x="219" y="408"/>
                    <a:pt x="221" y="406"/>
                    <a:pt x="222" y="404"/>
                  </a:cubicBezTo>
                  <a:cubicBezTo>
                    <a:pt x="238" y="373"/>
                    <a:pt x="261" y="335"/>
                    <a:pt x="292" y="297"/>
                  </a:cubicBezTo>
                  <a:cubicBezTo>
                    <a:pt x="295" y="293"/>
                    <a:pt x="298" y="290"/>
                    <a:pt x="301" y="286"/>
                  </a:cubicBezTo>
                  <a:cubicBezTo>
                    <a:pt x="308" y="279"/>
                    <a:pt x="314" y="271"/>
                    <a:pt x="321" y="264"/>
                  </a:cubicBezTo>
                  <a:cubicBezTo>
                    <a:pt x="335" y="249"/>
                    <a:pt x="351" y="234"/>
                    <a:pt x="368" y="220"/>
                  </a:cubicBezTo>
                  <a:cubicBezTo>
                    <a:pt x="371" y="217"/>
                    <a:pt x="374" y="215"/>
                    <a:pt x="377" y="212"/>
                  </a:cubicBezTo>
                  <a:cubicBezTo>
                    <a:pt x="392" y="201"/>
                    <a:pt x="407" y="190"/>
                    <a:pt x="423" y="179"/>
                  </a:cubicBezTo>
                  <a:cubicBezTo>
                    <a:pt x="425" y="178"/>
                    <a:pt x="427" y="176"/>
                    <a:pt x="430" y="175"/>
                  </a:cubicBezTo>
                  <a:cubicBezTo>
                    <a:pt x="454" y="160"/>
                    <a:pt x="479" y="146"/>
                    <a:pt x="508" y="134"/>
                  </a:cubicBezTo>
                  <a:cubicBezTo>
                    <a:pt x="511" y="133"/>
                    <a:pt x="514" y="131"/>
                    <a:pt x="517" y="130"/>
                  </a:cubicBezTo>
                  <a:cubicBezTo>
                    <a:pt x="519" y="129"/>
                    <a:pt x="522" y="128"/>
                    <a:pt x="524" y="127"/>
                  </a:cubicBezTo>
                  <a:cubicBezTo>
                    <a:pt x="525" y="127"/>
                    <a:pt x="525" y="127"/>
                    <a:pt x="525" y="127"/>
                  </a:cubicBezTo>
                  <a:cubicBezTo>
                    <a:pt x="527" y="123"/>
                    <a:pt x="530" y="120"/>
                    <a:pt x="532" y="117"/>
                  </a:cubicBezTo>
                  <a:cubicBezTo>
                    <a:pt x="532" y="0"/>
                    <a:pt x="532" y="0"/>
                    <a:pt x="532" y="0"/>
                  </a:cubicBezTo>
                  <a:cubicBezTo>
                    <a:pt x="508" y="0"/>
                    <a:pt x="508" y="0"/>
                    <a:pt x="508" y="0"/>
                  </a:cubicBezTo>
                  <a:cubicBezTo>
                    <a:pt x="496" y="0"/>
                    <a:pt x="496" y="0"/>
                    <a:pt x="496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60" y="0"/>
                    <a:pt x="460" y="0"/>
                    <a:pt x="460" y="0"/>
                  </a:cubicBezTo>
                  <a:cubicBezTo>
                    <a:pt x="425" y="0"/>
                    <a:pt x="425" y="0"/>
                    <a:pt x="425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350" y="0"/>
                    <a:pt x="350" y="0"/>
                    <a:pt x="350" y="0"/>
                  </a:cubicBezTo>
                  <a:cubicBezTo>
                    <a:pt x="333" y="0"/>
                    <a:pt x="333" y="0"/>
                    <a:pt x="333" y="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8"/>
                    <a:pt x="7" y="94"/>
                    <a:pt x="15" y="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78" name="Freeform 426"/>
            <p:cNvSpPr>
              <a:spLocks/>
            </p:cNvSpPr>
            <p:nvPr/>
          </p:nvSpPr>
          <p:spPr bwMode="gray">
            <a:xfrm>
              <a:off x="4899237" y="4541881"/>
              <a:ext cx="269931" cy="77871"/>
            </a:xfrm>
            <a:custGeom>
              <a:avLst/>
              <a:gdLst>
                <a:gd name="T0" fmla="*/ 19 w 100"/>
                <a:gd name="T1" fmla="*/ 0 h 28"/>
                <a:gd name="T2" fmla="*/ 16 w 100"/>
                <a:gd name="T3" fmla="*/ 0 h 28"/>
                <a:gd name="T4" fmla="*/ 12 w 100"/>
                <a:gd name="T5" fmla="*/ 0 h 28"/>
                <a:gd name="T6" fmla="*/ 0 w 100"/>
                <a:gd name="T7" fmla="*/ 0 h 28"/>
                <a:gd name="T8" fmla="*/ 0 w 100"/>
                <a:gd name="T9" fmla="*/ 28 h 28"/>
                <a:gd name="T10" fmla="*/ 12 w 100"/>
                <a:gd name="T11" fmla="*/ 28 h 28"/>
                <a:gd name="T12" fmla="*/ 16 w 100"/>
                <a:gd name="T13" fmla="*/ 28 h 28"/>
                <a:gd name="T14" fmla="*/ 19 w 100"/>
                <a:gd name="T15" fmla="*/ 28 h 28"/>
                <a:gd name="T16" fmla="*/ 47 w 100"/>
                <a:gd name="T17" fmla="*/ 28 h 28"/>
                <a:gd name="T18" fmla="*/ 55 w 100"/>
                <a:gd name="T19" fmla="*/ 28 h 28"/>
                <a:gd name="T20" fmla="*/ 83 w 100"/>
                <a:gd name="T21" fmla="*/ 28 h 28"/>
                <a:gd name="T22" fmla="*/ 85 w 100"/>
                <a:gd name="T23" fmla="*/ 28 h 28"/>
                <a:gd name="T24" fmla="*/ 89 w 100"/>
                <a:gd name="T25" fmla="*/ 28 h 28"/>
                <a:gd name="T26" fmla="*/ 100 w 100"/>
                <a:gd name="T27" fmla="*/ 28 h 28"/>
                <a:gd name="T28" fmla="*/ 100 w 100"/>
                <a:gd name="T29" fmla="*/ 0 h 28"/>
                <a:gd name="T30" fmla="*/ 89 w 100"/>
                <a:gd name="T31" fmla="*/ 0 h 28"/>
                <a:gd name="T32" fmla="*/ 85 w 100"/>
                <a:gd name="T33" fmla="*/ 0 h 28"/>
                <a:gd name="T34" fmla="*/ 83 w 100"/>
                <a:gd name="T35" fmla="*/ 0 h 28"/>
                <a:gd name="T36" fmla="*/ 75 w 100"/>
                <a:gd name="T37" fmla="*/ 0 h 28"/>
                <a:gd name="T38" fmla="*/ 64 w 100"/>
                <a:gd name="T39" fmla="*/ 0 h 28"/>
                <a:gd name="T40" fmla="*/ 59 w 100"/>
                <a:gd name="T41" fmla="*/ 0 h 28"/>
                <a:gd name="T42" fmla="*/ 42 w 100"/>
                <a:gd name="T43" fmla="*/ 0 h 28"/>
                <a:gd name="T44" fmla="*/ 37 w 100"/>
                <a:gd name="T45" fmla="*/ 0 h 28"/>
                <a:gd name="T46" fmla="*/ 27 w 100"/>
                <a:gd name="T47" fmla="*/ 0 h 28"/>
                <a:gd name="T48" fmla="*/ 19 w 100"/>
                <a:gd name="T4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0" h="28">
                  <a:moveTo>
                    <a:pt x="19" y="0"/>
                  </a:moveTo>
                  <a:lnTo>
                    <a:pt x="16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9" y="28"/>
                  </a:lnTo>
                  <a:lnTo>
                    <a:pt x="47" y="28"/>
                  </a:lnTo>
                  <a:lnTo>
                    <a:pt x="55" y="28"/>
                  </a:lnTo>
                  <a:lnTo>
                    <a:pt x="83" y="28"/>
                  </a:lnTo>
                  <a:lnTo>
                    <a:pt x="85" y="28"/>
                  </a:lnTo>
                  <a:lnTo>
                    <a:pt x="89" y="28"/>
                  </a:lnTo>
                  <a:lnTo>
                    <a:pt x="100" y="28"/>
                  </a:lnTo>
                  <a:lnTo>
                    <a:pt x="100" y="0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4" y="0"/>
                  </a:lnTo>
                  <a:lnTo>
                    <a:pt x="59" y="0"/>
                  </a:lnTo>
                  <a:lnTo>
                    <a:pt x="42" y="0"/>
                  </a:lnTo>
                  <a:lnTo>
                    <a:pt x="37" y="0"/>
                  </a:lnTo>
                  <a:lnTo>
                    <a:pt x="27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79" name="Freeform 427"/>
            <p:cNvSpPr>
              <a:spLocks/>
            </p:cNvSpPr>
            <p:nvPr/>
          </p:nvSpPr>
          <p:spPr bwMode="gray">
            <a:xfrm>
              <a:off x="4904145" y="4541881"/>
              <a:ext cx="426491" cy="389354"/>
            </a:xfrm>
            <a:custGeom>
              <a:avLst/>
              <a:gdLst>
                <a:gd name="T0" fmla="*/ 184 w 533"/>
                <a:gd name="T1" fmla="*/ 0 h 473"/>
                <a:gd name="T2" fmla="*/ 125 w 533"/>
                <a:gd name="T3" fmla="*/ 0 h 473"/>
                <a:gd name="T4" fmla="*/ 108 w 533"/>
                <a:gd name="T5" fmla="*/ 0 h 473"/>
                <a:gd name="T6" fmla="*/ 74 w 533"/>
                <a:gd name="T7" fmla="*/ 0 h 473"/>
                <a:gd name="T8" fmla="*/ 46 w 533"/>
                <a:gd name="T9" fmla="*/ 0 h 473"/>
                <a:gd name="T10" fmla="*/ 38 w 533"/>
                <a:gd name="T11" fmla="*/ 0 h 473"/>
                <a:gd name="T12" fmla="*/ 25 w 533"/>
                <a:gd name="T13" fmla="*/ 0 h 473"/>
                <a:gd name="T14" fmla="*/ 0 w 533"/>
                <a:gd name="T15" fmla="*/ 0 h 473"/>
                <a:gd name="T16" fmla="*/ 0 w 533"/>
                <a:gd name="T17" fmla="*/ 115 h 473"/>
                <a:gd name="T18" fmla="*/ 9 w 533"/>
                <a:gd name="T19" fmla="*/ 127 h 473"/>
                <a:gd name="T20" fmla="*/ 9 w 533"/>
                <a:gd name="T21" fmla="*/ 127 h 473"/>
                <a:gd name="T22" fmla="*/ 17 w 533"/>
                <a:gd name="T23" fmla="*/ 130 h 473"/>
                <a:gd name="T24" fmla="*/ 25 w 533"/>
                <a:gd name="T25" fmla="*/ 133 h 473"/>
                <a:gd name="T26" fmla="*/ 104 w 533"/>
                <a:gd name="T27" fmla="*/ 175 h 473"/>
                <a:gd name="T28" fmla="*/ 111 w 533"/>
                <a:gd name="T29" fmla="*/ 179 h 473"/>
                <a:gd name="T30" fmla="*/ 156 w 533"/>
                <a:gd name="T31" fmla="*/ 212 h 473"/>
                <a:gd name="T32" fmla="*/ 166 w 533"/>
                <a:gd name="T33" fmla="*/ 220 h 473"/>
                <a:gd name="T34" fmla="*/ 213 w 533"/>
                <a:gd name="T35" fmla="*/ 264 h 473"/>
                <a:gd name="T36" fmla="*/ 232 w 533"/>
                <a:gd name="T37" fmla="*/ 286 h 473"/>
                <a:gd name="T38" fmla="*/ 241 w 533"/>
                <a:gd name="T39" fmla="*/ 297 h 473"/>
                <a:gd name="T40" fmla="*/ 312 w 533"/>
                <a:gd name="T41" fmla="*/ 404 h 473"/>
                <a:gd name="T42" fmla="*/ 316 w 533"/>
                <a:gd name="T43" fmla="*/ 411 h 473"/>
                <a:gd name="T44" fmla="*/ 342 w 533"/>
                <a:gd name="T45" fmla="*/ 473 h 473"/>
                <a:gd name="T46" fmla="*/ 511 w 533"/>
                <a:gd name="T47" fmla="*/ 473 h 473"/>
                <a:gd name="T48" fmla="*/ 511 w 533"/>
                <a:gd name="T49" fmla="*/ 449 h 473"/>
                <a:gd name="T50" fmla="*/ 464 w 533"/>
                <a:gd name="T51" fmla="*/ 202 h 473"/>
                <a:gd name="T52" fmla="*/ 431 w 533"/>
                <a:gd name="T53" fmla="*/ 94 h 473"/>
                <a:gd name="T54" fmla="*/ 519 w 533"/>
                <a:gd name="T55" fmla="*/ 94 h 473"/>
                <a:gd name="T56" fmla="*/ 533 w 533"/>
                <a:gd name="T57" fmla="*/ 80 h 473"/>
                <a:gd name="T58" fmla="*/ 533 w 533"/>
                <a:gd name="T59" fmla="*/ 14 h 473"/>
                <a:gd name="T60" fmla="*/ 519 w 533"/>
                <a:gd name="T61" fmla="*/ 0 h 473"/>
                <a:gd name="T62" fmla="*/ 283 w 533"/>
                <a:gd name="T63" fmla="*/ 0 h 473"/>
                <a:gd name="T64" fmla="*/ 271 w 533"/>
                <a:gd name="T65" fmla="*/ 0 h 473"/>
                <a:gd name="T66" fmla="*/ 263 w 533"/>
                <a:gd name="T67" fmla="*/ 0 h 473"/>
                <a:gd name="T68" fmla="*/ 235 w 533"/>
                <a:gd name="T69" fmla="*/ 0 h 473"/>
                <a:gd name="T70" fmla="*/ 200 w 533"/>
                <a:gd name="T71" fmla="*/ 0 h 473"/>
                <a:gd name="T72" fmla="*/ 184 w 533"/>
                <a:gd name="T73" fmla="*/ 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33" h="473">
                  <a:moveTo>
                    <a:pt x="184" y="0"/>
                  </a:moveTo>
                  <a:cubicBezTo>
                    <a:pt x="125" y="0"/>
                    <a:pt x="125" y="0"/>
                    <a:pt x="125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9"/>
                    <a:pt x="6" y="123"/>
                    <a:pt x="9" y="127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12" y="128"/>
                    <a:pt x="14" y="129"/>
                    <a:pt x="17" y="130"/>
                  </a:cubicBezTo>
                  <a:cubicBezTo>
                    <a:pt x="19" y="131"/>
                    <a:pt x="22" y="132"/>
                    <a:pt x="25" y="133"/>
                  </a:cubicBezTo>
                  <a:cubicBezTo>
                    <a:pt x="53" y="145"/>
                    <a:pt x="80" y="159"/>
                    <a:pt x="104" y="175"/>
                  </a:cubicBezTo>
                  <a:cubicBezTo>
                    <a:pt x="106" y="176"/>
                    <a:pt x="109" y="178"/>
                    <a:pt x="111" y="179"/>
                  </a:cubicBezTo>
                  <a:cubicBezTo>
                    <a:pt x="127" y="190"/>
                    <a:pt x="142" y="201"/>
                    <a:pt x="156" y="212"/>
                  </a:cubicBezTo>
                  <a:cubicBezTo>
                    <a:pt x="160" y="215"/>
                    <a:pt x="163" y="217"/>
                    <a:pt x="166" y="220"/>
                  </a:cubicBezTo>
                  <a:cubicBezTo>
                    <a:pt x="183" y="234"/>
                    <a:pt x="199" y="249"/>
                    <a:pt x="213" y="264"/>
                  </a:cubicBezTo>
                  <a:cubicBezTo>
                    <a:pt x="220" y="271"/>
                    <a:pt x="226" y="279"/>
                    <a:pt x="232" y="286"/>
                  </a:cubicBezTo>
                  <a:cubicBezTo>
                    <a:pt x="235" y="290"/>
                    <a:pt x="239" y="293"/>
                    <a:pt x="241" y="297"/>
                  </a:cubicBezTo>
                  <a:cubicBezTo>
                    <a:pt x="273" y="335"/>
                    <a:pt x="296" y="373"/>
                    <a:pt x="312" y="404"/>
                  </a:cubicBezTo>
                  <a:cubicBezTo>
                    <a:pt x="313" y="406"/>
                    <a:pt x="314" y="408"/>
                    <a:pt x="316" y="411"/>
                  </a:cubicBezTo>
                  <a:cubicBezTo>
                    <a:pt x="334" y="448"/>
                    <a:pt x="342" y="473"/>
                    <a:pt x="342" y="473"/>
                  </a:cubicBezTo>
                  <a:cubicBezTo>
                    <a:pt x="342" y="473"/>
                    <a:pt x="419" y="473"/>
                    <a:pt x="511" y="473"/>
                  </a:cubicBezTo>
                  <a:cubicBezTo>
                    <a:pt x="511" y="465"/>
                    <a:pt x="511" y="457"/>
                    <a:pt x="511" y="449"/>
                  </a:cubicBezTo>
                  <a:cubicBezTo>
                    <a:pt x="507" y="369"/>
                    <a:pt x="485" y="274"/>
                    <a:pt x="464" y="202"/>
                  </a:cubicBezTo>
                  <a:cubicBezTo>
                    <a:pt x="449" y="148"/>
                    <a:pt x="435" y="107"/>
                    <a:pt x="431" y="94"/>
                  </a:cubicBezTo>
                  <a:cubicBezTo>
                    <a:pt x="519" y="94"/>
                    <a:pt x="519" y="94"/>
                    <a:pt x="519" y="94"/>
                  </a:cubicBezTo>
                  <a:cubicBezTo>
                    <a:pt x="527" y="94"/>
                    <a:pt x="533" y="88"/>
                    <a:pt x="533" y="80"/>
                  </a:cubicBezTo>
                  <a:cubicBezTo>
                    <a:pt x="533" y="14"/>
                    <a:pt x="533" y="14"/>
                    <a:pt x="533" y="14"/>
                  </a:cubicBezTo>
                  <a:cubicBezTo>
                    <a:pt x="533" y="6"/>
                    <a:pt x="527" y="0"/>
                    <a:pt x="519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00" y="0"/>
                    <a:pt x="200" y="0"/>
                    <a:pt x="200" y="0"/>
                  </a:cubicBezTo>
                  <a:lnTo>
                    <a:pt x="18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80" name="Freeform 428"/>
            <p:cNvSpPr>
              <a:spLocks/>
            </p:cNvSpPr>
            <p:nvPr/>
          </p:nvSpPr>
          <p:spPr bwMode="gray">
            <a:xfrm>
              <a:off x="4710286" y="4210929"/>
              <a:ext cx="164657" cy="169648"/>
            </a:xfrm>
            <a:custGeom>
              <a:avLst/>
              <a:gdLst>
                <a:gd name="T0" fmla="*/ 124 w 206"/>
                <a:gd name="T1" fmla="*/ 194 h 206"/>
                <a:gd name="T2" fmla="*/ 194 w 206"/>
                <a:gd name="T3" fmla="*/ 82 h 206"/>
                <a:gd name="T4" fmla="*/ 82 w 206"/>
                <a:gd name="T5" fmla="*/ 11 h 206"/>
                <a:gd name="T6" fmla="*/ 11 w 206"/>
                <a:gd name="T7" fmla="*/ 124 h 206"/>
                <a:gd name="T8" fmla="*/ 124 w 206"/>
                <a:gd name="T9" fmla="*/ 194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6">
                  <a:moveTo>
                    <a:pt x="124" y="194"/>
                  </a:moveTo>
                  <a:cubicBezTo>
                    <a:pt x="175" y="183"/>
                    <a:pt x="206" y="132"/>
                    <a:pt x="194" y="82"/>
                  </a:cubicBezTo>
                  <a:cubicBezTo>
                    <a:pt x="183" y="31"/>
                    <a:pt x="132" y="0"/>
                    <a:pt x="82" y="11"/>
                  </a:cubicBezTo>
                  <a:cubicBezTo>
                    <a:pt x="31" y="23"/>
                    <a:pt x="0" y="74"/>
                    <a:pt x="11" y="124"/>
                  </a:cubicBezTo>
                  <a:cubicBezTo>
                    <a:pt x="23" y="175"/>
                    <a:pt x="74" y="206"/>
                    <a:pt x="124" y="1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81" name="Freeform 429"/>
            <p:cNvSpPr>
              <a:spLocks/>
            </p:cNvSpPr>
            <p:nvPr/>
          </p:nvSpPr>
          <p:spPr bwMode="gray">
            <a:xfrm>
              <a:off x="4688691" y="4466790"/>
              <a:ext cx="10797" cy="8344"/>
            </a:xfrm>
            <a:custGeom>
              <a:avLst/>
              <a:gdLst>
                <a:gd name="T0" fmla="*/ 12 w 12"/>
                <a:gd name="T1" fmla="*/ 0 h 9"/>
                <a:gd name="T2" fmla="*/ 0 w 12"/>
                <a:gd name="T3" fmla="*/ 7 h 9"/>
                <a:gd name="T4" fmla="*/ 12 w 12"/>
                <a:gd name="T5" fmla="*/ 9 h 9"/>
                <a:gd name="T6" fmla="*/ 12 w 12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8" y="3"/>
                    <a:pt x="4" y="5"/>
                    <a:pt x="0" y="7"/>
                  </a:cubicBezTo>
                  <a:cubicBezTo>
                    <a:pt x="4" y="8"/>
                    <a:pt x="8" y="8"/>
                    <a:pt x="12" y="9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82" name="Freeform 430"/>
            <p:cNvSpPr>
              <a:spLocks/>
            </p:cNvSpPr>
            <p:nvPr/>
          </p:nvSpPr>
          <p:spPr bwMode="gray">
            <a:xfrm>
              <a:off x="4885740" y="4466790"/>
              <a:ext cx="8097" cy="8344"/>
            </a:xfrm>
            <a:custGeom>
              <a:avLst/>
              <a:gdLst>
                <a:gd name="T0" fmla="*/ 4 w 11"/>
                <a:gd name="T1" fmla="*/ 3 h 9"/>
                <a:gd name="T2" fmla="*/ 0 w 11"/>
                <a:gd name="T3" fmla="*/ 0 h 9"/>
                <a:gd name="T4" fmla="*/ 0 w 11"/>
                <a:gd name="T5" fmla="*/ 9 h 9"/>
                <a:gd name="T6" fmla="*/ 11 w 11"/>
                <a:gd name="T7" fmla="*/ 7 h 9"/>
                <a:gd name="T8" fmla="*/ 4 w 11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9">
                  <a:moveTo>
                    <a:pt x="4" y="3"/>
                  </a:moveTo>
                  <a:cubicBezTo>
                    <a:pt x="3" y="2"/>
                    <a:pt x="2" y="1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8"/>
                    <a:pt x="8" y="8"/>
                    <a:pt x="11" y="7"/>
                  </a:cubicBezTo>
                  <a:cubicBezTo>
                    <a:pt x="9" y="6"/>
                    <a:pt x="7" y="4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83" name="Freeform 431"/>
            <p:cNvSpPr>
              <a:spLocks noEditPoints="1"/>
            </p:cNvSpPr>
            <p:nvPr/>
          </p:nvSpPr>
          <p:spPr bwMode="gray">
            <a:xfrm>
              <a:off x="4615809" y="4388919"/>
              <a:ext cx="353609" cy="144617"/>
            </a:xfrm>
            <a:custGeom>
              <a:avLst/>
              <a:gdLst>
                <a:gd name="T0" fmla="*/ 5 w 444"/>
                <a:gd name="T1" fmla="*/ 134 h 174"/>
                <a:gd name="T2" fmla="*/ 31 w 444"/>
                <a:gd name="T3" fmla="*/ 159 h 174"/>
                <a:gd name="T4" fmla="*/ 48 w 444"/>
                <a:gd name="T5" fmla="*/ 166 h 174"/>
                <a:gd name="T6" fmla="*/ 77 w 444"/>
                <a:gd name="T7" fmla="*/ 172 h 174"/>
                <a:gd name="T8" fmla="*/ 84 w 444"/>
                <a:gd name="T9" fmla="*/ 171 h 174"/>
                <a:gd name="T10" fmla="*/ 108 w 444"/>
                <a:gd name="T11" fmla="*/ 126 h 174"/>
                <a:gd name="T12" fmla="*/ 160 w 444"/>
                <a:gd name="T13" fmla="*/ 126 h 174"/>
                <a:gd name="T14" fmla="*/ 308 w 444"/>
                <a:gd name="T15" fmla="*/ 126 h 174"/>
                <a:gd name="T16" fmla="*/ 358 w 444"/>
                <a:gd name="T17" fmla="*/ 150 h 174"/>
                <a:gd name="T18" fmla="*/ 358 w 444"/>
                <a:gd name="T19" fmla="*/ 174 h 174"/>
                <a:gd name="T20" fmla="*/ 390 w 444"/>
                <a:gd name="T21" fmla="*/ 167 h 174"/>
                <a:gd name="T22" fmla="*/ 412 w 444"/>
                <a:gd name="T23" fmla="*/ 159 h 174"/>
                <a:gd name="T24" fmla="*/ 425 w 444"/>
                <a:gd name="T25" fmla="*/ 151 h 174"/>
                <a:gd name="T26" fmla="*/ 439 w 444"/>
                <a:gd name="T27" fmla="*/ 134 h 174"/>
                <a:gd name="T28" fmla="*/ 444 w 444"/>
                <a:gd name="T29" fmla="*/ 113 h 174"/>
                <a:gd name="T30" fmla="*/ 434 w 444"/>
                <a:gd name="T31" fmla="*/ 82 h 174"/>
                <a:gd name="T32" fmla="*/ 420 w 444"/>
                <a:gd name="T33" fmla="*/ 66 h 174"/>
                <a:gd name="T34" fmla="*/ 401 w 444"/>
                <a:gd name="T35" fmla="*/ 51 h 174"/>
                <a:gd name="T36" fmla="*/ 317 w 444"/>
                <a:gd name="T37" fmla="*/ 4 h 174"/>
                <a:gd name="T38" fmla="*/ 299 w 444"/>
                <a:gd name="T39" fmla="*/ 0 h 174"/>
                <a:gd name="T40" fmla="*/ 135 w 444"/>
                <a:gd name="T41" fmla="*/ 1 h 174"/>
                <a:gd name="T42" fmla="*/ 127 w 444"/>
                <a:gd name="T43" fmla="*/ 4 h 174"/>
                <a:gd name="T44" fmla="*/ 70 w 444"/>
                <a:gd name="T45" fmla="*/ 33 h 174"/>
                <a:gd name="T46" fmla="*/ 40 w 444"/>
                <a:gd name="T47" fmla="*/ 53 h 174"/>
                <a:gd name="T48" fmla="*/ 19 w 444"/>
                <a:gd name="T49" fmla="*/ 71 h 174"/>
                <a:gd name="T50" fmla="*/ 1 w 444"/>
                <a:gd name="T51" fmla="*/ 106 h 174"/>
                <a:gd name="T52" fmla="*/ 0 w 444"/>
                <a:gd name="T53" fmla="*/ 114 h 174"/>
                <a:gd name="T54" fmla="*/ 114 w 444"/>
                <a:gd name="T55" fmla="*/ 81 h 174"/>
                <a:gd name="T56" fmla="*/ 114 w 444"/>
                <a:gd name="T57" fmla="*/ 112 h 174"/>
                <a:gd name="T58" fmla="*/ 74 w 444"/>
                <a:gd name="T59" fmla="*/ 107 h 174"/>
                <a:gd name="T60" fmla="*/ 94 w 444"/>
                <a:gd name="T61" fmla="*/ 93 h 174"/>
                <a:gd name="T62" fmla="*/ 337 w 444"/>
                <a:gd name="T63" fmla="*/ 85 h 174"/>
                <a:gd name="T64" fmla="*/ 369 w 444"/>
                <a:gd name="T65" fmla="*/ 107 h 174"/>
                <a:gd name="T66" fmla="*/ 330 w 444"/>
                <a:gd name="T67" fmla="*/ 112 h 174"/>
                <a:gd name="T68" fmla="*/ 330 w 444"/>
                <a:gd name="T69" fmla="*/ 81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4" h="174">
                  <a:moveTo>
                    <a:pt x="0" y="114"/>
                  </a:moveTo>
                  <a:cubicBezTo>
                    <a:pt x="0" y="121"/>
                    <a:pt x="2" y="128"/>
                    <a:pt x="5" y="134"/>
                  </a:cubicBezTo>
                  <a:cubicBezTo>
                    <a:pt x="5" y="134"/>
                    <a:pt x="5" y="134"/>
                    <a:pt x="5" y="134"/>
                  </a:cubicBezTo>
                  <a:cubicBezTo>
                    <a:pt x="11" y="146"/>
                    <a:pt x="21" y="153"/>
                    <a:pt x="31" y="159"/>
                  </a:cubicBezTo>
                  <a:cubicBezTo>
                    <a:pt x="33" y="160"/>
                    <a:pt x="36" y="161"/>
                    <a:pt x="40" y="163"/>
                  </a:cubicBezTo>
                  <a:cubicBezTo>
                    <a:pt x="42" y="164"/>
                    <a:pt x="45" y="165"/>
                    <a:pt x="48" y="166"/>
                  </a:cubicBezTo>
                  <a:cubicBezTo>
                    <a:pt x="51" y="167"/>
                    <a:pt x="55" y="168"/>
                    <a:pt x="60" y="169"/>
                  </a:cubicBezTo>
                  <a:cubicBezTo>
                    <a:pt x="65" y="170"/>
                    <a:pt x="71" y="171"/>
                    <a:pt x="77" y="172"/>
                  </a:cubicBezTo>
                  <a:cubicBezTo>
                    <a:pt x="79" y="173"/>
                    <a:pt x="82" y="173"/>
                    <a:pt x="84" y="173"/>
                  </a:cubicBezTo>
                  <a:cubicBezTo>
                    <a:pt x="84" y="171"/>
                    <a:pt x="84" y="171"/>
                    <a:pt x="84" y="171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84" y="137"/>
                    <a:pt x="95" y="126"/>
                    <a:pt x="108" y="126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60" y="126"/>
                    <a:pt x="160" y="126"/>
                    <a:pt x="160" y="126"/>
                  </a:cubicBezTo>
                  <a:cubicBezTo>
                    <a:pt x="300" y="126"/>
                    <a:pt x="300" y="126"/>
                    <a:pt x="300" y="126"/>
                  </a:cubicBezTo>
                  <a:cubicBezTo>
                    <a:pt x="308" y="126"/>
                    <a:pt x="308" y="126"/>
                    <a:pt x="308" y="126"/>
                  </a:cubicBezTo>
                  <a:cubicBezTo>
                    <a:pt x="334" y="126"/>
                    <a:pt x="334" y="126"/>
                    <a:pt x="334" y="126"/>
                  </a:cubicBezTo>
                  <a:cubicBezTo>
                    <a:pt x="347" y="126"/>
                    <a:pt x="358" y="137"/>
                    <a:pt x="358" y="150"/>
                  </a:cubicBezTo>
                  <a:cubicBezTo>
                    <a:pt x="358" y="167"/>
                    <a:pt x="358" y="167"/>
                    <a:pt x="358" y="167"/>
                  </a:cubicBezTo>
                  <a:cubicBezTo>
                    <a:pt x="358" y="174"/>
                    <a:pt x="358" y="174"/>
                    <a:pt x="358" y="174"/>
                  </a:cubicBezTo>
                  <a:cubicBezTo>
                    <a:pt x="364" y="173"/>
                    <a:pt x="370" y="172"/>
                    <a:pt x="375" y="171"/>
                  </a:cubicBezTo>
                  <a:cubicBezTo>
                    <a:pt x="380" y="170"/>
                    <a:pt x="386" y="169"/>
                    <a:pt x="390" y="167"/>
                  </a:cubicBezTo>
                  <a:cubicBezTo>
                    <a:pt x="393" y="167"/>
                    <a:pt x="396" y="166"/>
                    <a:pt x="398" y="165"/>
                  </a:cubicBezTo>
                  <a:cubicBezTo>
                    <a:pt x="403" y="163"/>
                    <a:pt x="407" y="162"/>
                    <a:pt x="412" y="159"/>
                  </a:cubicBezTo>
                  <a:cubicBezTo>
                    <a:pt x="414" y="158"/>
                    <a:pt x="417" y="156"/>
                    <a:pt x="420" y="155"/>
                  </a:cubicBezTo>
                  <a:cubicBezTo>
                    <a:pt x="422" y="153"/>
                    <a:pt x="423" y="152"/>
                    <a:pt x="425" y="151"/>
                  </a:cubicBezTo>
                  <a:cubicBezTo>
                    <a:pt x="430" y="146"/>
                    <a:pt x="435" y="141"/>
                    <a:pt x="439" y="134"/>
                  </a:cubicBezTo>
                  <a:cubicBezTo>
                    <a:pt x="439" y="134"/>
                    <a:pt x="439" y="134"/>
                    <a:pt x="439" y="134"/>
                  </a:cubicBezTo>
                  <a:cubicBezTo>
                    <a:pt x="442" y="128"/>
                    <a:pt x="444" y="120"/>
                    <a:pt x="444" y="114"/>
                  </a:cubicBezTo>
                  <a:cubicBezTo>
                    <a:pt x="444" y="113"/>
                    <a:pt x="444" y="113"/>
                    <a:pt x="444" y="113"/>
                  </a:cubicBezTo>
                  <a:cubicBezTo>
                    <a:pt x="444" y="110"/>
                    <a:pt x="443" y="108"/>
                    <a:pt x="443" y="106"/>
                  </a:cubicBezTo>
                  <a:cubicBezTo>
                    <a:pt x="442" y="96"/>
                    <a:pt x="438" y="89"/>
                    <a:pt x="434" y="82"/>
                  </a:cubicBezTo>
                  <a:cubicBezTo>
                    <a:pt x="432" y="80"/>
                    <a:pt x="431" y="78"/>
                    <a:pt x="429" y="76"/>
                  </a:cubicBezTo>
                  <a:cubicBezTo>
                    <a:pt x="426" y="73"/>
                    <a:pt x="423" y="69"/>
                    <a:pt x="420" y="66"/>
                  </a:cubicBezTo>
                  <a:cubicBezTo>
                    <a:pt x="417" y="63"/>
                    <a:pt x="414" y="61"/>
                    <a:pt x="412" y="59"/>
                  </a:cubicBezTo>
                  <a:cubicBezTo>
                    <a:pt x="408" y="56"/>
                    <a:pt x="405" y="53"/>
                    <a:pt x="401" y="51"/>
                  </a:cubicBezTo>
                  <a:cubicBezTo>
                    <a:pt x="393" y="44"/>
                    <a:pt x="384" y="39"/>
                    <a:pt x="375" y="33"/>
                  </a:cubicBezTo>
                  <a:cubicBezTo>
                    <a:pt x="346" y="16"/>
                    <a:pt x="318" y="4"/>
                    <a:pt x="317" y="4"/>
                  </a:cubicBezTo>
                  <a:cubicBezTo>
                    <a:pt x="314" y="3"/>
                    <a:pt x="311" y="2"/>
                    <a:pt x="308" y="1"/>
                  </a:cubicBezTo>
                  <a:cubicBezTo>
                    <a:pt x="306" y="1"/>
                    <a:pt x="302" y="0"/>
                    <a:pt x="299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1" y="0"/>
                    <a:pt x="138" y="1"/>
                    <a:pt x="135" y="1"/>
                  </a:cubicBezTo>
                  <a:cubicBezTo>
                    <a:pt x="132" y="2"/>
                    <a:pt x="130" y="3"/>
                    <a:pt x="127" y="4"/>
                  </a:cubicBezTo>
                  <a:cubicBezTo>
                    <a:pt x="127" y="4"/>
                    <a:pt x="127" y="4"/>
                    <a:pt x="127" y="4"/>
                  </a:cubicBezTo>
                  <a:cubicBezTo>
                    <a:pt x="126" y="4"/>
                    <a:pt x="103" y="14"/>
                    <a:pt x="77" y="29"/>
                  </a:cubicBezTo>
                  <a:cubicBezTo>
                    <a:pt x="74" y="30"/>
                    <a:pt x="72" y="32"/>
                    <a:pt x="70" y="33"/>
                  </a:cubicBezTo>
                  <a:cubicBezTo>
                    <a:pt x="62" y="37"/>
                    <a:pt x="55" y="42"/>
                    <a:pt x="48" y="47"/>
                  </a:cubicBezTo>
                  <a:cubicBezTo>
                    <a:pt x="45" y="49"/>
                    <a:pt x="42" y="51"/>
                    <a:pt x="40" y="53"/>
                  </a:cubicBezTo>
                  <a:cubicBezTo>
                    <a:pt x="35" y="56"/>
                    <a:pt x="31" y="59"/>
                    <a:pt x="27" y="63"/>
                  </a:cubicBezTo>
                  <a:cubicBezTo>
                    <a:pt x="25" y="65"/>
                    <a:pt x="22" y="68"/>
                    <a:pt x="19" y="71"/>
                  </a:cubicBezTo>
                  <a:cubicBezTo>
                    <a:pt x="16" y="74"/>
                    <a:pt x="13" y="78"/>
                    <a:pt x="10" y="82"/>
                  </a:cubicBezTo>
                  <a:cubicBezTo>
                    <a:pt x="6" y="89"/>
                    <a:pt x="2" y="96"/>
                    <a:pt x="1" y="106"/>
                  </a:cubicBezTo>
                  <a:cubicBezTo>
                    <a:pt x="0" y="108"/>
                    <a:pt x="0" y="111"/>
                    <a:pt x="0" y="113"/>
                  </a:cubicBezTo>
                  <a:cubicBezTo>
                    <a:pt x="0" y="113"/>
                    <a:pt x="0" y="114"/>
                    <a:pt x="0" y="114"/>
                  </a:cubicBezTo>
                  <a:close/>
                  <a:moveTo>
                    <a:pt x="94" y="93"/>
                  </a:moveTo>
                  <a:cubicBezTo>
                    <a:pt x="101" y="89"/>
                    <a:pt x="107" y="85"/>
                    <a:pt x="114" y="81"/>
                  </a:cubicBezTo>
                  <a:cubicBezTo>
                    <a:pt x="114" y="88"/>
                    <a:pt x="114" y="88"/>
                    <a:pt x="114" y="88"/>
                  </a:cubicBezTo>
                  <a:cubicBezTo>
                    <a:pt x="114" y="112"/>
                    <a:pt x="114" y="112"/>
                    <a:pt x="114" y="112"/>
                  </a:cubicBezTo>
                  <a:cubicBezTo>
                    <a:pt x="98" y="111"/>
                    <a:pt x="86" y="109"/>
                    <a:pt x="77" y="107"/>
                  </a:cubicBezTo>
                  <a:cubicBezTo>
                    <a:pt x="76" y="107"/>
                    <a:pt x="75" y="107"/>
                    <a:pt x="74" y="107"/>
                  </a:cubicBezTo>
                  <a:cubicBezTo>
                    <a:pt x="75" y="106"/>
                    <a:pt x="76" y="106"/>
                    <a:pt x="77" y="105"/>
                  </a:cubicBezTo>
                  <a:cubicBezTo>
                    <a:pt x="82" y="101"/>
                    <a:pt x="88" y="97"/>
                    <a:pt x="94" y="93"/>
                  </a:cubicBezTo>
                  <a:close/>
                  <a:moveTo>
                    <a:pt x="330" y="81"/>
                  </a:moveTo>
                  <a:cubicBezTo>
                    <a:pt x="332" y="83"/>
                    <a:pt x="335" y="84"/>
                    <a:pt x="337" y="85"/>
                  </a:cubicBezTo>
                  <a:cubicBezTo>
                    <a:pt x="340" y="87"/>
                    <a:pt x="343" y="89"/>
                    <a:pt x="346" y="91"/>
                  </a:cubicBezTo>
                  <a:cubicBezTo>
                    <a:pt x="355" y="96"/>
                    <a:pt x="363" y="102"/>
                    <a:pt x="369" y="107"/>
                  </a:cubicBezTo>
                  <a:cubicBezTo>
                    <a:pt x="366" y="108"/>
                    <a:pt x="361" y="109"/>
                    <a:pt x="356" y="109"/>
                  </a:cubicBezTo>
                  <a:cubicBezTo>
                    <a:pt x="348" y="111"/>
                    <a:pt x="340" y="111"/>
                    <a:pt x="330" y="112"/>
                  </a:cubicBezTo>
                  <a:cubicBezTo>
                    <a:pt x="330" y="84"/>
                    <a:pt x="330" y="84"/>
                    <a:pt x="330" y="84"/>
                  </a:cubicBezTo>
                  <a:lnTo>
                    <a:pt x="330" y="8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84" name="Freeform 432"/>
            <p:cNvSpPr>
              <a:spLocks/>
            </p:cNvSpPr>
            <p:nvPr/>
          </p:nvSpPr>
          <p:spPr bwMode="gray">
            <a:xfrm>
              <a:off x="4858747" y="4647563"/>
              <a:ext cx="80979" cy="228050"/>
            </a:xfrm>
            <a:custGeom>
              <a:avLst/>
              <a:gdLst>
                <a:gd name="T0" fmla="*/ 64 w 101"/>
                <a:gd name="T1" fmla="*/ 20 h 277"/>
                <a:gd name="T2" fmla="*/ 56 w 101"/>
                <a:gd name="T3" fmla="*/ 6 h 277"/>
                <a:gd name="T4" fmla="*/ 52 w 101"/>
                <a:gd name="T5" fmla="*/ 0 h 277"/>
                <a:gd name="T6" fmla="*/ 52 w 101"/>
                <a:gd name="T7" fmla="*/ 50 h 277"/>
                <a:gd name="T8" fmla="*/ 52 w 101"/>
                <a:gd name="T9" fmla="*/ 64 h 277"/>
                <a:gd name="T10" fmla="*/ 56 w 101"/>
                <a:gd name="T11" fmla="*/ 65 h 277"/>
                <a:gd name="T12" fmla="*/ 73 w 101"/>
                <a:gd name="T13" fmla="*/ 81 h 277"/>
                <a:gd name="T14" fmla="*/ 74 w 101"/>
                <a:gd name="T15" fmla="*/ 88 h 277"/>
                <a:gd name="T16" fmla="*/ 74 w 101"/>
                <a:gd name="T17" fmla="*/ 120 h 277"/>
                <a:gd name="T18" fmla="*/ 73 w 101"/>
                <a:gd name="T19" fmla="*/ 128 h 277"/>
                <a:gd name="T20" fmla="*/ 50 w 101"/>
                <a:gd name="T21" fmla="*/ 144 h 277"/>
                <a:gd name="T22" fmla="*/ 41 w 101"/>
                <a:gd name="T23" fmla="*/ 144 h 277"/>
                <a:gd name="T24" fmla="*/ 33 w 101"/>
                <a:gd name="T25" fmla="*/ 144 h 277"/>
                <a:gd name="T26" fmla="*/ 0 w 101"/>
                <a:gd name="T27" fmla="*/ 144 h 277"/>
                <a:gd name="T28" fmla="*/ 5 w 101"/>
                <a:gd name="T29" fmla="*/ 225 h 277"/>
                <a:gd name="T30" fmla="*/ 29 w 101"/>
                <a:gd name="T31" fmla="*/ 235 h 277"/>
                <a:gd name="T32" fmla="*/ 37 w 101"/>
                <a:gd name="T33" fmla="*/ 239 h 277"/>
                <a:gd name="T34" fmla="*/ 67 w 101"/>
                <a:gd name="T35" fmla="*/ 266 h 277"/>
                <a:gd name="T36" fmla="*/ 66 w 101"/>
                <a:gd name="T37" fmla="*/ 265 h 277"/>
                <a:gd name="T38" fmla="*/ 68 w 101"/>
                <a:gd name="T39" fmla="*/ 268 h 277"/>
                <a:gd name="T40" fmla="*/ 69 w 101"/>
                <a:gd name="T41" fmla="*/ 270 h 277"/>
                <a:gd name="T42" fmla="*/ 69 w 101"/>
                <a:gd name="T43" fmla="*/ 272 h 277"/>
                <a:gd name="T44" fmla="*/ 69 w 101"/>
                <a:gd name="T45" fmla="*/ 277 h 277"/>
                <a:gd name="T46" fmla="*/ 78 w 101"/>
                <a:gd name="T47" fmla="*/ 273 h 277"/>
                <a:gd name="T48" fmla="*/ 97 w 101"/>
                <a:gd name="T49" fmla="*/ 252 h 277"/>
                <a:gd name="T50" fmla="*/ 101 w 101"/>
                <a:gd name="T51" fmla="*/ 232 h 277"/>
                <a:gd name="T52" fmla="*/ 96 w 101"/>
                <a:gd name="T53" fmla="*/ 136 h 277"/>
                <a:gd name="T54" fmla="*/ 86 w 101"/>
                <a:gd name="T55" fmla="*/ 81 h 277"/>
                <a:gd name="T56" fmla="*/ 84 w 101"/>
                <a:gd name="T57" fmla="*/ 72 h 277"/>
                <a:gd name="T58" fmla="*/ 69 w 101"/>
                <a:gd name="T59" fmla="*/ 29 h 277"/>
                <a:gd name="T60" fmla="*/ 64 w 101"/>
                <a:gd name="T61" fmla="*/ 2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1" h="277">
                  <a:moveTo>
                    <a:pt x="64" y="20"/>
                  </a:moveTo>
                  <a:cubicBezTo>
                    <a:pt x="62" y="16"/>
                    <a:pt x="59" y="11"/>
                    <a:pt x="56" y="6"/>
                  </a:cubicBezTo>
                  <a:cubicBezTo>
                    <a:pt x="55" y="4"/>
                    <a:pt x="54" y="2"/>
                    <a:pt x="52" y="0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3" y="64"/>
                    <a:pt x="55" y="65"/>
                    <a:pt x="56" y="65"/>
                  </a:cubicBezTo>
                  <a:cubicBezTo>
                    <a:pt x="64" y="67"/>
                    <a:pt x="71" y="73"/>
                    <a:pt x="73" y="81"/>
                  </a:cubicBezTo>
                  <a:cubicBezTo>
                    <a:pt x="74" y="83"/>
                    <a:pt x="74" y="86"/>
                    <a:pt x="74" y="88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123"/>
                    <a:pt x="74" y="125"/>
                    <a:pt x="73" y="128"/>
                  </a:cubicBezTo>
                  <a:cubicBezTo>
                    <a:pt x="70" y="137"/>
                    <a:pt x="61" y="144"/>
                    <a:pt x="50" y="144"/>
                  </a:cubicBezTo>
                  <a:cubicBezTo>
                    <a:pt x="41" y="144"/>
                    <a:pt x="41" y="144"/>
                    <a:pt x="41" y="144"/>
                  </a:cubicBezTo>
                  <a:cubicBezTo>
                    <a:pt x="33" y="144"/>
                    <a:pt x="33" y="144"/>
                    <a:pt x="33" y="144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3" y="167"/>
                    <a:pt x="5" y="193"/>
                    <a:pt x="5" y="225"/>
                  </a:cubicBezTo>
                  <a:cubicBezTo>
                    <a:pt x="14" y="228"/>
                    <a:pt x="22" y="231"/>
                    <a:pt x="29" y="235"/>
                  </a:cubicBezTo>
                  <a:cubicBezTo>
                    <a:pt x="32" y="236"/>
                    <a:pt x="35" y="238"/>
                    <a:pt x="37" y="239"/>
                  </a:cubicBezTo>
                  <a:cubicBezTo>
                    <a:pt x="58" y="252"/>
                    <a:pt x="66" y="264"/>
                    <a:pt x="67" y="266"/>
                  </a:cubicBezTo>
                  <a:cubicBezTo>
                    <a:pt x="66" y="265"/>
                    <a:pt x="66" y="265"/>
                    <a:pt x="66" y="265"/>
                  </a:cubicBezTo>
                  <a:cubicBezTo>
                    <a:pt x="68" y="268"/>
                    <a:pt x="68" y="268"/>
                    <a:pt x="68" y="268"/>
                  </a:cubicBezTo>
                  <a:cubicBezTo>
                    <a:pt x="69" y="270"/>
                    <a:pt x="69" y="270"/>
                    <a:pt x="69" y="270"/>
                  </a:cubicBezTo>
                  <a:cubicBezTo>
                    <a:pt x="69" y="272"/>
                    <a:pt x="69" y="272"/>
                    <a:pt x="69" y="272"/>
                  </a:cubicBezTo>
                  <a:cubicBezTo>
                    <a:pt x="69" y="277"/>
                    <a:pt x="69" y="277"/>
                    <a:pt x="69" y="277"/>
                  </a:cubicBezTo>
                  <a:cubicBezTo>
                    <a:pt x="72" y="276"/>
                    <a:pt x="75" y="275"/>
                    <a:pt x="78" y="273"/>
                  </a:cubicBezTo>
                  <a:cubicBezTo>
                    <a:pt x="86" y="268"/>
                    <a:pt x="93" y="261"/>
                    <a:pt x="97" y="252"/>
                  </a:cubicBezTo>
                  <a:cubicBezTo>
                    <a:pt x="100" y="246"/>
                    <a:pt x="101" y="239"/>
                    <a:pt x="101" y="232"/>
                  </a:cubicBezTo>
                  <a:cubicBezTo>
                    <a:pt x="101" y="196"/>
                    <a:pt x="99" y="164"/>
                    <a:pt x="96" y="136"/>
                  </a:cubicBezTo>
                  <a:cubicBezTo>
                    <a:pt x="94" y="116"/>
                    <a:pt x="91" y="98"/>
                    <a:pt x="86" y="81"/>
                  </a:cubicBezTo>
                  <a:cubicBezTo>
                    <a:pt x="86" y="78"/>
                    <a:pt x="85" y="75"/>
                    <a:pt x="84" y="72"/>
                  </a:cubicBezTo>
                  <a:cubicBezTo>
                    <a:pt x="80" y="57"/>
                    <a:pt x="75" y="42"/>
                    <a:pt x="69" y="29"/>
                  </a:cubicBezTo>
                  <a:cubicBezTo>
                    <a:pt x="67" y="26"/>
                    <a:pt x="66" y="23"/>
                    <a:pt x="64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85" name="Freeform 433"/>
            <p:cNvSpPr>
              <a:spLocks/>
            </p:cNvSpPr>
            <p:nvPr/>
          </p:nvSpPr>
          <p:spPr bwMode="gray">
            <a:xfrm>
              <a:off x="4645502" y="4650343"/>
              <a:ext cx="78279" cy="225270"/>
            </a:xfrm>
            <a:custGeom>
              <a:avLst/>
              <a:gdLst>
                <a:gd name="T0" fmla="*/ 45 w 100"/>
                <a:gd name="T1" fmla="*/ 4 h 276"/>
                <a:gd name="T2" fmla="*/ 44 w 100"/>
                <a:gd name="T3" fmla="*/ 5 h 276"/>
                <a:gd name="T4" fmla="*/ 40 w 100"/>
                <a:gd name="T5" fmla="*/ 12 h 276"/>
                <a:gd name="T6" fmla="*/ 23 w 100"/>
                <a:gd name="T7" fmla="*/ 51 h 276"/>
                <a:gd name="T8" fmla="*/ 18 w 100"/>
                <a:gd name="T9" fmla="*/ 65 h 276"/>
                <a:gd name="T10" fmla="*/ 16 w 100"/>
                <a:gd name="T11" fmla="*/ 72 h 276"/>
                <a:gd name="T12" fmla="*/ 12 w 100"/>
                <a:gd name="T13" fmla="*/ 89 h 276"/>
                <a:gd name="T14" fmla="*/ 5 w 100"/>
                <a:gd name="T15" fmla="*/ 134 h 276"/>
                <a:gd name="T16" fmla="*/ 0 w 100"/>
                <a:gd name="T17" fmla="*/ 230 h 276"/>
                <a:gd name="T18" fmla="*/ 0 w 100"/>
                <a:gd name="T19" fmla="*/ 238 h 276"/>
                <a:gd name="T20" fmla="*/ 32 w 100"/>
                <a:gd name="T21" fmla="*/ 276 h 276"/>
                <a:gd name="T22" fmla="*/ 32 w 100"/>
                <a:gd name="T23" fmla="*/ 270 h 276"/>
                <a:gd name="T24" fmla="*/ 32 w 100"/>
                <a:gd name="T25" fmla="*/ 268 h 276"/>
                <a:gd name="T26" fmla="*/ 34 w 100"/>
                <a:gd name="T27" fmla="*/ 266 h 276"/>
                <a:gd name="T28" fmla="*/ 35 w 100"/>
                <a:gd name="T29" fmla="*/ 263 h 276"/>
                <a:gd name="T30" fmla="*/ 35 w 100"/>
                <a:gd name="T31" fmla="*/ 263 h 276"/>
                <a:gd name="T32" fmla="*/ 35 w 100"/>
                <a:gd name="T33" fmla="*/ 263 h 276"/>
                <a:gd name="T34" fmla="*/ 35 w 100"/>
                <a:gd name="T35" fmla="*/ 264 h 276"/>
                <a:gd name="T36" fmla="*/ 35 w 100"/>
                <a:gd name="T37" fmla="*/ 263 h 276"/>
                <a:gd name="T38" fmla="*/ 80 w 100"/>
                <a:gd name="T39" fmla="*/ 230 h 276"/>
                <a:gd name="T40" fmla="*/ 88 w 100"/>
                <a:gd name="T41" fmla="*/ 226 h 276"/>
                <a:gd name="T42" fmla="*/ 96 w 100"/>
                <a:gd name="T43" fmla="*/ 224 h 276"/>
                <a:gd name="T44" fmla="*/ 100 w 100"/>
                <a:gd name="T45" fmla="*/ 142 h 276"/>
                <a:gd name="T46" fmla="*/ 84 w 100"/>
                <a:gd name="T47" fmla="*/ 142 h 276"/>
                <a:gd name="T48" fmla="*/ 76 w 100"/>
                <a:gd name="T49" fmla="*/ 142 h 276"/>
                <a:gd name="T50" fmla="*/ 50 w 100"/>
                <a:gd name="T51" fmla="*/ 142 h 276"/>
                <a:gd name="T52" fmla="*/ 32 w 100"/>
                <a:gd name="T53" fmla="*/ 134 h 276"/>
                <a:gd name="T54" fmla="*/ 26 w 100"/>
                <a:gd name="T55" fmla="*/ 118 h 276"/>
                <a:gd name="T56" fmla="*/ 26 w 100"/>
                <a:gd name="T57" fmla="*/ 86 h 276"/>
                <a:gd name="T58" fmla="*/ 32 w 100"/>
                <a:gd name="T59" fmla="*/ 70 h 276"/>
                <a:gd name="T60" fmla="*/ 47 w 100"/>
                <a:gd name="T61" fmla="*/ 62 h 276"/>
                <a:gd name="T62" fmla="*/ 47 w 100"/>
                <a:gd name="T63" fmla="*/ 27 h 276"/>
                <a:gd name="T64" fmla="*/ 47 w 100"/>
                <a:gd name="T65" fmla="*/ 9 h 276"/>
                <a:gd name="T66" fmla="*/ 47 w 100"/>
                <a:gd name="T67" fmla="*/ 3 h 276"/>
                <a:gd name="T68" fmla="*/ 47 w 100"/>
                <a:gd name="T69" fmla="*/ 0 h 276"/>
                <a:gd name="T70" fmla="*/ 45 w 100"/>
                <a:gd name="T71" fmla="*/ 4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276">
                  <a:moveTo>
                    <a:pt x="45" y="4"/>
                  </a:moveTo>
                  <a:cubicBezTo>
                    <a:pt x="45" y="4"/>
                    <a:pt x="45" y="4"/>
                    <a:pt x="44" y="5"/>
                  </a:cubicBezTo>
                  <a:cubicBezTo>
                    <a:pt x="43" y="7"/>
                    <a:pt x="41" y="10"/>
                    <a:pt x="40" y="12"/>
                  </a:cubicBezTo>
                  <a:cubicBezTo>
                    <a:pt x="33" y="24"/>
                    <a:pt x="27" y="37"/>
                    <a:pt x="23" y="51"/>
                  </a:cubicBezTo>
                  <a:cubicBezTo>
                    <a:pt x="21" y="55"/>
                    <a:pt x="20" y="60"/>
                    <a:pt x="18" y="65"/>
                  </a:cubicBezTo>
                  <a:cubicBezTo>
                    <a:pt x="17" y="67"/>
                    <a:pt x="17" y="69"/>
                    <a:pt x="16" y="72"/>
                  </a:cubicBezTo>
                  <a:cubicBezTo>
                    <a:pt x="15" y="78"/>
                    <a:pt x="13" y="83"/>
                    <a:pt x="12" y="89"/>
                  </a:cubicBezTo>
                  <a:cubicBezTo>
                    <a:pt x="9" y="103"/>
                    <a:pt x="7" y="118"/>
                    <a:pt x="5" y="134"/>
                  </a:cubicBezTo>
                  <a:cubicBezTo>
                    <a:pt x="1" y="162"/>
                    <a:pt x="0" y="194"/>
                    <a:pt x="0" y="230"/>
                  </a:cubicBezTo>
                  <a:cubicBezTo>
                    <a:pt x="0" y="233"/>
                    <a:pt x="0" y="236"/>
                    <a:pt x="0" y="238"/>
                  </a:cubicBezTo>
                  <a:cubicBezTo>
                    <a:pt x="3" y="256"/>
                    <a:pt x="16" y="270"/>
                    <a:pt x="32" y="276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2" y="268"/>
                    <a:pt x="32" y="268"/>
                    <a:pt x="32" y="268"/>
                  </a:cubicBezTo>
                  <a:cubicBezTo>
                    <a:pt x="34" y="266"/>
                    <a:pt x="34" y="266"/>
                    <a:pt x="34" y="266"/>
                  </a:cubicBezTo>
                  <a:cubicBezTo>
                    <a:pt x="35" y="263"/>
                    <a:pt x="35" y="263"/>
                    <a:pt x="35" y="263"/>
                  </a:cubicBezTo>
                  <a:cubicBezTo>
                    <a:pt x="35" y="263"/>
                    <a:pt x="35" y="263"/>
                    <a:pt x="35" y="263"/>
                  </a:cubicBezTo>
                  <a:cubicBezTo>
                    <a:pt x="35" y="263"/>
                    <a:pt x="35" y="263"/>
                    <a:pt x="35" y="263"/>
                  </a:cubicBezTo>
                  <a:cubicBezTo>
                    <a:pt x="35" y="264"/>
                    <a:pt x="35" y="264"/>
                    <a:pt x="35" y="264"/>
                  </a:cubicBezTo>
                  <a:cubicBezTo>
                    <a:pt x="35" y="264"/>
                    <a:pt x="35" y="264"/>
                    <a:pt x="35" y="263"/>
                  </a:cubicBezTo>
                  <a:cubicBezTo>
                    <a:pt x="37" y="260"/>
                    <a:pt x="48" y="243"/>
                    <a:pt x="80" y="230"/>
                  </a:cubicBezTo>
                  <a:cubicBezTo>
                    <a:pt x="82" y="229"/>
                    <a:pt x="85" y="227"/>
                    <a:pt x="88" y="226"/>
                  </a:cubicBezTo>
                  <a:cubicBezTo>
                    <a:pt x="90" y="225"/>
                    <a:pt x="93" y="224"/>
                    <a:pt x="96" y="224"/>
                  </a:cubicBezTo>
                  <a:cubicBezTo>
                    <a:pt x="96" y="192"/>
                    <a:pt x="98" y="165"/>
                    <a:pt x="100" y="142"/>
                  </a:cubicBezTo>
                  <a:cubicBezTo>
                    <a:pt x="84" y="142"/>
                    <a:pt x="84" y="142"/>
                    <a:pt x="84" y="142"/>
                  </a:cubicBezTo>
                  <a:cubicBezTo>
                    <a:pt x="76" y="142"/>
                    <a:pt x="76" y="142"/>
                    <a:pt x="76" y="142"/>
                  </a:cubicBezTo>
                  <a:cubicBezTo>
                    <a:pt x="50" y="142"/>
                    <a:pt x="50" y="142"/>
                    <a:pt x="50" y="142"/>
                  </a:cubicBezTo>
                  <a:cubicBezTo>
                    <a:pt x="43" y="142"/>
                    <a:pt x="36" y="139"/>
                    <a:pt x="32" y="134"/>
                  </a:cubicBezTo>
                  <a:cubicBezTo>
                    <a:pt x="28" y="130"/>
                    <a:pt x="26" y="124"/>
                    <a:pt x="26" y="118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0"/>
                    <a:pt x="28" y="75"/>
                    <a:pt x="32" y="70"/>
                  </a:cubicBezTo>
                  <a:cubicBezTo>
                    <a:pt x="36" y="66"/>
                    <a:pt x="41" y="63"/>
                    <a:pt x="47" y="62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2"/>
                    <a:pt x="46" y="3"/>
                    <a:pt x="45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86" name="Freeform 434"/>
            <p:cNvSpPr>
              <a:spLocks/>
            </p:cNvSpPr>
            <p:nvPr/>
          </p:nvSpPr>
          <p:spPr bwMode="gray">
            <a:xfrm>
              <a:off x="4658998" y="4500163"/>
              <a:ext cx="267231" cy="436634"/>
            </a:xfrm>
            <a:custGeom>
              <a:avLst/>
              <a:gdLst>
                <a:gd name="T0" fmla="*/ 312 w 334"/>
                <a:gd name="T1" fmla="*/ 463 h 533"/>
                <a:gd name="T2" fmla="*/ 312 w 334"/>
                <a:gd name="T3" fmla="*/ 454 h 533"/>
                <a:gd name="T4" fmla="*/ 310 w 334"/>
                <a:gd name="T5" fmla="*/ 449 h 533"/>
                <a:gd name="T6" fmla="*/ 281 w 334"/>
                <a:gd name="T7" fmla="*/ 424 h 533"/>
                <a:gd name="T8" fmla="*/ 248 w 334"/>
                <a:gd name="T9" fmla="*/ 411 h 533"/>
                <a:gd name="T10" fmla="*/ 194 w 334"/>
                <a:gd name="T11" fmla="*/ 316 h 533"/>
                <a:gd name="T12" fmla="*/ 250 w 334"/>
                <a:gd name="T13" fmla="*/ 316 h 533"/>
                <a:gd name="T14" fmla="*/ 293 w 334"/>
                <a:gd name="T15" fmla="*/ 316 h 533"/>
                <a:gd name="T16" fmla="*/ 317 w 334"/>
                <a:gd name="T17" fmla="*/ 300 h 533"/>
                <a:gd name="T18" fmla="*/ 305 w 334"/>
                <a:gd name="T19" fmla="*/ 252 h 533"/>
                <a:gd name="T20" fmla="*/ 296 w 334"/>
                <a:gd name="T21" fmla="*/ 253 h 533"/>
                <a:gd name="T22" fmla="*/ 295 w 334"/>
                <a:gd name="T23" fmla="*/ 169 h 533"/>
                <a:gd name="T24" fmla="*/ 295 w 334"/>
                <a:gd name="T25" fmla="*/ 154 h 533"/>
                <a:gd name="T26" fmla="*/ 295 w 334"/>
                <a:gd name="T27" fmla="*/ 52 h 533"/>
                <a:gd name="T28" fmla="*/ 295 w 334"/>
                <a:gd name="T29" fmla="*/ 44 h 533"/>
                <a:gd name="T30" fmla="*/ 295 w 334"/>
                <a:gd name="T31" fmla="*/ 39 h 533"/>
                <a:gd name="T32" fmla="*/ 295 w 334"/>
                <a:gd name="T33" fmla="*/ 16 h 533"/>
                <a:gd name="T34" fmla="*/ 256 w 334"/>
                <a:gd name="T35" fmla="*/ 0 h 533"/>
                <a:gd name="T36" fmla="*/ 102 w 334"/>
                <a:gd name="T37" fmla="*/ 0 h 533"/>
                <a:gd name="T38" fmla="*/ 53 w 334"/>
                <a:gd name="T39" fmla="*/ 0 h 533"/>
                <a:gd name="T40" fmla="*/ 37 w 334"/>
                <a:gd name="T41" fmla="*/ 35 h 533"/>
                <a:gd name="T42" fmla="*/ 37 w 334"/>
                <a:gd name="T43" fmla="*/ 44 h 533"/>
                <a:gd name="T44" fmla="*/ 37 w 334"/>
                <a:gd name="T45" fmla="*/ 49 h 533"/>
                <a:gd name="T46" fmla="*/ 37 w 334"/>
                <a:gd name="T47" fmla="*/ 159 h 533"/>
                <a:gd name="T48" fmla="*/ 37 w 334"/>
                <a:gd name="T49" fmla="*/ 173 h 533"/>
                <a:gd name="T50" fmla="*/ 37 w 334"/>
                <a:gd name="T51" fmla="*/ 207 h 533"/>
                <a:gd name="T52" fmla="*/ 37 w 334"/>
                <a:gd name="T53" fmla="*/ 253 h 533"/>
                <a:gd name="T54" fmla="*/ 22 w 334"/>
                <a:gd name="T55" fmla="*/ 256 h 533"/>
                <a:gd name="T56" fmla="*/ 16 w 334"/>
                <a:gd name="T57" fmla="*/ 300 h 533"/>
                <a:gd name="T58" fmla="*/ 32 w 334"/>
                <a:gd name="T59" fmla="*/ 316 h 533"/>
                <a:gd name="T60" fmla="*/ 65 w 334"/>
                <a:gd name="T61" fmla="*/ 316 h 533"/>
                <a:gd name="T62" fmla="*/ 92 w 334"/>
                <a:gd name="T63" fmla="*/ 316 h 533"/>
                <a:gd name="T64" fmla="*/ 148 w 334"/>
                <a:gd name="T65" fmla="*/ 402 h 533"/>
                <a:gd name="T66" fmla="*/ 77 w 334"/>
                <a:gd name="T67" fmla="*/ 414 h 533"/>
                <a:gd name="T68" fmla="*/ 61 w 334"/>
                <a:gd name="T69" fmla="*/ 421 h 533"/>
                <a:gd name="T70" fmla="*/ 22 w 334"/>
                <a:gd name="T71" fmla="*/ 452 h 533"/>
                <a:gd name="T72" fmla="*/ 22 w 334"/>
                <a:gd name="T73" fmla="*/ 460 h 533"/>
                <a:gd name="T74" fmla="*/ 22 w 334"/>
                <a:gd name="T75" fmla="*/ 468 h 533"/>
                <a:gd name="T76" fmla="*/ 22 w 334"/>
                <a:gd name="T77" fmla="*/ 470 h 533"/>
                <a:gd name="T78" fmla="*/ 7 w 334"/>
                <a:gd name="T79" fmla="*/ 481 h 533"/>
                <a:gd name="T80" fmla="*/ 22 w 334"/>
                <a:gd name="T81" fmla="*/ 532 h 533"/>
                <a:gd name="T82" fmla="*/ 65 w 334"/>
                <a:gd name="T83" fmla="*/ 501 h 533"/>
                <a:gd name="T84" fmla="*/ 47 w 334"/>
                <a:gd name="T85" fmla="*/ 466 h 533"/>
                <a:gd name="T86" fmla="*/ 51 w 334"/>
                <a:gd name="T87" fmla="*/ 455 h 533"/>
                <a:gd name="T88" fmla="*/ 79 w 334"/>
                <a:gd name="T89" fmla="*/ 439 h 533"/>
                <a:gd name="T90" fmla="*/ 154 w 334"/>
                <a:gd name="T91" fmla="*/ 470 h 533"/>
                <a:gd name="T92" fmla="*/ 165 w 334"/>
                <a:gd name="T93" fmla="*/ 533 h 533"/>
                <a:gd name="T94" fmla="*/ 180 w 334"/>
                <a:gd name="T95" fmla="*/ 472 h 533"/>
                <a:gd name="T96" fmla="*/ 255 w 334"/>
                <a:gd name="T97" fmla="*/ 439 h 533"/>
                <a:gd name="T98" fmla="*/ 270 w 334"/>
                <a:gd name="T99" fmla="*/ 446 h 533"/>
                <a:gd name="T100" fmla="*/ 286 w 334"/>
                <a:gd name="T101" fmla="*/ 457 h 533"/>
                <a:gd name="T102" fmla="*/ 288 w 334"/>
                <a:gd name="T103" fmla="*/ 466 h 533"/>
                <a:gd name="T104" fmla="*/ 269 w 334"/>
                <a:gd name="T105" fmla="*/ 501 h 533"/>
                <a:gd name="T106" fmla="*/ 320 w 334"/>
                <a:gd name="T107" fmla="*/ 527 h 533"/>
                <a:gd name="T108" fmla="*/ 320 w 334"/>
                <a:gd name="T109" fmla="*/ 475 h 533"/>
                <a:gd name="T110" fmla="*/ 312 w 334"/>
                <a:gd name="T111" fmla="*/ 468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4" h="533">
                  <a:moveTo>
                    <a:pt x="312" y="468"/>
                  </a:moveTo>
                  <a:cubicBezTo>
                    <a:pt x="312" y="463"/>
                    <a:pt x="312" y="463"/>
                    <a:pt x="312" y="463"/>
                  </a:cubicBezTo>
                  <a:cubicBezTo>
                    <a:pt x="312" y="459"/>
                    <a:pt x="312" y="459"/>
                    <a:pt x="312" y="459"/>
                  </a:cubicBezTo>
                  <a:cubicBezTo>
                    <a:pt x="312" y="454"/>
                    <a:pt x="312" y="454"/>
                    <a:pt x="312" y="454"/>
                  </a:cubicBezTo>
                  <a:cubicBezTo>
                    <a:pt x="312" y="452"/>
                    <a:pt x="312" y="452"/>
                    <a:pt x="312" y="452"/>
                  </a:cubicBezTo>
                  <a:cubicBezTo>
                    <a:pt x="310" y="449"/>
                    <a:pt x="310" y="449"/>
                    <a:pt x="310" y="449"/>
                  </a:cubicBezTo>
                  <a:cubicBezTo>
                    <a:pt x="310" y="448"/>
                    <a:pt x="304" y="440"/>
                    <a:pt x="291" y="431"/>
                  </a:cubicBezTo>
                  <a:cubicBezTo>
                    <a:pt x="288" y="429"/>
                    <a:pt x="285" y="427"/>
                    <a:pt x="281" y="424"/>
                  </a:cubicBezTo>
                  <a:cubicBezTo>
                    <a:pt x="274" y="421"/>
                    <a:pt x="266" y="417"/>
                    <a:pt x="256" y="414"/>
                  </a:cubicBezTo>
                  <a:cubicBezTo>
                    <a:pt x="254" y="413"/>
                    <a:pt x="251" y="412"/>
                    <a:pt x="248" y="411"/>
                  </a:cubicBezTo>
                  <a:cubicBezTo>
                    <a:pt x="232" y="406"/>
                    <a:pt x="211" y="403"/>
                    <a:pt x="186" y="402"/>
                  </a:cubicBezTo>
                  <a:cubicBezTo>
                    <a:pt x="194" y="316"/>
                    <a:pt x="194" y="316"/>
                    <a:pt x="194" y="316"/>
                  </a:cubicBezTo>
                  <a:cubicBezTo>
                    <a:pt x="242" y="316"/>
                    <a:pt x="242" y="316"/>
                    <a:pt x="242" y="316"/>
                  </a:cubicBezTo>
                  <a:cubicBezTo>
                    <a:pt x="250" y="316"/>
                    <a:pt x="250" y="316"/>
                    <a:pt x="250" y="316"/>
                  </a:cubicBezTo>
                  <a:cubicBezTo>
                    <a:pt x="285" y="316"/>
                    <a:pt x="285" y="316"/>
                    <a:pt x="285" y="316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301" y="316"/>
                    <a:pt x="301" y="316"/>
                    <a:pt x="301" y="316"/>
                  </a:cubicBezTo>
                  <a:cubicBezTo>
                    <a:pt x="310" y="316"/>
                    <a:pt x="317" y="309"/>
                    <a:pt x="317" y="300"/>
                  </a:cubicBezTo>
                  <a:cubicBezTo>
                    <a:pt x="317" y="268"/>
                    <a:pt x="317" y="268"/>
                    <a:pt x="317" y="268"/>
                  </a:cubicBezTo>
                  <a:cubicBezTo>
                    <a:pt x="317" y="260"/>
                    <a:pt x="312" y="254"/>
                    <a:pt x="305" y="252"/>
                  </a:cubicBezTo>
                  <a:cubicBezTo>
                    <a:pt x="304" y="252"/>
                    <a:pt x="302" y="252"/>
                    <a:pt x="301" y="252"/>
                  </a:cubicBezTo>
                  <a:cubicBezTo>
                    <a:pt x="301" y="252"/>
                    <a:pt x="299" y="252"/>
                    <a:pt x="296" y="253"/>
                  </a:cubicBezTo>
                  <a:cubicBezTo>
                    <a:pt x="296" y="253"/>
                    <a:pt x="295" y="253"/>
                    <a:pt x="295" y="253"/>
                  </a:cubicBezTo>
                  <a:cubicBezTo>
                    <a:pt x="295" y="169"/>
                    <a:pt x="295" y="169"/>
                    <a:pt x="295" y="169"/>
                  </a:cubicBezTo>
                  <a:cubicBezTo>
                    <a:pt x="295" y="157"/>
                    <a:pt x="295" y="157"/>
                    <a:pt x="295" y="157"/>
                  </a:cubicBezTo>
                  <a:cubicBezTo>
                    <a:pt x="295" y="154"/>
                    <a:pt x="295" y="154"/>
                    <a:pt x="295" y="154"/>
                  </a:cubicBezTo>
                  <a:cubicBezTo>
                    <a:pt x="295" y="146"/>
                    <a:pt x="295" y="146"/>
                    <a:pt x="295" y="146"/>
                  </a:cubicBezTo>
                  <a:cubicBezTo>
                    <a:pt x="295" y="52"/>
                    <a:pt x="295" y="52"/>
                    <a:pt x="295" y="52"/>
                  </a:cubicBezTo>
                  <a:cubicBezTo>
                    <a:pt x="295" y="49"/>
                    <a:pt x="295" y="49"/>
                    <a:pt x="295" y="49"/>
                  </a:cubicBezTo>
                  <a:cubicBezTo>
                    <a:pt x="295" y="44"/>
                    <a:pt x="295" y="44"/>
                    <a:pt x="295" y="44"/>
                  </a:cubicBezTo>
                  <a:cubicBezTo>
                    <a:pt x="295" y="41"/>
                    <a:pt x="295" y="41"/>
                    <a:pt x="295" y="41"/>
                  </a:cubicBezTo>
                  <a:cubicBezTo>
                    <a:pt x="295" y="39"/>
                    <a:pt x="295" y="39"/>
                    <a:pt x="295" y="39"/>
                  </a:cubicBezTo>
                  <a:cubicBezTo>
                    <a:pt x="295" y="30"/>
                    <a:pt x="295" y="30"/>
                    <a:pt x="295" y="30"/>
                  </a:cubicBezTo>
                  <a:cubicBezTo>
                    <a:pt x="295" y="16"/>
                    <a:pt x="295" y="16"/>
                    <a:pt x="295" y="16"/>
                  </a:cubicBezTo>
                  <a:cubicBezTo>
                    <a:pt x="295" y="7"/>
                    <a:pt x="288" y="0"/>
                    <a:pt x="279" y="0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44" y="0"/>
                    <a:pt x="37" y="7"/>
                    <a:pt x="37" y="16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159"/>
                    <a:pt x="37" y="159"/>
                    <a:pt x="37" y="159"/>
                  </a:cubicBezTo>
                  <a:cubicBezTo>
                    <a:pt x="37" y="172"/>
                    <a:pt x="37" y="172"/>
                    <a:pt x="37" y="172"/>
                  </a:cubicBezTo>
                  <a:cubicBezTo>
                    <a:pt x="37" y="173"/>
                    <a:pt x="37" y="173"/>
                    <a:pt x="37" y="173"/>
                  </a:cubicBezTo>
                  <a:cubicBezTo>
                    <a:pt x="37" y="182"/>
                    <a:pt x="37" y="182"/>
                    <a:pt x="37" y="182"/>
                  </a:cubicBezTo>
                  <a:cubicBezTo>
                    <a:pt x="37" y="207"/>
                    <a:pt x="37" y="207"/>
                    <a:pt x="37" y="207"/>
                  </a:cubicBezTo>
                  <a:cubicBezTo>
                    <a:pt x="37" y="228"/>
                    <a:pt x="37" y="228"/>
                    <a:pt x="37" y="228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4" y="252"/>
                    <a:pt x="32" y="252"/>
                    <a:pt x="32" y="252"/>
                  </a:cubicBezTo>
                  <a:cubicBezTo>
                    <a:pt x="28" y="252"/>
                    <a:pt x="24" y="254"/>
                    <a:pt x="22" y="256"/>
                  </a:cubicBezTo>
                  <a:cubicBezTo>
                    <a:pt x="18" y="259"/>
                    <a:pt x="16" y="263"/>
                    <a:pt x="16" y="268"/>
                  </a:cubicBezTo>
                  <a:cubicBezTo>
                    <a:pt x="16" y="300"/>
                    <a:pt x="16" y="300"/>
                    <a:pt x="16" y="300"/>
                  </a:cubicBezTo>
                  <a:cubicBezTo>
                    <a:pt x="16" y="305"/>
                    <a:pt x="18" y="309"/>
                    <a:pt x="22" y="312"/>
                  </a:cubicBezTo>
                  <a:cubicBezTo>
                    <a:pt x="24" y="315"/>
                    <a:pt x="28" y="316"/>
                    <a:pt x="32" y="316"/>
                  </a:cubicBezTo>
                  <a:cubicBezTo>
                    <a:pt x="57" y="316"/>
                    <a:pt x="57" y="316"/>
                    <a:pt x="57" y="316"/>
                  </a:cubicBezTo>
                  <a:cubicBezTo>
                    <a:pt x="65" y="316"/>
                    <a:pt x="65" y="316"/>
                    <a:pt x="65" y="316"/>
                  </a:cubicBezTo>
                  <a:cubicBezTo>
                    <a:pt x="83" y="316"/>
                    <a:pt x="83" y="316"/>
                    <a:pt x="83" y="316"/>
                  </a:cubicBezTo>
                  <a:cubicBezTo>
                    <a:pt x="92" y="316"/>
                    <a:pt x="92" y="316"/>
                    <a:pt x="92" y="316"/>
                  </a:cubicBezTo>
                  <a:cubicBezTo>
                    <a:pt x="141" y="316"/>
                    <a:pt x="141" y="316"/>
                    <a:pt x="141" y="316"/>
                  </a:cubicBezTo>
                  <a:cubicBezTo>
                    <a:pt x="148" y="402"/>
                    <a:pt x="148" y="402"/>
                    <a:pt x="148" y="402"/>
                  </a:cubicBezTo>
                  <a:cubicBezTo>
                    <a:pt x="123" y="403"/>
                    <a:pt x="102" y="407"/>
                    <a:pt x="86" y="411"/>
                  </a:cubicBezTo>
                  <a:cubicBezTo>
                    <a:pt x="83" y="412"/>
                    <a:pt x="80" y="413"/>
                    <a:pt x="77" y="414"/>
                  </a:cubicBezTo>
                  <a:cubicBezTo>
                    <a:pt x="75" y="415"/>
                    <a:pt x="72" y="416"/>
                    <a:pt x="69" y="417"/>
                  </a:cubicBezTo>
                  <a:cubicBezTo>
                    <a:pt x="66" y="418"/>
                    <a:pt x="64" y="420"/>
                    <a:pt x="61" y="421"/>
                  </a:cubicBezTo>
                  <a:cubicBezTo>
                    <a:pt x="35" y="433"/>
                    <a:pt x="25" y="447"/>
                    <a:pt x="24" y="449"/>
                  </a:cubicBezTo>
                  <a:cubicBezTo>
                    <a:pt x="22" y="452"/>
                    <a:pt x="22" y="452"/>
                    <a:pt x="22" y="452"/>
                  </a:cubicBezTo>
                  <a:cubicBezTo>
                    <a:pt x="22" y="459"/>
                    <a:pt x="22" y="459"/>
                    <a:pt x="22" y="459"/>
                  </a:cubicBezTo>
                  <a:cubicBezTo>
                    <a:pt x="22" y="460"/>
                    <a:pt x="22" y="460"/>
                    <a:pt x="22" y="460"/>
                  </a:cubicBezTo>
                  <a:cubicBezTo>
                    <a:pt x="22" y="467"/>
                    <a:pt x="22" y="467"/>
                    <a:pt x="22" y="467"/>
                  </a:cubicBezTo>
                  <a:cubicBezTo>
                    <a:pt x="22" y="468"/>
                    <a:pt x="22" y="468"/>
                    <a:pt x="22" y="468"/>
                  </a:cubicBezTo>
                  <a:cubicBezTo>
                    <a:pt x="22" y="470"/>
                    <a:pt x="22" y="470"/>
                    <a:pt x="22" y="470"/>
                  </a:cubicBezTo>
                  <a:cubicBezTo>
                    <a:pt x="22" y="470"/>
                    <a:pt x="22" y="470"/>
                    <a:pt x="22" y="470"/>
                  </a:cubicBezTo>
                  <a:cubicBezTo>
                    <a:pt x="22" y="470"/>
                    <a:pt x="22" y="470"/>
                    <a:pt x="22" y="470"/>
                  </a:cubicBezTo>
                  <a:cubicBezTo>
                    <a:pt x="16" y="473"/>
                    <a:pt x="11" y="476"/>
                    <a:pt x="7" y="481"/>
                  </a:cubicBezTo>
                  <a:cubicBezTo>
                    <a:pt x="3" y="486"/>
                    <a:pt x="0" y="493"/>
                    <a:pt x="0" y="501"/>
                  </a:cubicBezTo>
                  <a:cubicBezTo>
                    <a:pt x="0" y="515"/>
                    <a:pt x="9" y="527"/>
                    <a:pt x="22" y="532"/>
                  </a:cubicBezTo>
                  <a:cubicBezTo>
                    <a:pt x="25" y="533"/>
                    <a:pt x="29" y="533"/>
                    <a:pt x="32" y="533"/>
                  </a:cubicBezTo>
                  <a:cubicBezTo>
                    <a:pt x="50" y="533"/>
                    <a:pt x="65" y="519"/>
                    <a:pt x="65" y="501"/>
                  </a:cubicBezTo>
                  <a:cubicBezTo>
                    <a:pt x="65" y="488"/>
                    <a:pt x="57" y="477"/>
                    <a:pt x="47" y="472"/>
                  </a:cubicBezTo>
                  <a:cubicBezTo>
                    <a:pt x="47" y="466"/>
                    <a:pt x="47" y="466"/>
                    <a:pt x="47" y="466"/>
                  </a:cubicBezTo>
                  <a:cubicBezTo>
                    <a:pt x="47" y="460"/>
                    <a:pt x="47" y="460"/>
                    <a:pt x="47" y="460"/>
                  </a:cubicBezTo>
                  <a:cubicBezTo>
                    <a:pt x="48" y="458"/>
                    <a:pt x="49" y="457"/>
                    <a:pt x="51" y="455"/>
                  </a:cubicBezTo>
                  <a:cubicBezTo>
                    <a:pt x="54" y="453"/>
                    <a:pt x="58" y="450"/>
                    <a:pt x="63" y="447"/>
                  </a:cubicBezTo>
                  <a:cubicBezTo>
                    <a:pt x="67" y="444"/>
                    <a:pt x="72" y="442"/>
                    <a:pt x="79" y="439"/>
                  </a:cubicBezTo>
                  <a:cubicBezTo>
                    <a:pt x="95" y="433"/>
                    <a:pt x="118" y="427"/>
                    <a:pt x="150" y="426"/>
                  </a:cubicBezTo>
                  <a:cubicBezTo>
                    <a:pt x="154" y="470"/>
                    <a:pt x="154" y="470"/>
                    <a:pt x="154" y="470"/>
                  </a:cubicBezTo>
                  <a:cubicBezTo>
                    <a:pt x="142" y="475"/>
                    <a:pt x="133" y="487"/>
                    <a:pt x="133" y="501"/>
                  </a:cubicBezTo>
                  <a:cubicBezTo>
                    <a:pt x="133" y="519"/>
                    <a:pt x="147" y="533"/>
                    <a:pt x="165" y="533"/>
                  </a:cubicBezTo>
                  <a:cubicBezTo>
                    <a:pt x="183" y="533"/>
                    <a:pt x="198" y="519"/>
                    <a:pt x="198" y="501"/>
                  </a:cubicBezTo>
                  <a:cubicBezTo>
                    <a:pt x="198" y="488"/>
                    <a:pt x="191" y="478"/>
                    <a:pt x="180" y="472"/>
                  </a:cubicBezTo>
                  <a:cubicBezTo>
                    <a:pt x="184" y="426"/>
                    <a:pt x="184" y="426"/>
                    <a:pt x="184" y="426"/>
                  </a:cubicBezTo>
                  <a:cubicBezTo>
                    <a:pt x="216" y="427"/>
                    <a:pt x="239" y="433"/>
                    <a:pt x="255" y="439"/>
                  </a:cubicBezTo>
                  <a:cubicBezTo>
                    <a:pt x="260" y="441"/>
                    <a:pt x="265" y="443"/>
                    <a:pt x="268" y="445"/>
                  </a:cubicBezTo>
                  <a:cubicBezTo>
                    <a:pt x="269" y="445"/>
                    <a:pt x="270" y="446"/>
                    <a:pt x="270" y="446"/>
                  </a:cubicBezTo>
                  <a:cubicBezTo>
                    <a:pt x="277" y="449"/>
                    <a:pt x="281" y="453"/>
                    <a:pt x="284" y="456"/>
                  </a:cubicBezTo>
                  <a:cubicBezTo>
                    <a:pt x="285" y="456"/>
                    <a:pt x="286" y="457"/>
                    <a:pt x="286" y="457"/>
                  </a:cubicBezTo>
                  <a:cubicBezTo>
                    <a:pt x="287" y="458"/>
                    <a:pt x="288" y="459"/>
                    <a:pt x="288" y="460"/>
                  </a:cubicBezTo>
                  <a:cubicBezTo>
                    <a:pt x="288" y="466"/>
                    <a:pt x="288" y="466"/>
                    <a:pt x="288" y="466"/>
                  </a:cubicBezTo>
                  <a:cubicBezTo>
                    <a:pt x="288" y="471"/>
                    <a:pt x="288" y="471"/>
                    <a:pt x="288" y="471"/>
                  </a:cubicBezTo>
                  <a:cubicBezTo>
                    <a:pt x="277" y="476"/>
                    <a:pt x="269" y="488"/>
                    <a:pt x="269" y="501"/>
                  </a:cubicBezTo>
                  <a:cubicBezTo>
                    <a:pt x="269" y="519"/>
                    <a:pt x="283" y="533"/>
                    <a:pt x="301" y="533"/>
                  </a:cubicBezTo>
                  <a:cubicBezTo>
                    <a:pt x="308" y="533"/>
                    <a:pt x="315" y="531"/>
                    <a:pt x="320" y="527"/>
                  </a:cubicBezTo>
                  <a:cubicBezTo>
                    <a:pt x="328" y="522"/>
                    <a:pt x="334" y="512"/>
                    <a:pt x="334" y="501"/>
                  </a:cubicBezTo>
                  <a:cubicBezTo>
                    <a:pt x="334" y="490"/>
                    <a:pt x="328" y="480"/>
                    <a:pt x="320" y="475"/>
                  </a:cubicBezTo>
                  <a:cubicBezTo>
                    <a:pt x="317" y="473"/>
                    <a:pt x="315" y="472"/>
                    <a:pt x="312" y="471"/>
                  </a:cubicBezTo>
                  <a:lnTo>
                    <a:pt x="31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097938" y="1097417"/>
            <a:ext cx="364747" cy="244601"/>
            <a:chOff x="-959617" y="1395037"/>
            <a:chExt cx="1006940" cy="675259"/>
          </a:xfrm>
        </p:grpSpPr>
        <p:sp>
          <p:nvSpPr>
            <p:cNvPr id="4" name="Rectangle 3"/>
            <p:cNvSpPr/>
            <p:nvPr/>
          </p:nvSpPr>
          <p:spPr>
            <a:xfrm>
              <a:off x="-922675" y="1427400"/>
              <a:ext cx="937337" cy="599882"/>
            </a:xfrm>
            <a:custGeom>
              <a:avLst/>
              <a:gdLst>
                <a:gd name="connsiteX0" fmla="*/ 0 w 732266"/>
                <a:gd name="connsiteY0" fmla="*/ 0 h 599531"/>
                <a:gd name="connsiteX1" fmla="*/ 732266 w 732266"/>
                <a:gd name="connsiteY1" fmla="*/ 0 h 599531"/>
                <a:gd name="connsiteX2" fmla="*/ 732266 w 732266"/>
                <a:gd name="connsiteY2" fmla="*/ 599531 h 599531"/>
                <a:gd name="connsiteX3" fmla="*/ 0 w 732266"/>
                <a:gd name="connsiteY3" fmla="*/ 599531 h 599531"/>
                <a:gd name="connsiteX4" fmla="*/ 0 w 732266"/>
                <a:gd name="connsiteY4" fmla="*/ 0 h 599531"/>
                <a:gd name="connsiteX0" fmla="*/ 0 w 732266"/>
                <a:gd name="connsiteY0" fmla="*/ 0 h 599531"/>
                <a:gd name="connsiteX1" fmla="*/ 732266 w 732266"/>
                <a:gd name="connsiteY1" fmla="*/ 0 h 599531"/>
                <a:gd name="connsiteX2" fmla="*/ 627012 w 732266"/>
                <a:gd name="connsiteY2" fmla="*/ 533747 h 599531"/>
                <a:gd name="connsiteX3" fmla="*/ 0 w 732266"/>
                <a:gd name="connsiteY3" fmla="*/ 599531 h 599531"/>
                <a:gd name="connsiteX4" fmla="*/ 0 w 732266"/>
                <a:gd name="connsiteY4" fmla="*/ 0 h 599531"/>
                <a:gd name="connsiteX0" fmla="*/ 0 w 732266"/>
                <a:gd name="connsiteY0" fmla="*/ 0 h 533747"/>
                <a:gd name="connsiteX1" fmla="*/ 732266 w 732266"/>
                <a:gd name="connsiteY1" fmla="*/ 0 h 533747"/>
                <a:gd name="connsiteX2" fmla="*/ 627012 w 732266"/>
                <a:gd name="connsiteY2" fmla="*/ 533747 h 533747"/>
                <a:gd name="connsiteX3" fmla="*/ 70362 w 732266"/>
                <a:gd name="connsiteY3" fmla="*/ 381266 h 533747"/>
                <a:gd name="connsiteX4" fmla="*/ 0 w 732266"/>
                <a:gd name="connsiteY4" fmla="*/ 0 h 533747"/>
                <a:gd name="connsiteX0" fmla="*/ 119617 w 851883"/>
                <a:gd name="connsiteY0" fmla="*/ 0 h 533747"/>
                <a:gd name="connsiteX1" fmla="*/ 851883 w 851883"/>
                <a:gd name="connsiteY1" fmla="*/ 0 h 533747"/>
                <a:gd name="connsiteX2" fmla="*/ 746629 w 851883"/>
                <a:gd name="connsiteY2" fmla="*/ 533747 h 533747"/>
                <a:gd name="connsiteX3" fmla="*/ 0 w 851883"/>
                <a:gd name="connsiteY3" fmla="*/ 278197 h 533747"/>
                <a:gd name="connsiteX4" fmla="*/ 119617 w 851883"/>
                <a:gd name="connsiteY4" fmla="*/ 0 h 533747"/>
                <a:gd name="connsiteX0" fmla="*/ 119617 w 851883"/>
                <a:gd name="connsiteY0" fmla="*/ 0 h 533747"/>
                <a:gd name="connsiteX1" fmla="*/ 851883 w 851883"/>
                <a:gd name="connsiteY1" fmla="*/ 0 h 533747"/>
                <a:gd name="connsiteX2" fmla="*/ 746629 w 851883"/>
                <a:gd name="connsiteY2" fmla="*/ 533747 h 533747"/>
                <a:gd name="connsiteX3" fmla="*/ 0 w 851883"/>
                <a:gd name="connsiteY3" fmla="*/ 278197 h 533747"/>
                <a:gd name="connsiteX4" fmla="*/ 119617 w 851883"/>
                <a:gd name="connsiteY4" fmla="*/ 0 h 533747"/>
                <a:gd name="connsiteX0" fmla="*/ 119617 w 851883"/>
                <a:gd name="connsiteY0" fmla="*/ 0 h 539810"/>
                <a:gd name="connsiteX1" fmla="*/ 851883 w 851883"/>
                <a:gd name="connsiteY1" fmla="*/ 0 h 539810"/>
                <a:gd name="connsiteX2" fmla="*/ 500362 w 851883"/>
                <a:gd name="connsiteY2" fmla="*/ 539810 h 539810"/>
                <a:gd name="connsiteX3" fmla="*/ 0 w 851883"/>
                <a:gd name="connsiteY3" fmla="*/ 278197 h 539810"/>
                <a:gd name="connsiteX4" fmla="*/ 119617 w 851883"/>
                <a:gd name="connsiteY4" fmla="*/ 0 h 539810"/>
                <a:gd name="connsiteX0" fmla="*/ 119617 w 851883"/>
                <a:gd name="connsiteY0" fmla="*/ 0 h 539810"/>
                <a:gd name="connsiteX1" fmla="*/ 851883 w 851883"/>
                <a:gd name="connsiteY1" fmla="*/ 0 h 539810"/>
                <a:gd name="connsiteX2" fmla="*/ 500362 w 851883"/>
                <a:gd name="connsiteY2" fmla="*/ 539810 h 539810"/>
                <a:gd name="connsiteX3" fmla="*/ 0 w 851883"/>
                <a:gd name="connsiteY3" fmla="*/ 278197 h 539810"/>
                <a:gd name="connsiteX4" fmla="*/ 119617 w 851883"/>
                <a:gd name="connsiteY4" fmla="*/ 0 h 539810"/>
                <a:gd name="connsiteX0" fmla="*/ 119617 w 901137"/>
                <a:gd name="connsiteY0" fmla="*/ 0 h 539810"/>
                <a:gd name="connsiteX1" fmla="*/ 901137 w 901137"/>
                <a:gd name="connsiteY1" fmla="*/ 90944 h 539810"/>
                <a:gd name="connsiteX2" fmla="*/ 500362 w 901137"/>
                <a:gd name="connsiteY2" fmla="*/ 539810 h 539810"/>
                <a:gd name="connsiteX3" fmla="*/ 0 w 901137"/>
                <a:gd name="connsiteY3" fmla="*/ 278197 h 539810"/>
                <a:gd name="connsiteX4" fmla="*/ 119617 w 901137"/>
                <a:gd name="connsiteY4" fmla="*/ 0 h 539810"/>
                <a:gd name="connsiteX0" fmla="*/ 119617 w 985572"/>
                <a:gd name="connsiteY0" fmla="*/ 0 h 539810"/>
                <a:gd name="connsiteX1" fmla="*/ 985572 w 985572"/>
                <a:gd name="connsiteY1" fmla="*/ 163699 h 539810"/>
                <a:gd name="connsiteX2" fmla="*/ 500362 w 985572"/>
                <a:gd name="connsiteY2" fmla="*/ 539810 h 539810"/>
                <a:gd name="connsiteX3" fmla="*/ 0 w 985572"/>
                <a:gd name="connsiteY3" fmla="*/ 278197 h 539810"/>
                <a:gd name="connsiteX4" fmla="*/ 119617 w 985572"/>
                <a:gd name="connsiteY4" fmla="*/ 0 h 539810"/>
                <a:gd name="connsiteX0" fmla="*/ 119617 w 985572"/>
                <a:gd name="connsiteY0" fmla="*/ 0 h 539810"/>
                <a:gd name="connsiteX1" fmla="*/ 985572 w 985572"/>
                <a:gd name="connsiteY1" fmla="*/ 163699 h 539810"/>
                <a:gd name="connsiteX2" fmla="*/ 500362 w 985572"/>
                <a:gd name="connsiteY2" fmla="*/ 539810 h 539810"/>
                <a:gd name="connsiteX3" fmla="*/ 0 w 985572"/>
                <a:gd name="connsiteY3" fmla="*/ 278197 h 539810"/>
                <a:gd name="connsiteX4" fmla="*/ 119617 w 985572"/>
                <a:gd name="connsiteY4" fmla="*/ 0 h 539810"/>
                <a:gd name="connsiteX0" fmla="*/ 119617 w 985572"/>
                <a:gd name="connsiteY0" fmla="*/ 13065 h 552875"/>
                <a:gd name="connsiteX1" fmla="*/ 582896 w 985572"/>
                <a:gd name="connsiteY1" fmla="*/ 60736 h 552875"/>
                <a:gd name="connsiteX2" fmla="*/ 985572 w 985572"/>
                <a:gd name="connsiteY2" fmla="*/ 176764 h 552875"/>
                <a:gd name="connsiteX3" fmla="*/ 500362 w 985572"/>
                <a:gd name="connsiteY3" fmla="*/ 552875 h 552875"/>
                <a:gd name="connsiteX4" fmla="*/ 0 w 985572"/>
                <a:gd name="connsiteY4" fmla="*/ 291262 h 552875"/>
                <a:gd name="connsiteX5" fmla="*/ 119617 w 985572"/>
                <a:gd name="connsiteY5" fmla="*/ 13065 h 55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85572" h="552875">
                  <a:moveTo>
                    <a:pt x="119617" y="13065"/>
                  </a:moveTo>
                  <a:cubicBezTo>
                    <a:pt x="183931" y="-26366"/>
                    <a:pt x="438570" y="33453"/>
                    <a:pt x="582896" y="60736"/>
                  </a:cubicBezTo>
                  <a:cubicBezTo>
                    <a:pt x="727222" y="88019"/>
                    <a:pt x="966492" y="93731"/>
                    <a:pt x="985572" y="176764"/>
                  </a:cubicBezTo>
                  <a:cubicBezTo>
                    <a:pt x="868398" y="356701"/>
                    <a:pt x="891949" y="372938"/>
                    <a:pt x="500362" y="552875"/>
                  </a:cubicBezTo>
                  <a:cubicBezTo>
                    <a:pt x="251486" y="467692"/>
                    <a:pt x="248876" y="455264"/>
                    <a:pt x="0" y="291262"/>
                  </a:cubicBezTo>
                  <a:lnTo>
                    <a:pt x="119617" y="130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91" name="Rectangle 90"/>
            <p:cNvSpPr/>
            <p:nvPr/>
          </p:nvSpPr>
          <p:spPr bwMode="gray">
            <a:xfrm rot="20048276" flipH="1">
              <a:off x="-55049" y="1409202"/>
              <a:ext cx="102372" cy="367438"/>
            </a:xfrm>
            <a:prstGeom prst="rect">
              <a:avLst/>
            </a:prstGeom>
            <a:solidFill>
              <a:srgbClr val="5A6B7D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-959617" y="1395037"/>
              <a:ext cx="980087" cy="675259"/>
              <a:chOff x="-959617" y="1395037"/>
              <a:chExt cx="980087" cy="675259"/>
            </a:xfrm>
          </p:grpSpPr>
          <p:sp>
            <p:nvSpPr>
              <p:cNvPr id="88" name="Freeform 87"/>
              <p:cNvSpPr/>
              <p:nvPr/>
            </p:nvSpPr>
            <p:spPr bwMode="gray">
              <a:xfrm>
                <a:off x="-770064" y="1439825"/>
                <a:ext cx="307113" cy="61034"/>
              </a:xfrm>
              <a:custGeom>
                <a:avLst/>
                <a:gdLst>
                  <a:gd name="connsiteX0" fmla="*/ 0 w 617220"/>
                  <a:gd name="connsiteY0" fmla="*/ 106680 h 129540"/>
                  <a:gd name="connsiteX1" fmla="*/ 144780 w 617220"/>
                  <a:gd name="connsiteY1" fmla="*/ 129540 h 129540"/>
                  <a:gd name="connsiteX2" fmla="*/ 441960 w 617220"/>
                  <a:gd name="connsiteY2" fmla="*/ 0 h 129540"/>
                  <a:gd name="connsiteX3" fmla="*/ 617220 w 617220"/>
                  <a:gd name="connsiteY3" fmla="*/ 53340 h 129540"/>
                  <a:gd name="connsiteX0" fmla="*/ 0 w 617220"/>
                  <a:gd name="connsiteY0" fmla="*/ 106680 h 129540"/>
                  <a:gd name="connsiteX1" fmla="*/ 144780 w 617220"/>
                  <a:gd name="connsiteY1" fmla="*/ 129540 h 129540"/>
                  <a:gd name="connsiteX2" fmla="*/ 441960 w 617220"/>
                  <a:gd name="connsiteY2" fmla="*/ 0 h 129540"/>
                  <a:gd name="connsiteX3" fmla="*/ 617220 w 617220"/>
                  <a:gd name="connsiteY3" fmla="*/ 53340 h 129540"/>
                  <a:gd name="connsiteX0" fmla="*/ 0 w 617220"/>
                  <a:gd name="connsiteY0" fmla="*/ 106680 h 134727"/>
                  <a:gd name="connsiteX1" fmla="*/ 144780 w 617220"/>
                  <a:gd name="connsiteY1" fmla="*/ 129540 h 134727"/>
                  <a:gd name="connsiteX2" fmla="*/ 441960 w 617220"/>
                  <a:gd name="connsiteY2" fmla="*/ 0 h 134727"/>
                  <a:gd name="connsiteX3" fmla="*/ 617220 w 617220"/>
                  <a:gd name="connsiteY3" fmla="*/ 53340 h 134727"/>
                  <a:gd name="connsiteX0" fmla="*/ 0 w 617220"/>
                  <a:gd name="connsiteY0" fmla="*/ 108782 h 136829"/>
                  <a:gd name="connsiteX1" fmla="*/ 144780 w 617220"/>
                  <a:gd name="connsiteY1" fmla="*/ 131642 h 136829"/>
                  <a:gd name="connsiteX2" fmla="*/ 441960 w 617220"/>
                  <a:gd name="connsiteY2" fmla="*/ 2102 h 136829"/>
                  <a:gd name="connsiteX3" fmla="*/ 617220 w 617220"/>
                  <a:gd name="connsiteY3" fmla="*/ 55442 h 13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220" h="136829">
                    <a:moveTo>
                      <a:pt x="0" y="108782"/>
                    </a:moveTo>
                    <a:cubicBezTo>
                      <a:pt x="48260" y="116402"/>
                      <a:pt x="71120" y="149422"/>
                      <a:pt x="144780" y="131642"/>
                    </a:cubicBezTo>
                    <a:cubicBezTo>
                      <a:pt x="218440" y="113862"/>
                      <a:pt x="363220" y="14802"/>
                      <a:pt x="441960" y="2102"/>
                    </a:cubicBezTo>
                    <a:cubicBezTo>
                      <a:pt x="520700" y="-10598"/>
                      <a:pt x="558800" y="37662"/>
                      <a:pt x="617220" y="55442"/>
                    </a:cubicBezTo>
                  </a:path>
                </a:pathLst>
              </a:custGeom>
              <a:solidFill>
                <a:srgbClr val="5A6B7D"/>
              </a:solidFill>
              <a:ln w="12700">
                <a:solidFill>
                  <a:srgbClr val="6F7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89" name="Freeform 88"/>
              <p:cNvSpPr/>
              <p:nvPr/>
            </p:nvSpPr>
            <p:spPr bwMode="gray">
              <a:xfrm>
                <a:off x="-922675" y="1727975"/>
                <a:ext cx="85309" cy="78602"/>
              </a:xfrm>
              <a:custGeom>
                <a:avLst/>
                <a:gdLst>
                  <a:gd name="connsiteX0" fmla="*/ 0 w 171450"/>
                  <a:gd name="connsiteY0" fmla="*/ 0 h 176213"/>
                  <a:gd name="connsiteX1" fmla="*/ 171450 w 171450"/>
                  <a:gd name="connsiteY1" fmla="*/ 176213 h 176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450" h="176213">
                    <a:moveTo>
                      <a:pt x="0" y="0"/>
                    </a:moveTo>
                    <a:lnTo>
                      <a:pt x="171450" y="176213"/>
                    </a:lnTo>
                  </a:path>
                </a:pathLst>
              </a:custGeom>
              <a:solidFill>
                <a:srgbClr val="5A6B7D"/>
              </a:solidFill>
              <a:ln w="12700">
                <a:solidFill>
                  <a:srgbClr val="6F7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90" name="Freeform 89"/>
              <p:cNvSpPr/>
              <p:nvPr/>
            </p:nvSpPr>
            <p:spPr bwMode="gray">
              <a:xfrm>
                <a:off x="-654278" y="1434998"/>
                <a:ext cx="674748" cy="390697"/>
              </a:xfrm>
              <a:custGeom>
                <a:avLst/>
                <a:gdLst>
                  <a:gd name="connsiteX0" fmla="*/ 1076326 w 1366838"/>
                  <a:gd name="connsiteY0" fmla="*/ 85725 h 866775"/>
                  <a:gd name="connsiteX1" fmla="*/ 900113 w 1366838"/>
                  <a:gd name="connsiteY1" fmla="*/ 109538 h 866775"/>
                  <a:gd name="connsiteX2" fmla="*/ 628651 w 1366838"/>
                  <a:gd name="connsiteY2" fmla="*/ 14288 h 866775"/>
                  <a:gd name="connsiteX3" fmla="*/ 485776 w 1366838"/>
                  <a:gd name="connsiteY3" fmla="*/ 0 h 866775"/>
                  <a:gd name="connsiteX4" fmla="*/ 376238 w 1366838"/>
                  <a:gd name="connsiteY4" fmla="*/ 52388 h 866775"/>
                  <a:gd name="connsiteX5" fmla="*/ 0 w 1366838"/>
                  <a:gd name="connsiteY5" fmla="*/ 523875 h 866775"/>
                  <a:gd name="connsiteX6" fmla="*/ 28575 w 1366838"/>
                  <a:gd name="connsiteY6" fmla="*/ 628650 h 866775"/>
                  <a:gd name="connsiteX7" fmla="*/ 142875 w 1366838"/>
                  <a:gd name="connsiteY7" fmla="*/ 661988 h 866775"/>
                  <a:gd name="connsiteX8" fmla="*/ 538163 w 1366838"/>
                  <a:gd name="connsiteY8" fmla="*/ 438150 h 866775"/>
                  <a:gd name="connsiteX9" fmla="*/ 638176 w 1366838"/>
                  <a:gd name="connsiteY9" fmla="*/ 447675 h 866775"/>
                  <a:gd name="connsiteX10" fmla="*/ 1138238 w 1366838"/>
                  <a:gd name="connsiteY10" fmla="*/ 866775 h 866775"/>
                  <a:gd name="connsiteX11" fmla="*/ 1366838 w 1366838"/>
                  <a:gd name="connsiteY11" fmla="*/ 719138 h 866775"/>
                  <a:gd name="connsiteX12" fmla="*/ 1076326 w 1366838"/>
                  <a:gd name="connsiteY12" fmla="*/ 85725 h 866775"/>
                  <a:gd name="connsiteX0" fmla="*/ 1076326 w 1366838"/>
                  <a:gd name="connsiteY0" fmla="*/ 85725 h 866775"/>
                  <a:gd name="connsiteX1" fmla="*/ 900113 w 1366838"/>
                  <a:gd name="connsiteY1" fmla="*/ 109538 h 866775"/>
                  <a:gd name="connsiteX2" fmla="*/ 628651 w 1366838"/>
                  <a:gd name="connsiteY2" fmla="*/ 14288 h 866775"/>
                  <a:gd name="connsiteX3" fmla="*/ 485776 w 1366838"/>
                  <a:gd name="connsiteY3" fmla="*/ 0 h 866775"/>
                  <a:gd name="connsiteX4" fmla="*/ 376238 w 1366838"/>
                  <a:gd name="connsiteY4" fmla="*/ 52388 h 866775"/>
                  <a:gd name="connsiteX5" fmla="*/ 0 w 1366838"/>
                  <a:gd name="connsiteY5" fmla="*/ 523875 h 866775"/>
                  <a:gd name="connsiteX6" fmla="*/ 28575 w 1366838"/>
                  <a:gd name="connsiteY6" fmla="*/ 628650 h 866775"/>
                  <a:gd name="connsiteX7" fmla="*/ 142875 w 1366838"/>
                  <a:gd name="connsiteY7" fmla="*/ 661988 h 866775"/>
                  <a:gd name="connsiteX8" fmla="*/ 538163 w 1366838"/>
                  <a:gd name="connsiteY8" fmla="*/ 438150 h 866775"/>
                  <a:gd name="connsiteX9" fmla="*/ 638176 w 1366838"/>
                  <a:gd name="connsiteY9" fmla="*/ 447675 h 866775"/>
                  <a:gd name="connsiteX10" fmla="*/ 1138238 w 1366838"/>
                  <a:gd name="connsiteY10" fmla="*/ 866775 h 866775"/>
                  <a:gd name="connsiteX11" fmla="*/ 1366838 w 1366838"/>
                  <a:gd name="connsiteY11" fmla="*/ 719138 h 866775"/>
                  <a:gd name="connsiteX12" fmla="*/ 1076326 w 1366838"/>
                  <a:gd name="connsiteY12" fmla="*/ 85725 h 866775"/>
                  <a:gd name="connsiteX0" fmla="*/ 1076326 w 1366838"/>
                  <a:gd name="connsiteY0" fmla="*/ 85725 h 866775"/>
                  <a:gd name="connsiteX1" fmla="*/ 900113 w 1366838"/>
                  <a:gd name="connsiteY1" fmla="*/ 109538 h 866775"/>
                  <a:gd name="connsiteX2" fmla="*/ 628651 w 1366838"/>
                  <a:gd name="connsiteY2" fmla="*/ 14288 h 866775"/>
                  <a:gd name="connsiteX3" fmla="*/ 485776 w 1366838"/>
                  <a:gd name="connsiteY3" fmla="*/ 0 h 866775"/>
                  <a:gd name="connsiteX4" fmla="*/ 376238 w 1366838"/>
                  <a:gd name="connsiteY4" fmla="*/ 52388 h 866775"/>
                  <a:gd name="connsiteX5" fmla="*/ 0 w 1366838"/>
                  <a:gd name="connsiteY5" fmla="*/ 523875 h 866775"/>
                  <a:gd name="connsiteX6" fmla="*/ 28575 w 1366838"/>
                  <a:gd name="connsiteY6" fmla="*/ 628650 h 866775"/>
                  <a:gd name="connsiteX7" fmla="*/ 142875 w 1366838"/>
                  <a:gd name="connsiteY7" fmla="*/ 661988 h 866775"/>
                  <a:gd name="connsiteX8" fmla="*/ 538163 w 1366838"/>
                  <a:gd name="connsiteY8" fmla="*/ 438150 h 866775"/>
                  <a:gd name="connsiteX9" fmla="*/ 638176 w 1366838"/>
                  <a:gd name="connsiteY9" fmla="*/ 447675 h 866775"/>
                  <a:gd name="connsiteX10" fmla="*/ 1138238 w 1366838"/>
                  <a:gd name="connsiteY10" fmla="*/ 866775 h 866775"/>
                  <a:gd name="connsiteX11" fmla="*/ 1366838 w 1366838"/>
                  <a:gd name="connsiteY11" fmla="*/ 719138 h 866775"/>
                  <a:gd name="connsiteX12" fmla="*/ 1076326 w 1366838"/>
                  <a:gd name="connsiteY12" fmla="*/ 85725 h 866775"/>
                  <a:gd name="connsiteX0" fmla="*/ 1076326 w 1366838"/>
                  <a:gd name="connsiteY0" fmla="*/ 88904 h 869954"/>
                  <a:gd name="connsiteX1" fmla="*/ 900113 w 1366838"/>
                  <a:gd name="connsiteY1" fmla="*/ 112717 h 869954"/>
                  <a:gd name="connsiteX2" fmla="*/ 628651 w 1366838"/>
                  <a:gd name="connsiteY2" fmla="*/ 17467 h 869954"/>
                  <a:gd name="connsiteX3" fmla="*/ 485776 w 1366838"/>
                  <a:gd name="connsiteY3" fmla="*/ 3179 h 869954"/>
                  <a:gd name="connsiteX4" fmla="*/ 376238 w 1366838"/>
                  <a:gd name="connsiteY4" fmla="*/ 55567 h 869954"/>
                  <a:gd name="connsiteX5" fmla="*/ 0 w 1366838"/>
                  <a:gd name="connsiteY5" fmla="*/ 527054 h 869954"/>
                  <a:gd name="connsiteX6" fmla="*/ 28575 w 1366838"/>
                  <a:gd name="connsiteY6" fmla="*/ 631829 h 869954"/>
                  <a:gd name="connsiteX7" fmla="*/ 142875 w 1366838"/>
                  <a:gd name="connsiteY7" fmla="*/ 665167 h 869954"/>
                  <a:gd name="connsiteX8" fmla="*/ 538163 w 1366838"/>
                  <a:gd name="connsiteY8" fmla="*/ 441329 h 869954"/>
                  <a:gd name="connsiteX9" fmla="*/ 638176 w 1366838"/>
                  <a:gd name="connsiteY9" fmla="*/ 450854 h 869954"/>
                  <a:gd name="connsiteX10" fmla="*/ 1138238 w 1366838"/>
                  <a:gd name="connsiteY10" fmla="*/ 869954 h 869954"/>
                  <a:gd name="connsiteX11" fmla="*/ 1366838 w 1366838"/>
                  <a:gd name="connsiteY11" fmla="*/ 722317 h 869954"/>
                  <a:gd name="connsiteX12" fmla="*/ 1076326 w 1366838"/>
                  <a:gd name="connsiteY12" fmla="*/ 88904 h 869954"/>
                  <a:gd name="connsiteX0" fmla="*/ 1076326 w 1366838"/>
                  <a:gd name="connsiteY0" fmla="*/ 90042 h 871092"/>
                  <a:gd name="connsiteX1" fmla="*/ 900113 w 1366838"/>
                  <a:gd name="connsiteY1" fmla="*/ 113855 h 871092"/>
                  <a:gd name="connsiteX2" fmla="*/ 628651 w 1366838"/>
                  <a:gd name="connsiteY2" fmla="*/ 18605 h 871092"/>
                  <a:gd name="connsiteX3" fmla="*/ 485776 w 1366838"/>
                  <a:gd name="connsiteY3" fmla="*/ 4317 h 871092"/>
                  <a:gd name="connsiteX4" fmla="*/ 376238 w 1366838"/>
                  <a:gd name="connsiteY4" fmla="*/ 56705 h 871092"/>
                  <a:gd name="connsiteX5" fmla="*/ 0 w 1366838"/>
                  <a:gd name="connsiteY5" fmla="*/ 528192 h 871092"/>
                  <a:gd name="connsiteX6" fmla="*/ 28575 w 1366838"/>
                  <a:gd name="connsiteY6" fmla="*/ 632967 h 871092"/>
                  <a:gd name="connsiteX7" fmla="*/ 142875 w 1366838"/>
                  <a:gd name="connsiteY7" fmla="*/ 666305 h 871092"/>
                  <a:gd name="connsiteX8" fmla="*/ 538163 w 1366838"/>
                  <a:gd name="connsiteY8" fmla="*/ 442467 h 871092"/>
                  <a:gd name="connsiteX9" fmla="*/ 638176 w 1366838"/>
                  <a:gd name="connsiteY9" fmla="*/ 451992 h 871092"/>
                  <a:gd name="connsiteX10" fmla="*/ 1138238 w 1366838"/>
                  <a:gd name="connsiteY10" fmla="*/ 871092 h 871092"/>
                  <a:gd name="connsiteX11" fmla="*/ 1366838 w 1366838"/>
                  <a:gd name="connsiteY11" fmla="*/ 723455 h 871092"/>
                  <a:gd name="connsiteX12" fmla="*/ 1076326 w 1366838"/>
                  <a:gd name="connsiteY12" fmla="*/ 90042 h 871092"/>
                  <a:gd name="connsiteX0" fmla="*/ 1076326 w 1366838"/>
                  <a:gd name="connsiteY0" fmla="*/ 90042 h 871092"/>
                  <a:gd name="connsiteX1" fmla="*/ 900113 w 1366838"/>
                  <a:gd name="connsiteY1" fmla="*/ 113855 h 871092"/>
                  <a:gd name="connsiteX2" fmla="*/ 628651 w 1366838"/>
                  <a:gd name="connsiteY2" fmla="*/ 18605 h 871092"/>
                  <a:gd name="connsiteX3" fmla="*/ 485776 w 1366838"/>
                  <a:gd name="connsiteY3" fmla="*/ 4317 h 871092"/>
                  <a:gd name="connsiteX4" fmla="*/ 376238 w 1366838"/>
                  <a:gd name="connsiteY4" fmla="*/ 56705 h 871092"/>
                  <a:gd name="connsiteX5" fmla="*/ 0 w 1366838"/>
                  <a:gd name="connsiteY5" fmla="*/ 528192 h 871092"/>
                  <a:gd name="connsiteX6" fmla="*/ 28575 w 1366838"/>
                  <a:gd name="connsiteY6" fmla="*/ 632967 h 871092"/>
                  <a:gd name="connsiteX7" fmla="*/ 142875 w 1366838"/>
                  <a:gd name="connsiteY7" fmla="*/ 666305 h 871092"/>
                  <a:gd name="connsiteX8" fmla="*/ 538163 w 1366838"/>
                  <a:gd name="connsiteY8" fmla="*/ 442467 h 871092"/>
                  <a:gd name="connsiteX9" fmla="*/ 638176 w 1366838"/>
                  <a:gd name="connsiteY9" fmla="*/ 451992 h 871092"/>
                  <a:gd name="connsiteX10" fmla="*/ 1138238 w 1366838"/>
                  <a:gd name="connsiteY10" fmla="*/ 871092 h 871092"/>
                  <a:gd name="connsiteX11" fmla="*/ 1366838 w 1366838"/>
                  <a:gd name="connsiteY11" fmla="*/ 723455 h 871092"/>
                  <a:gd name="connsiteX12" fmla="*/ 1076326 w 1366838"/>
                  <a:gd name="connsiteY12" fmla="*/ 90042 h 871092"/>
                  <a:gd name="connsiteX0" fmla="*/ 1100207 w 1390719"/>
                  <a:gd name="connsiteY0" fmla="*/ 90042 h 871092"/>
                  <a:gd name="connsiteX1" fmla="*/ 923994 w 1390719"/>
                  <a:gd name="connsiteY1" fmla="*/ 113855 h 871092"/>
                  <a:gd name="connsiteX2" fmla="*/ 652532 w 1390719"/>
                  <a:gd name="connsiteY2" fmla="*/ 18605 h 871092"/>
                  <a:gd name="connsiteX3" fmla="*/ 509657 w 1390719"/>
                  <a:gd name="connsiteY3" fmla="*/ 4317 h 871092"/>
                  <a:gd name="connsiteX4" fmla="*/ 400119 w 1390719"/>
                  <a:gd name="connsiteY4" fmla="*/ 56705 h 871092"/>
                  <a:gd name="connsiteX5" fmla="*/ 23881 w 1390719"/>
                  <a:gd name="connsiteY5" fmla="*/ 528192 h 871092"/>
                  <a:gd name="connsiteX6" fmla="*/ 52456 w 1390719"/>
                  <a:gd name="connsiteY6" fmla="*/ 632967 h 871092"/>
                  <a:gd name="connsiteX7" fmla="*/ 166756 w 1390719"/>
                  <a:gd name="connsiteY7" fmla="*/ 666305 h 871092"/>
                  <a:gd name="connsiteX8" fmla="*/ 562044 w 1390719"/>
                  <a:gd name="connsiteY8" fmla="*/ 442467 h 871092"/>
                  <a:gd name="connsiteX9" fmla="*/ 662057 w 1390719"/>
                  <a:gd name="connsiteY9" fmla="*/ 451992 h 871092"/>
                  <a:gd name="connsiteX10" fmla="*/ 1162119 w 1390719"/>
                  <a:gd name="connsiteY10" fmla="*/ 871092 h 871092"/>
                  <a:gd name="connsiteX11" fmla="*/ 1390719 w 1390719"/>
                  <a:gd name="connsiteY11" fmla="*/ 723455 h 871092"/>
                  <a:gd name="connsiteX12" fmla="*/ 1100207 w 1390719"/>
                  <a:gd name="connsiteY12" fmla="*/ 90042 h 871092"/>
                  <a:gd name="connsiteX0" fmla="*/ 1100207 w 1390719"/>
                  <a:gd name="connsiteY0" fmla="*/ 90042 h 871092"/>
                  <a:gd name="connsiteX1" fmla="*/ 923994 w 1390719"/>
                  <a:gd name="connsiteY1" fmla="*/ 113855 h 871092"/>
                  <a:gd name="connsiteX2" fmla="*/ 652532 w 1390719"/>
                  <a:gd name="connsiteY2" fmla="*/ 18605 h 871092"/>
                  <a:gd name="connsiteX3" fmla="*/ 509657 w 1390719"/>
                  <a:gd name="connsiteY3" fmla="*/ 4317 h 871092"/>
                  <a:gd name="connsiteX4" fmla="*/ 400119 w 1390719"/>
                  <a:gd name="connsiteY4" fmla="*/ 56705 h 871092"/>
                  <a:gd name="connsiteX5" fmla="*/ 23881 w 1390719"/>
                  <a:gd name="connsiteY5" fmla="*/ 528192 h 871092"/>
                  <a:gd name="connsiteX6" fmla="*/ 52456 w 1390719"/>
                  <a:gd name="connsiteY6" fmla="*/ 632967 h 871092"/>
                  <a:gd name="connsiteX7" fmla="*/ 166756 w 1390719"/>
                  <a:gd name="connsiteY7" fmla="*/ 666305 h 871092"/>
                  <a:gd name="connsiteX8" fmla="*/ 562044 w 1390719"/>
                  <a:gd name="connsiteY8" fmla="*/ 442467 h 871092"/>
                  <a:gd name="connsiteX9" fmla="*/ 662057 w 1390719"/>
                  <a:gd name="connsiteY9" fmla="*/ 451992 h 871092"/>
                  <a:gd name="connsiteX10" fmla="*/ 1162119 w 1390719"/>
                  <a:gd name="connsiteY10" fmla="*/ 871092 h 871092"/>
                  <a:gd name="connsiteX11" fmla="*/ 1390719 w 1390719"/>
                  <a:gd name="connsiteY11" fmla="*/ 723455 h 871092"/>
                  <a:gd name="connsiteX12" fmla="*/ 1100207 w 1390719"/>
                  <a:gd name="connsiteY12" fmla="*/ 90042 h 871092"/>
                  <a:gd name="connsiteX0" fmla="*/ 1100207 w 1390719"/>
                  <a:gd name="connsiteY0" fmla="*/ 90042 h 871092"/>
                  <a:gd name="connsiteX1" fmla="*/ 923994 w 1390719"/>
                  <a:gd name="connsiteY1" fmla="*/ 113855 h 871092"/>
                  <a:gd name="connsiteX2" fmla="*/ 652532 w 1390719"/>
                  <a:gd name="connsiteY2" fmla="*/ 18605 h 871092"/>
                  <a:gd name="connsiteX3" fmla="*/ 509657 w 1390719"/>
                  <a:gd name="connsiteY3" fmla="*/ 4317 h 871092"/>
                  <a:gd name="connsiteX4" fmla="*/ 400119 w 1390719"/>
                  <a:gd name="connsiteY4" fmla="*/ 56705 h 871092"/>
                  <a:gd name="connsiteX5" fmla="*/ 23881 w 1390719"/>
                  <a:gd name="connsiteY5" fmla="*/ 528192 h 871092"/>
                  <a:gd name="connsiteX6" fmla="*/ 52456 w 1390719"/>
                  <a:gd name="connsiteY6" fmla="*/ 632967 h 871092"/>
                  <a:gd name="connsiteX7" fmla="*/ 166756 w 1390719"/>
                  <a:gd name="connsiteY7" fmla="*/ 666305 h 871092"/>
                  <a:gd name="connsiteX8" fmla="*/ 562044 w 1390719"/>
                  <a:gd name="connsiteY8" fmla="*/ 442467 h 871092"/>
                  <a:gd name="connsiteX9" fmla="*/ 662057 w 1390719"/>
                  <a:gd name="connsiteY9" fmla="*/ 451992 h 871092"/>
                  <a:gd name="connsiteX10" fmla="*/ 1162119 w 1390719"/>
                  <a:gd name="connsiteY10" fmla="*/ 871092 h 871092"/>
                  <a:gd name="connsiteX11" fmla="*/ 1390719 w 1390719"/>
                  <a:gd name="connsiteY11" fmla="*/ 723455 h 871092"/>
                  <a:gd name="connsiteX12" fmla="*/ 1100207 w 1390719"/>
                  <a:gd name="connsiteY12" fmla="*/ 90042 h 871092"/>
                  <a:gd name="connsiteX0" fmla="*/ 1100207 w 1390719"/>
                  <a:gd name="connsiteY0" fmla="*/ 90042 h 871092"/>
                  <a:gd name="connsiteX1" fmla="*/ 923994 w 1390719"/>
                  <a:gd name="connsiteY1" fmla="*/ 113855 h 871092"/>
                  <a:gd name="connsiteX2" fmla="*/ 652532 w 1390719"/>
                  <a:gd name="connsiteY2" fmla="*/ 18605 h 871092"/>
                  <a:gd name="connsiteX3" fmla="*/ 509657 w 1390719"/>
                  <a:gd name="connsiteY3" fmla="*/ 4317 h 871092"/>
                  <a:gd name="connsiteX4" fmla="*/ 400119 w 1390719"/>
                  <a:gd name="connsiteY4" fmla="*/ 56705 h 871092"/>
                  <a:gd name="connsiteX5" fmla="*/ 23881 w 1390719"/>
                  <a:gd name="connsiteY5" fmla="*/ 528192 h 871092"/>
                  <a:gd name="connsiteX6" fmla="*/ 52456 w 1390719"/>
                  <a:gd name="connsiteY6" fmla="*/ 632967 h 871092"/>
                  <a:gd name="connsiteX7" fmla="*/ 166756 w 1390719"/>
                  <a:gd name="connsiteY7" fmla="*/ 666305 h 871092"/>
                  <a:gd name="connsiteX8" fmla="*/ 562044 w 1390719"/>
                  <a:gd name="connsiteY8" fmla="*/ 442467 h 871092"/>
                  <a:gd name="connsiteX9" fmla="*/ 662057 w 1390719"/>
                  <a:gd name="connsiteY9" fmla="*/ 451992 h 871092"/>
                  <a:gd name="connsiteX10" fmla="*/ 1162119 w 1390719"/>
                  <a:gd name="connsiteY10" fmla="*/ 871092 h 871092"/>
                  <a:gd name="connsiteX11" fmla="*/ 1390719 w 1390719"/>
                  <a:gd name="connsiteY11" fmla="*/ 723455 h 871092"/>
                  <a:gd name="connsiteX12" fmla="*/ 1100207 w 1390719"/>
                  <a:gd name="connsiteY12" fmla="*/ 90042 h 871092"/>
                  <a:gd name="connsiteX0" fmla="*/ 1128782 w 1390719"/>
                  <a:gd name="connsiteY0" fmla="*/ 130523 h 871092"/>
                  <a:gd name="connsiteX1" fmla="*/ 923994 w 1390719"/>
                  <a:gd name="connsiteY1" fmla="*/ 113855 h 871092"/>
                  <a:gd name="connsiteX2" fmla="*/ 652532 w 1390719"/>
                  <a:gd name="connsiteY2" fmla="*/ 18605 h 871092"/>
                  <a:gd name="connsiteX3" fmla="*/ 509657 w 1390719"/>
                  <a:gd name="connsiteY3" fmla="*/ 4317 h 871092"/>
                  <a:gd name="connsiteX4" fmla="*/ 400119 w 1390719"/>
                  <a:gd name="connsiteY4" fmla="*/ 56705 h 871092"/>
                  <a:gd name="connsiteX5" fmla="*/ 23881 w 1390719"/>
                  <a:gd name="connsiteY5" fmla="*/ 528192 h 871092"/>
                  <a:gd name="connsiteX6" fmla="*/ 52456 w 1390719"/>
                  <a:gd name="connsiteY6" fmla="*/ 632967 h 871092"/>
                  <a:gd name="connsiteX7" fmla="*/ 166756 w 1390719"/>
                  <a:gd name="connsiteY7" fmla="*/ 666305 h 871092"/>
                  <a:gd name="connsiteX8" fmla="*/ 562044 w 1390719"/>
                  <a:gd name="connsiteY8" fmla="*/ 442467 h 871092"/>
                  <a:gd name="connsiteX9" fmla="*/ 662057 w 1390719"/>
                  <a:gd name="connsiteY9" fmla="*/ 451992 h 871092"/>
                  <a:gd name="connsiteX10" fmla="*/ 1162119 w 1390719"/>
                  <a:gd name="connsiteY10" fmla="*/ 871092 h 871092"/>
                  <a:gd name="connsiteX11" fmla="*/ 1390719 w 1390719"/>
                  <a:gd name="connsiteY11" fmla="*/ 723455 h 871092"/>
                  <a:gd name="connsiteX12" fmla="*/ 1128782 w 1390719"/>
                  <a:gd name="connsiteY12" fmla="*/ 130523 h 871092"/>
                  <a:gd name="connsiteX0" fmla="*/ 1128782 w 1390719"/>
                  <a:gd name="connsiteY0" fmla="*/ 135315 h 875884"/>
                  <a:gd name="connsiteX1" fmla="*/ 923994 w 1390719"/>
                  <a:gd name="connsiteY1" fmla="*/ 118647 h 875884"/>
                  <a:gd name="connsiteX2" fmla="*/ 652532 w 1390719"/>
                  <a:gd name="connsiteY2" fmla="*/ 23397 h 875884"/>
                  <a:gd name="connsiteX3" fmla="*/ 535851 w 1390719"/>
                  <a:gd name="connsiteY3" fmla="*/ 1966 h 875884"/>
                  <a:gd name="connsiteX4" fmla="*/ 400119 w 1390719"/>
                  <a:gd name="connsiteY4" fmla="*/ 61497 h 875884"/>
                  <a:gd name="connsiteX5" fmla="*/ 23881 w 1390719"/>
                  <a:gd name="connsiteY5" fmla="*/ 532984 h 875884"/>
                  <a:gd name="connsiteX6" fmla="*/ 52456 w 1390719"/>
                  <a:gd name="connsiteY6" fmla="*/ 637759 h 875884"/>
                  <a:gd name="connsiteX7" fmla="*/ 166756 w 1390719"/>
                  <a:gd name="connsiteY7" fmla="*/ 671097 h 875884"/>
                  <a:gd name="connsiteX8" fmla="*/ 562044 w 1390719"/>
                  <a:gd name="connsiteY8" fmla="*/ 447259 h 875884"/>
                  <a:gd name="connsiteX9" fmla="*/ 662057 w 1390719"/>
                  <a:gd name="connsiteY9" fmla="*/ 456784 h 875884"/>
                  <a:gd name="connsiteX10" fmla="*/ 1162119 w 1390719"/>
                  <a:gd name="connsiteY10" fmla="*/ 875884 h 875884"/>
                  <a:gd name="connsiteX11" fmla="*/ 1390719 w 1390719"/>
                  <a:gd name="connsiteY11" fmla="*/ 728247 h 875884"/>
                  <a:gd name="connsiteX12" fmla="*/ 1128782 w 1390719"/>
                  <a:gd name="connsiteY12" fmla="*/ 135315 h 875884"/>
                  <a:gd name="connsiteX0" fmla="*/ 1128782 w 1390719"/>
                  <a:gd name="connsiteY0" fmla="*/ 135315 h 875884"/>
                  <a:gd name="connsiteX1" fmla="*/ 923994 w 1390719"/>
                  <a:gd name="connsiteY1" fmla="*/ 118647 h 875884"/>
                  <a:gd name="connsiteX2" fmla="*/ 652532 w 1390719"/>
                  <a:gd name="connsiteY2" fmla="*/ 23397 h 875884"/>
                  <a:gd name="connsiteX3" fmla="*/ 535851 w 1390719"/>
                  <a:gd name="connsiteY3" fmla="*/ 1966 h 875884"/>
                  <a:gd name="connsiteX4" fmla="*/ 359637 w 1390719"/>
                  <a:gd name="connsiteY4" fmla="*/ 111504 h 875884"/>
                  <a:gd name="connsiteX5" fmla="*/ 23881 w 1390719"/>
                  <a:gd name="connsiteY5" fmla="*/ 532984 h 875884"/>
                  <a:gd name="connsiteX6" fmla="*/ 52456 w 1390719"/>
                  <a:gd name="connsiteY6" fmla="*/ 637759 h 875884"/>
                  <a:gd name="connsiteX7" fmla="*/ 166756 w 1390719"/>
                  <a:gd name="connsiteY7" fmla="*/ 671097 h 875884"/>
                  <a:gd name="connsiteX8" fmla="*/ 562044 w 1390719"/>
                  <a:gd name="connsiteY8" fmla="*/ 447259 h 875884"/>
                  <a:gd name="connsiteX9" fmla="*/ 662057 w 1390719"/>
                  <a:gd name="connsiteY9" fmla="*/ 456784 h 875884"/>
                  <a:gd name="connsiteX10" fmla="*/ 1162119 w 1390719"/>
                  <a:gd name="connsiteY10" fmla="*/ 875884 h 875884"/>
                  <a:gd name="connsiteX11" fmla="*/ 1390719 w 1390719"/>
                  <a:gd name="connsiteY11" fmla="*/ 728247 h 875884"/>
                  <a:gd name="connsiteX12" fmla="*/ 1128782 w 1390719"/>
                  <a:gd name="connsiteY12" fmla="*/ 135315 h 875884"/>
                  <a:gd name="connsiteX0" fmla="*/ 1128782 w 1390719"/>
                  <a:gd name="connsiteY0" fmla="*/ 135315 h 875884"/>
                  <a:gd name="connsiteX1" fmla="*/ 923994 w 1390719"/>
                  <a:gd name="connsiteY1" fmla="*/ 118647 h 875884"/>
                  <a:gd name="connsiteX2" fmla="*/ 652532 w 1390719"/>
                  <a:gd name="connsiteY2" fmla="*/ 23397 h 875884"/>
                  <a:gd name="connsiteX3" fmla="*/ 535851 w 1390719"/>
                  <a:gd name="connsiteY3" fmla="*/ 1966 h 875884"/>
                  <a:gd name="connsiteX4" fmla="*/ 359637 w 1390719"/>
                  <a:gd name="connsiteY4" fmla="*/ 111504 h 875884"/>
                  <a:gd name="connsiteX5" fmla="*/ 23881 w 1390719"/>
                  <a:gd name="connsiteY5" fmla="*/ 532984 h 875884"/>
                  <a:gd name="connsiteX6" fmla="*/ 52456 w 1390719"/>
                  <a:gd name="connsiteY6" fmla="*/ 637759 h 875884"/>
                  <a:gd name="connsiteX7" fmla="*/ 226287 w 1390719"/>
                  <a:gd name="connsiteY7" fmla="*/ 647285 h 875884"/>
                  <a:gd name="connsiteX8" fmla="*/ 562044 w 1390719"/>
                  <a:gd name="connsiteY8" fmla="*/ 447259 h 875884"/>
                  <a:gd name="connsiteX9" fmla="*/ 662057 w 1390719"/>
                  <a:gd name="connsiteY9" fmla="*/ 456784 h 875884"/>
                  <a:gd name="connsiteX10" fmla="*/ 1162119 w 1390719"/>
                  <a:gd name="connsiteY10" fmla="*/ 875884 h 875884"/>
                  <a:gd name="connsiteX11" fmla="*/ 1390719 w 1390719"/>
                  <a:gd name="connsiteY11" fmla="*/ 728247 h 875884"/>
                  <a:gd name="connsiteX12" fmla="*/ 1128782 w 1390719"/>
                  <a:gd name="connsiteY12" fmla="*/ 135315 h 875884"/>
                  <a:gd name="connsiteX0" fmla="*/ 1123517 w 1385454"/>
                  <a:gd name="connsiteY0" fmla="*/ 135315 h 875884"/>
                  <a:gd name="connsiteX1" fmla="*/ 918729 w 1385454"/>
                  <a:gd name="connsiteY1" fmla="*/ 118647 h 875884"/>
                  <a:gd name="connsiteX2" fmla="*/ 647267 w 1385454"/>
                  <a:gd name="connsiteY2" fmla="*/ 23397 h 875884"/>
                  <a:gd name="connsiteX3" fmla="*/ 530586 w 1385454"/>
                  <a:gd name="connsiteY3" fmla="*/ 1966 h 875884"/>
                  <a:gd name="connsiteX4" fmla="*/ 354372 w 1385454"/>
                  <a:gd name="connsiteY4" fmla="*/ 111504 h 875884"/>
                  <a:gd name="connsiteX5" fmla="*/ 18616 w 1385454"/>
                  <a:gd name="connsiteY5" fmla="*/ 532984 h 875884"/>
                  <a:gd name="connsiteX6" fmla="*/ 78147 w 1385454"/>
                  <a:gd name="connsiteY6" fmla="*/ 656809 h 875884"/>
                  <a:gd name="connsiteX7" fmla="*/ 221022 w 1385454"/>
                  <a:gd name="connsiteY7" fmla="*/ 647285 h 875884"/>
                  <a:gd name="connsiteX8" fmla="*/ 556779 w 1385454"/>
                  <a:gd name="connsiteY8" fmla="*/ 447259 h 875884"/>
                  <a:gd name="connsiteX9" fmla="*/ 656792 w 1385454"/>
                  <a:gd name="connsiteY9" fmla="*/ 456784 h 875884"/>
                  <a:gd name="connsiteX10" fmla="*/ 1156854 w 1385454"/>
                  <a:gd name="connsiteY10" fmla="*/ 875884 h 875884"/>
                  <a:gd name="connsiteX11" fmla="*/ 1385454 w 1385454"/>
                  <a:gd name="connsiteY11" fmla="*/ 728247 h 875884"/>
                  <a:gd name="connsiteX12" fmla="*/ 1123517 w 1385454"/>
                  <a:gd name="connsiteY12" fmla="*/ 135315 h 875884"/>
                  <a:gd name="connsiteX0" fmla="*/ 1094132 w 1356069"/>
                  <a:gd name="connsiteY0" fmla="*/ 135315 h 875884"/>
                  <a:gd name="connsiteX1" fmla="*/ 889344 w 1356069"/>
                  <a:gd name="connsiteY1" fmla="*/ 118647 h 875884"/>
                  <a:gd name="connsiteX2" fmla="*/ 617882 w 1356069"/>
                  <a:gd name="connsiteY2" fmla="*/ 23397 h 875884"/>
                  <a:gd name="connsiteX3" fmla="*/ 501201 w 1356069"/>
                  <a:gd name="connsiteY3" fmla="*/ 1966 h 875884"/>
                  <a:gd name="connsiteX4" fmla="*/ 324987 w 1356069"/>
                  <a:gd name="connsiteY4" fmla="*/ 111504 h 875884"/>
                  <a:gd name="connsiteX5" fmla="*/ 24950 w 1356069"/>
                  <a:gd name="connsiteY5" fmla="*/ 478215 h 875884"/>
                  <a:gd name="connsiteX6" fmla="*/ 48762 w 1356069"/>
                  <a:gd name="connsiteY6" fmla="*/ 656809 h 875884"/>
                  <a:gd name="connsiteX7" fmla="*/ 191637 w 1356069"/>
                  <a:gd name="connsiteY7" fmla="*/ 647285 h 875884"/>
                  <a:gd name="connsiteX8" fmla="*/ 527394 w 1356069"/>
                  <a:gd name="connsiteY8" fmla="*/ 447259 h 875884"/>
                  <a:gd name="connsiteX9" fmla="*/ 627407 w 1356069"/>
                  <a:gd name="connsiteY9" fmla="*/ 456784 h 875884"/>
                  <a:gd name="connsiteX10" fmla="*/ 1127469 w 1356069"/>
                  <a:gd name="connsiteY10" fmla="*/ 875884 h 875884"/>
                  <a:gd name="connsiteX11" fmla="*/ 1356069 w 1356069"/>
                  <a:gd name="connsiteY11" fmla="*/ 728247 h 875884"/>
                  <a:gd name="connsiteX12" fmla="*/ 1094132 w 1356069"/>
                  <a:gd name="connsiteY12" fmla="*/ 135315 h 875884"/>
                  <a:gd name="connsiteX0" fmla="*/ 1094132 w 1356069"/>
                  <a:gd name="connsiteY0" fmla="*/ 135315 h 875884"/>
                  <a:gd name="connsiteX1" fmla="*/ 889344 w 1356069"/>
                  <a:gd name="connsiteY1" fmla="*/ 118647 h 875884"/>
                  <a:gd name="connsiteX2" fmla="*/ 617882 w 1356069"/>
                  <a:gd name="connsiteY2" fmla="*/ 23397 h 875884"/>
                  <a:gd name="connsiteX3" fmla="*/ 501201 w 1356069"/>
                  <a:gd name="connsiteY3" fmla="*/ 1966 h 875884"/>
                  <a:gd name="connsiteX4" fmla="*/ 324987 w 1356069"/>
                  <a:gd name="connsiteY4" fmla="*/ 111504 h 875884"/>
                  <a:gd name="connsiteX5" fmla="*/ 24950 w 1356069"/>
                  <a:gd name="connsiteY5" fmla="*/ 478215 h 875884"/>
                  <a:gd name="connsiteX6" fmla="*/ 48762 w 1356069"/>
                  <a:gd name="connsiteY6" fmla="*/ 656809 h 875884"/>
                  <a:gd name="connsiteX7" fmla="*/ 227355 w 1356069"/>
                  <a:gd name="connsiteY7" fmla="*/ 630616 h 875884"/>
                  <a:gd name="connsiteX8" fmla="*/ 527394 w 1356069"/>
                  <a:gd name="connsiteY8" fmla="*/ 447259 h 875884"/>
                  <a:gd name="connsiteX9" fmla="*/ 627407 w 1356069"/>
                  <a:gd name="connsiteY9" fmla="*/ 456784 h 875884"/>
                  <a:gd name="connsiteX10" fmla="*/ 1127469 w 1356069"/>
                  <a:gd name="connsiteY10" fmla="*/ 875884 h 875884"/>
                  <a:gd name="connsiteX11" fmla="*/ 1356069 w 1356069"/>
                  <a:gd name="connsiteY11" fmla="*/ 728247 h 875884"/>
                  <a:gd name="connsiteX12" fmla="*/ 1094132 w 1356069"/>
                  <a:gd name="connsiteY12" fmla="*/ 135315 h 875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6069" h="875884">
                    <a:moveTo>
                      <a:pt x="1094132" y="135315"/>
                    </a:moveTo>
                    <a:cubicBezTo>
                      <a:pt x="1016345" y="33715"/>
                      <a:pt x="963956" y="130553"/>
                      <a:pt x="889344" y="118647"/>
                    </a:cubicBezTo>
                    <a:cubicBezTo>
                      <a:pt x="814732" y="106741"/>
                      <a:pt x="686938" y="41653"/>
                      <a:pt x="617882" y="23397"/>
                    </a:cubicBezTo>
                    <a:cubicBezTo>
                      <a:pt x="548826" y="5141"/>
                      <a:pt x="543270" y="-4384"/>
                      <a:pt x="501201" y="1966"/>
                    </a:cubicBezTo>
                    <a:cubicBezTo>
                      <a:pt x="459132" y="8316"/>
                      <a:pt x="405950" y="24192"/>
                      <a:pt x="324987" y="111504"/>
                    </a:cubicBezTo>
                    <a:cubicBezTo>
                      <a:pt x="244024" y="198816"/>
                      <a:pt x="82894" y="382171"/>
                      <a:pt x="24950" y="478215"/>
                    </a:cubicBezTo>
                    <a:cubicBezTo>
                      <a:pt x="-32994" y="574259"/>
                      <a:pt x="24950" y="633790"/>
                      <a:pt x="48762" y="656809"/>
                    </a:cubicBezTo>
                    <a:cubicBezTo>
                      <a:pt x="72574" y="679828"/>
                      <a:pt x="142424" y="662366"/>
                      <a:pt x="227355" y="630616"/>
                    </a:cubicBezTo>
                    <a:cubicBezTo>
                      <a:pt x="312286" y="598866"/>
                      <a:pt x="444844" y="482978"/>
                      <a:pt x="527394" y="447259"/>
                    </a:cubicBezTo>
                    <a:lnTo>
                      <a:pt x="627407" y="456784"/>
                    </a:lnTo>
                    <a:cubicBezTo>
                      <a:pt x="727419" y="528221"/>
                      <a:pt x="1006025" y="830640"/>
                      <a:pt x="1127469" y="875884"/>
                    </a:cubicBezTo>
                    <a:lnTo>
                      <a:pt x="1356069" y="728247"/>
                    </a:lnTo>
                    <a:lnTo>
                      <a:pt x="1094132" y="135315"/>
                    </a:lnTo>
                    <a:close/>
                  </a:path>
                </a:pathLst>
              </a:custGeom>
              <a:solidFill>
                <a:srgbClr val="5A6B7D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Rounded Rectangle 91"/>
              <p:cNvSpPr/>
              <p:nvPr/>
            </p:nvSpPr>
            <p:spPr bwMode="gray">
              <a:xfrm rot="2128182">
                <a:off x="-837359" y="1769027"/>
                <a:ext cx="85309" cy="113339"/>
              </a:xfrm>
              <a:prstGeom prst="roundRect">
                <a:avLst>
                  <a:gd name="adj" fmla="val 50000"/>
                </a:avLst>
              </a:prstGeom>
              <a:solidFill>
                <a:srgbClr val="5A6B7D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Rounded Rectangle 92"/>
              <p:cNvSpPr/>
              <p:nvPr/>
            </p:nvSpPr>
            <p:spPr bwMode="gray">
              <a:xfrm rot="2128182">
                <a:off x="-750208" y="1822536"/>
                <a:ext cx="86605" cy="135147"/>
              </a:xfrm>
              <a:prstGeom prst="roundRect">
                <a:avLst>
                  <a:gd name="adj" fmla="val 50000"/>
                </a:avLst>
              </a:prstGeom>
              <a:solidFill>
                <a:srgbClr val="5A6B7D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Rounded Rectangle 93"/>
              <p:cNvSpPr/>
              <p:nvPr/>
            </p:nvSpPr>
            <p:spPr bwMode="gray">
              <a:xfrm rot="2128182">
                <a:off x="-667041" y="1897854"/>
                <a:ext cx="86605" cy="125358"/>
              </a:xfrm>
              <a:prstGeom prst="roundRect">
                <a:avLst>
                  <a:gd name="adj" fmla="val 50000"/>
                </a:avLst>
              </a:prstGeom>
              <a:solidFill>
                <a:srgbClr val="5A6B7D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Rounded Rectangle 94"/>
              <p:cNvSpPr/>
              <p:nvPr/>
            </p:nvSpPr>
            <p:spPr bwMode="gray">
              <a:xfrm rot="2128182">
                <a:off x="-573317" y="1963379"/>
                <a:ext cx="86605" cy="106917"/>
              </a:xfrm>
              <a:prstGeom prst="roundRect">
                <a:avLst>
                  <a:gd name="adj" fmla="val 50000"/>
                </a:avLst>
              </a:prstGeom>
              <a:solidFill>
                <a:srgbClr val="5A6B7D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Freeform 95"/>
              <p:cNvSpPr/>
              <p:nvPr/>
            </p:nvSpPr>
            <p:spPr bwMode="gray">
              <a:xfrm>
                <a:off x="-466110" y="1817193"/>
                <a:ext cx="377573" cy="217336"/>
              </a:xfrm>
              <a:custGeom>
                <a:avLst/>
                <a:gdLst>
                  <a:gd name="connsiteX0" fmla="*/ 0 w 758825"/>
                  <a:gd name="connsiteY0" fmla="*/ 485775 h 485775"/>
                  <a:gd name="connsiteX1" fmla="*/ 139700 w 758825"/>
                  <a:gd name="connsiteY1" fmla="*/ 476250 h 485775"/>
                  <a:gd name="connsiteX2" fmla="*/ 158750 w 758825"/>
                  <a:gd name="connsiteY2" fmla="*/ 368300 h 485775"/>
                  <a:gd name="connsiteX3" fmla="*/ 314325 w 758825"/>
                  <a:gd name="connsiteY3" fmla="*/ 393700 h 485775"/>
                  <a:gd name="connsiteX4" fmla="*/ 371475 w 758825"/>
                  <a:gd name="connsiteY4" fmla="*/ 333375 h 485775"/>
                  <a:gd name="connsiteX5" fmla="*/ 342900 w 758825"/>
                  <a:gd name="connsiteY5" fmla="*/ 254000 h 485775"/>
                  <a:gd name="connsiteX6" fmla="*/ 501650 w 758825"/>
                  <a:gd name="connsiteY6" fmla="*/ 279400 h 485775"/>
                  <a:gd name="connsiteX7" fmla="*/ 558800 w 758825"/>
                  <a:gd name="connsiteY7" fmla="*/ 203200 h 485775"/>
                  <a:gd name="connsiteX8" fmla="*/ 552450 w 758825"/>
                  <a:gd name="connsiteY8" fmla="*/ 133350 h 485775"/>
                  <a:gd name="connsiteX9" fmla="*/ 692150 w 758825"/>
                  <a:gd name="connsiteY9" fmla="*/ 161925 h 485775"/>
                  <a:gd name="connsiteX10" fmla="*/ 758825 w 758825"/>
                  <a:gd name="connsiteY10" fmla="*/ 98425 h 485775"/>
                  <a:gd name="connsiteX11" fmla="*/ 755650 w 758825"/>
                  <a:gd name="connsiteY11" fmla="*/ 0 h 48577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8825" h="487235">
                    <a:moveTo>
                      <a:pt x="0" y="485775"/>
                    </a:moveTo>
                    <a:cubicBezTo>
                      <a:pt x="46567" y="482600"/>
                      <a:pt x="113242" y="495829"/>
                      <a:pt x="139700" y="476250"/>
                    </a:cubicBezTo>
                    <a:cubicBezTo>
                      <a:pt x="166158" y="456671"/>
                      <a:pt x="129646" y="382058"/>
                      <a:pt x="158750" y="368300"/>
                    </a:cubicBezTo>
                    <a:cubicBezTo>
                      <a:pt x="187854" y="354542"/>
                      <a:pt x="278871" y="399521"/>
                      <a:pt x="314325" y="393700"/>
                    </a:cubicBezTo>
                    <a:cubicBezTo>
                      <a:pt x="349779" y="387879"/>
                      <a:pt x="366713" y="356658"/>
                      <a:pt x="371475" y="333375"/>
                    </a:cubicBezTo>
                    <a:lnTo>
                      <a:pt x="342900" y="254000"/>
                    </a:lnTo>
                    <a:cubicBezTo>
                      <a:pt x="364596" y="245004"/>
                      <a:pt x="465667" y="287867"/>
                      <a:pt x="501650" y="279400"/>
                    </a:cubicBezTo>
                    <a:cubicBezTo>
                      <a:pt x="537633" y="270933"/>
                      <a:pt x="550333" y="227542"/>
                      <a:pt x="558800" y="203200"/>
                    </a:cubicBezTo>
                    <a:lnTo>
                      <a:pt x="552450" y="133350"/>
                    </a:lnTo>
                    <a:cubicBezTo>
                      <a:pt x="574675" y="126471"/>
                      <a:pt x="657754" y="167746"/>
                      <a:pt x="692150" y="161925"/>
                    </a:cubicBezTo>
                    <a:cubicBezTo>
                      <a:pt x="726546" y="156104"/>
                      <a:pt x="748242" y="125412"/>
                      <a:pt x="758825" y="98425"/>
                    </a:cubicBezTo>
                    <a:lnTo>
                      <a:pt x="755650" y="0"/>
                    </a:lnTo>
                  </a:path>
                </a:pathLst>
              </a:custGeom>
              <a:solidFill>
                <a:srgbClr val="5A6B7D"/>
              </a:solidFill>
              <a:ln w="12700">
                <a:solidFill>
                  <a:srgbClr val="6F7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97" name="Rectangle 96"/>
              <p:cNvSpPr/>
              <p:nvPr/>
            </p:nvSpPr>
            <p:spPr bwMode="gray">
              <a:xfrm rot="1430153">
                <a:off x="-959617" y="1395037"/>
                <a:ext cx="102372" cy="367438"/>
              </a:xfrm>
              <a:prstGeom prst="rect">
                <a:avLst/>
              </a:prstGeom>
              <a:solidFill>
                <a:srgbClr val="5A6B7D"/>
              </a:solidFill>
              <a:ln w="12700">
                <a:solidFill>
                  <a:srgbClr val="6F7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98" name="Group 97"/>
          <p:cNvGrpSpPr/>
          <p:nvPr/>
        </p:nvGrpSpPr>
        <p:grpSpPr>
          <a:xfrm>
            <a:off x="6382342" y="1118760"/>
            <a:ext cx="302609" cy="223245"/>
            <a:chOff x="657866" y="5459216"/>
            <a:chExt cx="705246" cy="520287"/>
          </a:xfrm>
          <a:solidFill>
            <a:srgbClr val="5A6B7D"/>
          </a:solidFill>
        </p:grpSpPr>
        <p:sp>
          <p:nvSpPr>
            <p:cNvPr id="99" name="Oval 344"/>
            <p:cNvSpPr/>
            <p:nvPr>
              <p:custDataLst>
                <p:tags r:id="rId16"/>
              </p:custDataLst>
            </p:nvPr>
          </p:nvSpPr>
          <p:spPr>
            <a:xfrm>
              <a:off x="657866" y="5459216"/>
              <a:ext cx="468530" cy="468530"/>
            </a:xfrm>
            <a:custGeom>
              <a:avLst/>
              <a:gdLst/>
              <a:ahLst/>
              <a:cxnLst/>
              <a:rect l="l" t="t" r="r" b="b"/>
              <a:pathLst>
                <a:path w="650792" h="650792">
                  <a:moveTo>
                    <a:pt x="325397" y="170449"/>
                  </a:moveTo>
                  <a:cubicBezTo>
                    <a:pt x="239822" y="170449"/>
                    <a:pt x="170449" y="239821"/>
                    <a:pt x="170449" y="325396"/>
                  </a:cubicBezTo>
                  <a:cubicBezTo>
                    <a:pt x="170449" y="410971"/>
                    <a:pt x="239822" y="480343"/>
                    <a:pt x="325397" y="480343"/>
                  </a:cubicBezTo>
                  <a:cubicBezTo>
                    <a:pt x="410972" y="480343"/>
                    <a:pt x="480345" y="410971"/>
                    <a:pt x="480345" y="325396"/>
                  </a:cubicBezTo>
                  <a:cubicBezTo>
                    <a:pt x="480345" y="239821"/>
                    <a:pt x="410972" y="170449"/>
                    <a:pt x="325397" y="170449"/>
                  </a:cubicBezTo>
                  <a:close/>
                  <a:moveTo>
                    <a:pt x="272937" y="0"/>
                  </a:moveTo>
                  <a:lnTo>
                    <a:pt x="378078" y="0"/>
                  </a:lnTo>
                  <a:cubicBezTo>
                    <a:pt x="384249" y="0"/>
                    <a:pt x="389252" y="5003"/>
                    <a:pt x="389252" y="11174"/>
                  </a:cubicBezTo>
                  <a:lnTo>
                    <a:pt x="389252" y="55867"/>
                  </a:lnTo>
                  <a:lnTo>
                    <a:pt x="386937" y="61456"/>
                  </a:lnTo>
                  <a:cubicBezTo>
                    <a:pt x="417604" y="68418"/>
                    <a:pt x="446274" y="80601"/>
                    <a:pt x="470987" y="98534"/>
                  </a:cubicBezTo>
                  <a:cubicBezTo>
                    <a:pt x="467441" y="95635"/>
                    <a:pt x="468512" y="92289"/>
                    <a:pt x="470987" y="89814"/>
                  </a:cubicBezTo>
                  <a:lnTo>
                    <a:pt x="502590" y="58212"/>
                  </a:lnTo>
                  <a:cubicBezTo>
                    <a:pt x="506953" y="53848"/>
                    <a:pt x="514029" y="53848"/>
                    <a:pt x="518392" y="58212"/>
                  </a:cubicBezTo>
                  <a:lnTo>
                    <a:pt x="592737" y="132557"/>
                  </a:lnTo>
                  <a:cubicBezTo>
                    <a:pt x="597101" y="136920"/>
                    <a:pt x="597101" y="143996"/>
                    <a:pt x="592737" y="148359"/>
                  </a:cubicBezTo>
                  <a:lnTo>
                    <a:pt x="561135" y="179962"/>
                  </a:lnTo>
                  <a:lnTo>
                    <a:pt x="552299" y="179962"/>
                  </a:lnTo>
                  <a:cubicBezTo>
                    <a:pt x="570182" y="204688"/>
                    <a:pt x="582288" y="233364"/>
                    <a:pt x="589132" y="264051"/>
                  </a:cubicBezTo>
                  <a:cubicBezTo>
                    <a:pt x="590533" y="262332"/>
                    <a:pt x="592649" y="261652"/>
                    <a:pt x="594925" y="261652"/>
                  </a:cubicBezTo>
                  <a:lnTo>
                    <a:pt x="639618" y="261652"/>
                  </a:lnTo>
                  <a:cubicBezTo>
                    <a:pt x="645789" y="261652"/>
                    <a:pt x="650792" y="266655"/>
                    <a:pt x="650792" y="272826"/>
                  </a:cubicBezTo>
                  <a:lnTo>
                    <a:pt x="650792" y="377966"/>
                  </a:lnTo>
                  <a:cubicBezTo>
                    <a:pt x="650792" y="384137"/>
                    <a:pt x="645789" y="389140"/>
                    <a:pt x="639618" y="389140"/>
                  </a:cubicBezTo>
                  <a:lnTo>
                    <a:pt x="594925" y="389140"/>
                  </a:lnTo>
                  <a:lnTo>
                    <a:pt x="589132" y="386740"/>
                  </a:lnTo>
                  <a:cubicBezTo>
                    <a:pt x="582288" y="417426"/>
                    <a:pt x="570184" y="446101"/>
                    <a:pt x="552304" y="470828"/>
                  </a:cubicBezTo>
                  <a:lnTo>
                    <a:pt x="561136" y="470828"/>
                  </a:lnTo>
                  <a:lnTo>
                    <a:pt x="592738" y="502431"/>
                  </a:lnTo>
                  <a:cubicBezTo>
                    <a:pt x="597102" y="506794"/>
                    <a:pt x="597102" y="513870"/>
                    <a:pt x="592738" y="518233"/>
                  </a:cubicBezTo>
                  <a:lnTo>
                    <a:pt x="518392" y="592579"/>
                  </a:lnTo>
                  <a:cubicBezTo>
                    <a:pt x="514029" y="596943"/>
                    <a:pt x="506953" y="596943"/>
                    <a:pt x="502590" y="592579"/>
                  </a:cubicBezTo>
                  <a:lnTo>
                    <a:pt x="470987" y="560976"/>
                  </a:lnTo>
                  <a:cubicBezTo>
                    <a:pt x="468510" y="558499"/>
                    <a:pt x="467439" y="555149"/>
                    <a:pt x="470987" y="552249"/>
                  </a:cubicBezTo>
                  <a:cubicBezTo>
                    <a:pt x="446224" y="570234"/>
                    <a:pt x="417484" y="582440"/>
                    <a:pt x="386740" y="589398"/>
                  </a:cubicBezTo>
                  <a:cubicBezTo>
                    <a:pt x="388412" y="590734"/>
                    <a:pt x="389029" y="592758"/>
                    <a:pt x="389029" y="594925"/>
                  </a:cubicBezTo>
                  <a:lnTo>
                    <a:pt x="389029" y="639618"/>
                  </a:lnTo>
                  <a:cubicBezTo>
                    <a:pt x="389029" y="645789"/>
                    <a:pt x="384026" y="650792"/>
                    <a:pt x="377855" y="650792"/>
                  </a:cubicBezTo>
                  <a:lnTo>
                    <a:pt x="272714" y="650792"/>
                  </a:lnTo>
                  <a:cubicBezTo>
                    <a:pt x="266543" y="650792"/>
                    <a:pt x="261540" y="645789"/>
                    <a:pt x="261540" y="639618"/>
                  </a:cubicBezTo>
                  <a:lnTo>
                    <a:pt x="261540" y="594925"/>
                  </a:lnTo>
                  <a:lnTo>
                    <a:pt x="263855" y="589337"/>
                  </a:lnTo>
                  <a:cubicBezTo>
                    <a:pt x="233188" y="582376"/>
                    <a:pt x="204519" y="570192"/>
                    <a:pt x="179805" y="552259"/>
                  </a:cubicBezTo>
                  <a:cubicBezTo>
                    <a:pt x="183350" y="555159"/>
                    <a:pt x="182279" y="558503"/>
                    <a:pt x="179805" y="560976"/>
                  </a:cubicBezTo>
                  <a:lnTo>
                    <a:pt x="148203" y="592579"/>
                  </a:lnTo>
                  <a:cubicBezTo>
                    <a:pt x="143839" y="596943"/>
                    <a:pt x="136764" y="596943"/>
                    <a:pt x="132400" y="592579"/>
                  </a:cubicBezTo>
                  <a:lnTo>
                    <a:pt x="58055" y="518234"/>
                  </a:lnTo>
                  <a:cubicBezTo>
                    <a:pt x="53691" y="513870"/>
                    <a:pt x="53691" y="506795"/>
                    <a:pt x="58055" y="502431"/>
                  </a:cubicBezTo>
                  <a:lnTo>
                    <a:pt x="89658" y="470829"/>
                  </a:lnTo>
                  <a:lnTo>
                    <a:pt x="98490" y="470829"/>
                  </a:lnTo>
                  <a:cubicBezTo>
                    <a:pt x="80608" y="446104"/>
                    <a:pt x="68502" y="417428"/>
                    <a:pt x="61658" y="386741"/>
                  </a:cubicBezTo>
                  <a:cubicBezTo>
                    <a:pt x="60258" y="388460"/>
                    <a:pt x="58142" y="389140"/>
                    <a:pt x="55868" y="389140"/>
                  </a:cubicBezTo>
                  <a:lnTo>
                    <a:pt x="11174" y="389140"/>
                  </a:lnTo>
                  <a:cubicBezTo>
                    <a:pt x="5003" y="389140"/>
                    <a:pt x="0" y="384137"/>
                    <a:pt x="0" y="377966"/>
                  </a:cubicBezTo>
                  <a:lnTo>
                    <a:pt x="0" y="272826"/>
                  </a:lnTo>
                  <a:cubicBezTo>
                    <a:pt x="0" y="266655"/>
                    <a:pt x="5003" y="261652"/>
                    <a:pt x="11174" y="261652"/>
                  </a:cubicBezTo>
                  <a:lnTo>
                    <a:pt x="55868" y="261652"/>
                  </a:lnTo>
                  <a:lnTo>
                    <a:pt x="61658" y="264050"/>
                  </a:lnTo>
                  <a:cubicBezTo>
                    <a:pt x="68502" y="233365"/>
                    <a:pt x="80607" y="204689"/>
                    <a:pt x="98487" y="179962"/>
                  </a:cubicBezTo>
                  <a:lnTo>
                    <a:pt x="89658" y="179962"/>
                  </a:lnTo>
                  <a:lnTo>
                    <a:pt x="58055" y="148359"/>
                  </a:lnTo>
                  <a:cubicBezTo>
                    <a:pt x="53691" y="143996"/>
                    <a:pt x="53691" y="136920"/>
                    <a:pt x="58055" y="132557"/>
                  </a:cubicBezTo>
                  <a:lnTo>
                    <a:pt x="132401" y="58211"/>
                  </a:lnTo>
                  <a:cubicBezTo>
                    <a:pt x="136765" y="53847"/>
                    <a:pt x="143840" y="53847"/>
                    <a:pt x="148204" y="58211"/>
                  </a:cubicBezTo>
                  <a:lnTo>
                    <a:pt x="179806" y="89814"/>
                  </a:lnTo>
                  <a:cubicBezTo>
                    <a:pt x="182283" y="92291"/>
                    <a:pt x="183354" y="95641"/>
                    <a:pt x="179806" y="98541"/>
                  </a:cubicBezTo>
                  <a:cubicBezTo>
                    <a:pt x="204569" y="80557"/>
                    <a:pt x="233309" y="68352"/>
                    <a:pt x="264052" y="61394"/>
                  </a:cubicBezTo>
                  <a:cubicBezTo>
                    <a:pt x="262380" y="60058"/>
                    <a:pt x="261763" y="58034"/>
                    <a:pt x="261763" y="55867"/>
                  </a:cubicBezTo>
                  <a:lnTo>
                    <a:pt x="261763" y="11174"/>
                  </a:lnTo>
                  <a:cubicBezTo>
                    <a:pt x="261763" y="5003"/>
                    <a:pt x="266766" y="0"/>
                    <a:pt x="272937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00" name="Oval 354"/>
            <p:cNvSpPr/>
            <p:nvPr>
              <p:custDataLst>
                <p:tags r:id="rId17"/>
              </p:custDataLst>
            </p:nvPr>
          </p:nvSpPr>
          <p:spPr>
            <a:xfrm rot="20593352">
              <a:off x="1073716" y="5690108"/>
              <a:ext cx="289396" cy="289395"/>
            </a:xfrm>
            <a:custGeom>
              <a:avLst/>
              <a:gdLst/>
              <a:ahLst/>
              <a:cxnLst/>
              <a:rect l="l" t="t" r="r" b="b"/>
              <a:pathLst>
                <a:path w="401974" h="401973">
                  <a:moveTo>
                    <a:pt x="238241" y="112801"/>
                  </a:moveTo>
                  <a:cubicBezTo>
                    <a:pt x="226791" y="107959"/>
                    <a:pt x="214202" y="105280"/>
                    <a:pt x="200988" y="105280"/>
                  </a:cubicBezTo>
                  <a:cubicBezTo>
                    <a:pt x="148131" y="105281"/>
                    <a:pt x="105282" y="148129"/>
                    <a:pt x="105282" y="200986"/>
                  </a:cubicBezTo>
                  <a:cubicBezTo>
                    <a:pt x="105282" y="253843"/>
                    <a:pt x="148131" y="296692"/>
                    <a:pt x="200988" y="296692"/>
                  </a:cubicBezTo>
                  <a:cubicBezTo>
                    <a:pt x="253845" y="296692"/>
                    <a:pt x="296694" y="253843"/>
                    <a:pt x="296694" y="200986"/>
                  </a:cubicBezTo>
                  <a:cubicBezTo>
                    <a:pt x="296694" y="161344"/>
                    <a:pt x="272592" y="127330"/>
                    <a:pt x="238241" y="112801"/>
                  </a:cubicBezTo>
                  <a:close/>
                  <a:moveTo>
                    <a:pt x="233527" y="0"/>
                  </a:moveTo>
                  <a:cubicBezTo>
                    <a:pt x="237339" y="0"/>
                    <a:pt x="240429" y="3090"/>
                    <a:pt x="240429" y="6902"/>
                  </a:cubicBezTo>
                  <a:lnTo>
                    <a:pt x="240429" y="34507"/>
                  </a:lnTo>
                  <a:lnTo>
                    <a:pt x="234855" y="40081"/>
                  </a:lnTo>
                  <a:cubicBezTo>
                    <a:pt x="255472" y="43480"/>
                    <a:pt x="274673" y="50834"/>
                    <a:pt x="290915" y="62548"/>
                  </a:cubicBezTo>
                  <a:cubicBezTo>
                    <a:pt x="288358" y="60646"/>
                    <a:pt x="288830" y="57560"/>
                    <a:pt x="290915" y="55475"/>
                  </a:cubicBezTo>
                  <a:lnTo>
                    <a:pt x="310435" y="35955"/>
                  </a:lnTo>
                  <a:cubicBezTo>
                    <a:pt x="313130" y="33259"/>
                    <a:pt x="317500" y="33260"/>
                    <a:pt x="320195" y="35955"/>
                  </a:cubicBezTo>
                  <a:lnTo>
                    <a:pt x="366116" y="81876"/>
                  </a:lnTo>
                  <a:cubicBezTo>
                    <a:pt x="368811" y="84571"/>
                    <a:pt x="368811" y="88941"/>
                    <a:pt x="366116" y="91636"/>
                  </a:cubicBezTo>
                  <a:lnTo>
                    <a:pt x="346596" y="111156"/>
                  </a:lnTo>
                  <a:lnTo>
                    <a:pt x="339963" y="111156"/>
                  </a:lnTo>
                  <a:cubicBezTo>
                    <a:pt x="351658" y="127157"/>
                    <a:pt x="359092" y="146082"/>
                    <a:pt x="362642" y="166438"/>
                  </a:cubicBezTo>
                  <a:cubicBezTo>
                    <a:pt x="362184" y="163331"/>
                    <a:pt x="364625" y="161613"/>
                    <a:pt x="367467" y="161613"/>
                  </a:cubicBezTo>
                  <a:lnTo>
                    <a:pt x="395072" y="161614"/>
                  </a:lnTo>
                  <a:cubicBezTo>
                    <a:pt x="398884" y="161613"/>
                    <a:pt x="401974" y="164703"/>
                    <a:pt x="401974" y="168515"/>
                  </a:cubicBezTo>
                  <a:lnTo>
                    <a:pt x="401974" y="233457"/>
                  </a:lnTo>
                  <a:cubicBezTo>
                    <a:pt x="401974" y="237268"/>
                    <a:pt x="398884" y="240358"/>
                    <a:pt x="395072" y="240359"/>
                  </a:cubicBezTo>
                  <a:lnTo>
                    <a:pt x="367467" y="240358"/>
                  </a:lnTo>
                  <a:lnTo>
                    <a:pt x="362639" y="235531"/>
                  </a:lnTo>
                  <a:cubicBezTo>
                    <a:pt x="359090" y="255888"/>
                    <a:pt x="351657" y="274814"/>
                    <a:pt x="339964" y="290815"/>
                  </a:cubicBezTo>
                  <a:lnTo>
                    <a:pt x="346596" y="290815"/>
                  </a:lnTo>
                  <a:lnTo>
                    <a:pt x="366116" y="310334"/>
                  </a:lnTo>
                  <a:cubicBezTo>
                    <a:pt x="368811" y="313030"/>
                    <a:pt x="368811" y="317400"/>
                    <a:pt x="366116" y="320095"/>
                  </a:cubicBezTo>
                  <a:lnTo>
                    <a:pt x="320195" y="366016"/>
                  </a:lnTo>
                  <a:cubicBezTo>
                    <a:pt x="317499" y="368712"/>
                    <a:pt x="313130" y="368712"/>
                    <a:pt x="310434" y="366016"/>
                  </a:cubicBezTo>
                  <a:lnTo>
                    <a:pt x="290914" y="346496"/>
                  </a:lnTo>
                  <a:cubicBezTo>
                    <a:pt x="288828" y="344410"/>
                    <a:pt x="288357" y="341320"/>
                    <a:pt x="290914" y="339417"/>
                  </a:cubicBezTo>
                  <a:cubicBezTo>
                    <a:pt x="274644" y="351160"/>
                    <a:pt x="255402" y="358523"/>
                    <a:pt x="234739" y="361914"/>
                  </a:cubicBezTo>
                  <a:cubicBezTo>
                    <a:pt x="238044" y="361490"/>
                    <a:pt x="240291" y="364215"/>
                    <a:pt x="240291" y="367466"/>
                  </a:cubicBezTo>
                  <a:lnTo>
                    <a:pt x="240292" y="395071"/>
                  </a:lnTo>
                  <a:cubicBezTo>
                    <a:pt x="240291" y="398883"/>
                    <a:pt x="237201" y="401973"/>
                    <a:pt x="233389" y="401973"/>
                  </a:cubicBezTo>
                  <a:lnTo>
                    <a:pt x="168448" y="401973"/>
                  </a:lnTo>
                  <a:cubicBezTo>
                    <a:pt x="164635" y="401973"/>
                    <a:pt x="161545" y="398883"/>
                    <a:pt x="161546" y="395071"/>
                  </a:cubicBezTo>
                  <a:lnTo>
                    <a:pt x="161545" y="367466"/>
                  </a:lnTo>
                  <a:lnTo>
                    <a:pt x="167121" y="361890"/>
                  </a:lnTo>
                  <a:cubicBezTo>
                    <a:pt x="146503" y="358492"/>
                    <a:pt x="127302" y="351138"/>
                    <a:pt x="111059" y="339423"/>
                  </a:cubicBezTo>
                  <a:cubicBezTo>
                    <a:pt x="113616" y="341325"/>
                    <a:pt x="113144" y="344412"/>
                    <a:pt x="111059" y="346497"/>
                  </a:cubicBezTo>
                  <a:lnTo>
                    <a:pt x="91539" y="366016"/>
                  </a:lnTo>
                  <a:cubicBezTo>
                    <a:pt x="88844" y="368712"/>
                    <a:pt x="84474" y="368711"/>
                    <a:pt x="81778" y="366016"/>
                  </a:cubicBezTo>
                  <a:lnTo>
                    <a:pt x="35858" y="320096"/>
                  </a:lnTo>
                  <a:cubicBezTo>
                    <a:pt x="33163" y="317400"/>
                    <a:pt x="33163" y="313030"/>
                    <a:pt x="35858" y="310335"/>
                  </a:cubicBezTo>
                  <a:lnTo>
                    <a:pt x="55378" y="290815"/>
                  </a:lnTo>
                  <a:lnTo>
                    <a:pt x="62012" y="290815"/>
                  </a:lnTo>
                  <a:cubicBezTo>
                    <a:pt x="50318" y="274815"/>
                    <a:pt x="42883" y="255889"/>
                    <a:pt x="39333" y="235532"/>
                  </a:cubicBezTo>
                  <a:cubicBezTo>
                    <a:pt x="39791" y="238640"/>
                    <a:pt x="37350" y="240358"/>
                    <a:pt x="34507" y="240359"/>
                  </a:cubicBezTo>
                  <a:lnTo>
                    <a:pt x="6902" y="240358"/>
                  </a:lnTo>
                  <a:cubicBezTo>
                    <a:pt x="3090" y="240358"/>
                    <a:pt x="0" y="237268"/>
                    <a:pt x="0" y="233457"/>
                  </a:cubicBezTo>
                  <a:lnTo>
                    <a:pt x="0" y="168515"/>
                  </a:lnTo>
                  <a:cubicBezTo>
                    <a:pt x="0" y="164703"/>
                    <a:pt x="3090" y="161613"/>
                    <a:pt x="6902" y="161613"/>
                  </a:cubicBezTo>
                  <a:lnTo>
                    <a:pt x="34507" y="161614"/>
                  </a:lnTo>
                  <a:lnTo>
                    <a:pt x="39336" y="166443"/>
                  </a:lnTo>
                  <a:cubicBezTo>
                    <a:pt x="42885" y="146084"/>
                    <a:pt x="50319" y="127158"/>
                    <a:pt x="62013" y="111155"/>
                  </a:cubicBezTo>
                  <a:lnTo>
                    <a:pt x="55379" y="111156"/>
                  </a:lnTo>
                  <a:lnTo>
                    <a:pt x="35859" y="91636"/>
                  </a:lnTo>
                  <a:cubicBezTo>
                    <a:pt x="33164" y="88940"/>
                    <a:pt x="33164" y="84570"/>
                    <a:pt x="35859" y="81875"/>
                  </a:cubicBezTo>
                  <a:lnTo>
                    <a:pt x="81780" y="35954"/>
                  </a:lnTo>
                  <a:cubicBezTo>
                    <a:pt x="84476" y="33259"/>
                    <a:pt x="88846" y="33259"/>
                    <a:pt x="91541" y="35954"/>
                  </a:cubicBezTo>
                  <a:lnTo>
                    <a:pt x="111061" y="55474"/>
                  </a:lnTo>
                  <a:cubicBezTo>
                    <a:pt x="113148" y="57561"/>
                    <a:pt x="113619" y="60652"/>
                    <a:pt x="111061" y="62555"/>
                  </a:cubicBezTo>
                  <a:cubicBezTo>
                    <a:pt x="127331" y="50812"/>
                    <a:pt x="146573" y="43450"/>
                    <a:pt x="167235" y="40058"/>
                  </a:cubicBezTo>
                  <a:cubicBezTo>
                    <a:pt x="163930" y="40482"/>
                    <a:pt x="161683" y="37757"/>
                    <a:pt x="161683" y="34507"/>
                  </a:cubicBezTo>
                  <a:lnTo>
                    <a:pt x="161683" y="6902"/>
                  </a:lnTo>
                  <a:cubicBezTo>
                    <a:pt x="161683" y="3090"/>
                    <a:pt x="164773" y="0"/>
                    <a:pt x="168585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Group 13"/>
          <p:cNvGrpSpPr>
            <a:grpSpLocks/>
          </p:cNvGrpSpPr>
          <p:nvPr/>
        </p:nvGrpSpPr>
        <p:grpSpPr>
          <a:xfrm>
            <a:off x="8635689" y="1070467"/>
            <a:ext cx="271539" cy="271539"/>
            <a:chOff x="-1066134" y="776194"/>
            <a:chExt cx="1068047" cy="1005783"/>
          </a:xfrm>
        </p:grpSpPr>
        <p:grpSp>
          <p:nvGrpSpPr>
            <p:cNvPr id="102" name="Group 101"/>
            <p:cNvGrpSpPr/>
            <p:nvPr/>
          </p:nvGrpSpPr>
          <p:grpSpPr>
            <a:xfrm>
              <a:off x="-1066134" y="776194"/>
              <a:ext cx="803892" cy="778470"/>
              <a:chOff x="2184576" y="1812006"/>
              <a:chExt cx="706835" cy="684482"/>
            </a:xfrm>
            <a:solidFill>
              <a:schemeClr val="bg1"/>
            </a:solidFill>
          </p:grpSpPr>
          <p:sp>
            <p:nvSpPr>
              <p:cNvPr id="104" name="Freeform 20"/>
              <p:cNvSpPr>
                <a:spLocks noEditPoints="1"/>
              </p:cNvSpPr>
              <p:nvPr/>
            </p:nvSpPr>
            <p:spPr bwMode="auto">
              <a:xfrm>
                <a:off x="2184576" y="1812006"/>
                <a:ext cx="574551" cy="658032"/>
              </a:xfrm>
              <a:custGeom>
                <a:avLst/>
                <a:gdLst>
                  <a:gd name="T0" fmla="*/ 141 w 988"/>
                  <a:gd name="T1" fmla="*/ 670 h 1129"/>
                  <a:gd name="T2" fmla="*/ 177 w 988"/>
                  <a:gd name="T3" fmla="*/ 635 h 1129"/>
                  <a:gd name="T4" fmla="*/ 812 w 988"/>
                  <a:gd name="T5" fmla="*/ 635 h 1129"/>
                  <a:gd name="T6" fmla="*/ 847 w 988"/>
                  <a:gd name="T7" fmla="*/ 670 h 1129"/>
                  <a:gd name="T8" fmla="*/ 812 w 988"/>
                  <a:gd name="T9" fmla="*/ 706 h 1129"/>
                  <a:gd name="T10" fmla="*/ 177 w 988"/>
                  <a:gd name="T11" fmla="*/ 706 h 1129"/>
                  <a:gd name="T12" fmla="*/ 141 w 988"/>
                  <a:gd name="T13" fmla="*/ 670 h 1129"/>
                  <a:gd name="T14" fmla="*/ 141 w 988"/>
                  <a:gd name="T15" fmla="*/ 459 h 1129"/>
                  <a:gd name="T16" fmla="*/ 177 w 988"/>
                  <a:gd name="T17" fmla="*/ 423 h 1129"/>
                  <a:gd name="T18" fmla="*/ 812 w 988"/>
                  <a:gd name="T19" fmla="*/ 423 h 1129"/>
                  <a:gd name="T20" fmla="*/ 847 w 988"/>
                  <a:gd name="T21" fmla="*/ 459 h 1129"/>
                  <a:gd name="T22" fmla="*/ 812 w 988"/>
                  <a:gd name="T23" fmla="*/ 494 h 1129"/>
                  <a:gd name="T24" fmla="*/ 177 w 988"/>
                  <a:gd name="T25" fmla="*/ 494 h 1129"/>
                  <a:gd name="T26" fmla="*/ 141 w 988"/>
                  <a:gd name="T27" fmla="*/ 459 h 1129"/>
                  <a:gd name="T28" fmla="*/ 141 w 988"/>
                  <a:gd name="T29" fmla="*/ 247 h 1129"/>
                  <a:gd name="T30" fmla="*/ 177 w 988"/>
                  <a:gd name="T31" fmla="*/ 212 h 1129"/>
                  <a:gd name="T32" fmla="*/ 812 w 988"/>
                  <a:gd name="T33" fmla="*/ 212 h 1129"/>
                  <a:gd name="T34" fmla="*/ 847 w 988"/>
                  <a:gd name="T35" fmla="*/ 247 h 1129"/>
                  <a:gd name="T36" fmla="*/ 812 w 988"/>
                  <a:gd name="T37" fmla="*/ 282 h 1129"/>
                  <a:gd name="T38" fmla="*/ 177 w 988"/>
                  <a:gd name="T39" fmla="*/ 282 h 1129"/>
                  <a:gd name="T40" fmla="*/ 141 w 988"/>
                  <a:gd name="T41" fmla="*/ 247 h 1129"/>
                  <a:gd name="T42" fmla="*/ 917 w 988"/>
                  <a:gd name="T43" fmla="*/ 776 h 1129"/>
                  <a:gd name="T44" fmla="*/ 706 w 988"/>
                  <a:gd name="T45" fmla="*/ 776 h 1129"/>
                  <a:gd name="T46" fmla="*/ 635 w 988"/>
                  <a:gd name="T47" fmla="*/ 847 h 1129"/>
                  <a:gd name="T48" fmla="*/ 635 w 988"/>
                  <a:gd name="T49" fmla="*/ 1058 h 1129"/>
                  <a:gd name="T50" fmla="*/ 71 w 988"/>
                  <a:gd name="T51" fmla="*/ 1058 h 1129"/>
                  <a:gd name="T52" fmla="*/ 71 w 988"/>
                  <a:gd name="T53" fmla="*/ 71 h 1129"/>
                  <a:gd name="T54" fmla="*/ 917 w 988"/>
                  <a:gd name="T55" fmla="*/ 71 h 1129"/>
                  <a:gd name="T56" fmla="*/ 917 w 988"/>
                  <a:gd name="T57" fmla="*/ 776 h 1129"/>
                  <a:gd name="T58" fmla="*/ 706 w 988"/>
                  <a:gd name="T59" fmla="*/ 1029 h 1129"/>
                  <a:gd name="T60" fmla="*/ 706 w 988"/>
                  <a:gd name="T61" fmla="*/ 847 h 1129"/>
                  <a:gd name="T62" fmla="*/ 888 w 988"/>
                  <a:gd name="T63" fmla="*/ 847 h 1129"/>
                  <a:gd name="T64" fmla="*/ 706 w 988"/>
                  <a:gd name="T65" fmla="*/ 1029 h 1129"/>
                  <a:gd name="T66" fmla="*/ 917 w 988"/>
                  <a:gd name="T67" fmla="*/ 0 h 1129"/>
                  <a:gd name="T68" fmla="*/ 71 w 988"/>
                  <a:gd name="T69" fmla="*/ 0 h 1129"/>
                  <a:gd name="T70" fmla="*/ 0 w 988"/>
                  <a:gd name="T71" fmla="*/ 71 h 1129"/>
                  <a:gd name="T72" fmla="*/ 0 w 988"/>
                  <a:gd name="T73" fmla="*/ 1058 h 1129"/>
                  <a:gd name="T74" fmla="*/ 71 w 988"/>
                  <a:gd name="T75" fmla="*/ 1129 h 1129"/>
                  <a:gd name="T76" fmla="*/ 706 w 988"/>
                  <a:gd name="T77" fmla="*/ 1129 h 1129"/>
                  <a:gd name="T78" fmla="*/ 988 w 988"/>
                  <a:gd name="T79" fmla="*/ 847 h 1129"/>
                  <a:gd name="T80" fmla="*/ 988 w 988"/>
                  <a:gd name="T81" fmla="*/ 71 h 1129"/>
                  <a:gd name="T82" fmla="*/ 917 w 988"/>
                  <a:gd name="T83" fmla="*/ 0 h 1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88" h="1129">
                    <a:moveTo>
                      <a:pt x="141" y="670"/>
                    </a:moveTo>
                    <a:cubicBezTo>
                      <a:pt x="141" y="651"/>
                      <a:pt x="157" y="635"/>
                      <a:pt x="177" y="635"/>
                    </a:cubicBezTo>
                    <a:lnTo>
                      <a:pt x="812" y="635"/>
                    </a:lnTo>
                    <a:cubicBezTo>
                      <a:pt x="831" y="635"/>
                      <a:pt x="847" y="651"/>
                      <a:pt x="847" y="670"/>
                    </a:cubicBezTo>
                    <a:cubicBezTo>
                      <a:pt x="847" y="690"/>
                      <a:pt x="831" y="706"/>
                      <a:pt x="812" y="706"/>
                    </a:cubicBezTo>
                    <a:lnTo>
                      <a:pt x="177" y="706"/>
                    </a:lnTo>
                    <a:cubicBezTo>
                      <a:pt x="157" y="706"/>
                      <a:pt x="141" y="690"/>
                      <a:pt x="141" y="670"/>
                    </a:cubicBezTo>
                    <a:moveTo>
                      <a:pt x="141" y="459"/>
                    </a:moveTo>
                    <a:cubicBezTo>
                      <a:pt x="141" y="439"/>
                      <a:pt x="157" y="423"/>
                      <a:pt x="177" y="423"/>
                    </a:cubicBezTo>
                    <a:lnTo>
                      <a:pt x="812" y="423"/>
                    </a:lnTo>
                    <a:cubicBezTo>
                      <a:pt x="831" y="423"/>
                      <a:pt x="847" y="439"/>
                      <a:pt x="847" y="459"/>
                    </a:cubicBezTo>
                    <a:cubicBezTo>
                      <a:pt x="847" y="478"/>
                      <a:pt x="831" y="494"/>
                      <a:pt x="812" y="494"/>
                    </a:cubicBezTo>
                    <a:lnTo>
                      <a:pt x="177" y="494"/>
                    </a:lnTo>
                    <a:cubicBezTo>
                      <a:pt x="157" y="494"/>
                      <a:pt x="141" y="478"/>
                      <a:pt x="141" y="459"/>
                    </a:cubicBezTo>
                    <a:moveTo>
                      <a:pt x="141" y="247"/>
                    </a:moveTo>
                    <a:cubicBezTo>
                      <a:pt x="141" y="228"/>
                      <a:pt x="157" y="212"/>
                      <a:pt x="177" y="212"/>
                    </a:cubicBezTo>
                    <a:lnTo>
                      <a:pt x="812" y="212"/>
                    </a:lnTo>
                    <a:cubicBezTo>
                      <a:pt x="831" y="212"/>
                      <a:pt x="847" y="228"/>
                      <a:pt x="847" y="247"/>
                    </a:cubicBezTo>
                    <a:cubicBezTo>
                      <a:pt x="847" y="267"/>
                      <a:pt x="831" y="282"/>
                      <a:pt x="812" y="282"/>
                    </a:cubicBezTo>
                    <a:lnTo>
                      <a:pt x="177" y="282"/>
                    </a:lnTo>
                    <a:cubicBezTo>
                      <a:pt x="157" y="282"/>
                      <a:pt x="141" y="267"/>
                      <a:pt x="141" y="247"/>
                    </a:cubicBezTo>
                    <a:moveTo>
                      <a:pt x="917" y="776"/>
                    </a:moveTo>
                    <a:lnTo>
                      <a:pt x="706" y="776"/>
                    </a:lnTo>
                    <a:cubicBezTo>
                      <a:pt x="667" y="776"/>
                      <a:pt x="635" y="808"/>
                      <a:pt x="635" y="847"/>
                    </a:cubicBezTo>
                    <a:lnTo>
                      <a:pt x="635" y="1058"/>
                    </a:lnTo>
                    <a:lnTo>
                      <a:pt x="71" y="1058"/>
                    </a:lnTo>
                    <a:lnTo>
                      <a:pt x="71" y="71"/>
                    </a:lnTo>
                    <a:lnTo>
                      <a:pt x="917" y="71"/>
                    </a:lnTo>
                    <a:lnTo>
                      <a:pt x="917" y="776"/>
                    </a:lnTo>
                    <a:close/>
                    <a:moveTo>
                      <a:pt x="706" y="1029"/>
                    </a:moveTo>
                    <a:lnTo>
                      <a:pt x="706" y="847"/>
                    </a:lnTo>
                    <a:lnTo>
                      <a:pt x="888" y="847"/>
                    </a:lnTo>
                    <a:lnTo>
                      <a:pt x="706" y="1029"/>
                    </a:lnTo>
                    <a:close/>
                    <a:moveTo>
                      <a:pt x="917" y="0"/>
                    </a:moveTo>
                    <a:lnTo>
                      <a:pt x="71" y="0"/>
                    </a:lnTo>
                    <a:cubicBezTo>
                      <a:pt x="32" y="0"/>
                      <a:pt x="0" y="32"/>
                      <a:pt x="0" y="71"/>
                    </a:cubicBezTo>
                    <a:lnTo>
                      <a:pt x="0" y="1058"/>
                    </a:lnTo>
                    <a:cubicBezTo>
                      <a:pt x="0" y="1097"/>
                      <a:pt x="32" y="1129"/>
                      <a:pt x="71" y="1129"/>
                    </a:cubicBezTo>
                    <a:lnTo>
                      <a:pt x="706" y="1129"/>
                    </a:lnTo>
                    <a:lnTo>
                      <a:pt x="988" y="847"/>
                    </a:lnTo>
                    <a:lnTo>
                      <a:pt x="988" y="71"/>
                    </a:lnTo>
                    <a:cubicBezTo>
                      <a:pt x="988" y="32"/>
                      <a:pt x="956" y="0"/>
                      <a:pt x="917" y="0"/>
                    </a:cubicBezTo>
                  </a:path>
                </a:pathLst>
              </a:custGeom>
              <a:solidFill>
                <a:srgbClr val="6F7F8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grpSp>
            <p:nvGrpSpPr>
              <p:cNvPr id="105" name="Group 104"/>
              <p:cNvGrpSpPr/>
              <p:nvPr/>
            </p:nvGrpSpPr>
            <p:grpSpPr>
              <a:xfrm>
                <a:off x="2401213" y="2010606"/>
                <a:ext cx="490198" cy="485882"/>
                <a:chOff x="2401213" y="2010606"/>
                <a:chExt cx="490198" cy="485882"/>
              </a:xfrm>
              <a:grpFill/>
            </p:grpSpPr>
            <p:sp>
              <p:nvSpPr>
                <p:cNvPr id="106" name="Oval 105"/>
                <p:cNvSpPr/>
                <p:nvPr/>
              </p:nvSpPr>
              <p:spPr>
                <a:xfrm rot="20671348">
                  <a:off x="2405529" y="2010606"/>
                  <a:ext cx="485882" cy="485882"/>
                </a:xfrm>
                <a:prstGeom prst="ellipse">
                  <a:avLst/>
                </a:prstGeom>
                <a:solidFill>
                  <a:srgbClr val="5A6B7D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de-DE" dirty="0" smtClean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07" name="Group 106"/>
                <p:cNvGrpSpPr/>
                <p:nvPr/>
              </p:nvGrpSpPr>
              <p:grpSpPr>
                <a:xfrm>
                  <a:off x="2401213" y="2057607"/>
                  <a:ext cx="321695" cy="201325"/>
                  <a:chOff x="2238375" y="2212789"/>
                  <a:chExt cx="903345" cy="565336"/>
                </a:xfrm>
                <a:grpFill/>
              </p:grpSpPr>
              <p:sp>
                <p:nvSpPr>
                  <p:cNvPr id="108" name="Freeform 107"/>
                  <p:cNvSpPr/>
                  <p:nvPr/>
                </p:nvSpPr>
                <p:spPr>
                  <a:xfrm>
                    <a:off x="2327275" y="2212789"/>
                    <a:ext cx="806451" cy="216086"/>
                  </a:xfrm>
                  <a:custGeom>
                    <a:avLst/>
                    <a:gdLst>
                      <a:gd name="connsiteX0" fmla="*/ 0 w 806451"/>
                      <a:gd name="connsiteY0" fmla="*/ 0 h 216086"/>
                      <a:gd name="connsiteX1" fmla="*/ 698408 w 806451"/>
                      <a:gd name="connsiteY1" fmla="*/ 0 h 216086"/>
                      <a:gd name="connsiteX2" fmla="*/ 806451 w 806451"/>
                      <a:gd name="connsiteY2" fmla="*/ 108043 h 216086"/>
                      <a:gd name="connsiteX3" fmla="*/ 698408 w 806451"/>
                      <a:gd name="connsiteY3" fmla="*/ 216086 h 216086"/>
                      <a:gd name="connsiteX4" fmla="*/ 0 w 806451"/>
                      <a:gd name="connsiteY4" fmla="*/ 216086 h 216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6451" h="216086">
                        <a:moveTo>
                          <a:pt x="0" y="0"/>
                        </a:moveTo>
                        <a:lnTo>
                          <a:pt x="698408" y="0"/>
                        </a:lnTo>
                        <a:cubicBezTo>
                          <a:pt x="758079" y="0"/>
                          <a:pt x="806451" y="48372"/>
                          <a:pt x="806451" y="108043"/>
                        </a:cubicBezTo>
                        <a:cubicBezTo>
                          <a:pt x="806451" y="167714"/>
                          <a:pt x="758079" y="216086"/>
                          <a:pt x="698408" y="216086"/>
                        </a:cubicBezTo>
                        <a:lnTo>
                          <a:pt x="0" y="21608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>
                    <a:noAutofit/>
                  </a:bodyPr>
                  <a:lstStyle/>
                  <a:p>
                    <a:pPr algn="ctr"/>
                    <a:endParaRPr lang="de-DE" dirty="0" smtClean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9" name="Freeform 108"/>
                  <p:cNvSpPr/>
                  <p:nvPr/>
                </p:nvSpPr>
                <p:spPr>
                  <a:xfrm>
                    <a:off x="2238375" y="2562039"/>
                    <a:ext cx="903345" cy="216086"/>
                  </a:xfrm>
                  <a:custGeom>
                    <a:avLst/>
                    <a:gdLst>
                      <a:gd name="connsiteX0" fmla="*/ 0 w 903345"/>
                      <a:gd name="connsiteY0" fmla="*/ 0 h 216086"/>
                      <a:gd name="connsiteX1" fmla="*/ 795302 w 903345"/>
                      <a:gd name="connsiteY1" fmla="*/ 0 h 216086"/>
                      <a:gd name="connsiteX2" fmla="*/ 903345 w 903345"/>
                      <a:gd name="connsiteY2" fmla="*/ 108043 h 216086"/>
                      <a:gd name="connsiteX3" fmla="*/ 795302 w 903345"/>
                      <a:gd name="connsiteY3" fmla="*/ 216086 h 216086"/>
                      <a:gd name="connsiteX4" fmla="*/ 0 w 903345"/>
                      <a:gd name="connsiteY4" fmla="*/ 216086 h 2160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03345" h="216086">
                        <a:moveTo>
                          <a:pt x="0" y="0"/>
                        </a:moveTo>
                        <a:lnTo>
                          <a:pt x="795302" y="0"/>
                        </a:lnTo>
                        <a:cubicBezTo>
                          <a:pt x="854973" y="0"/>
                          <a:pt x="903345" y="48372"/>
                          <a:pt x="903345" y="108043"/>
                        </a:cubicBezTo>
                        <a:cubicBezTo>
                          <a:pt x="903345" y="167714"/>
                          <a:pt x="854973" y="216086"/>
                          <a:pt x="795302" y="216086"/>
                        </a:cubicBezTo>
                        <a:lnTo>
                          <a:pt x="0" y="21608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>
                    <a:noAutofit/>
                  </a:bodyPr>
                  <a:lstStyle/>
                  <a:p>
                    <a:pPr algn="ctr"/>
                    <a:endParaRPr lang="de-DE" dirty="0" smtClean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</p:grpSp>
        <p:sp>
          <p:nvSpPr>
            <p:cNvPr id="103" name="Freeform 191"/>
            <p:cNvSpPr>
              <a:spLocks noEditPoints="1"/>
            </p:cNvSpPr>
            <p:nvPr/>
          </p:nvSpPr>
          <p:spPr bwMode="gray">
            <a:xfrm rot="20671348" flipH="1">
              <a:off x="-827295" y="918138"/>
              <a:ext cx="829208" cy="863839"/>
            </a:xfrm>
            <a:custGeom>
              <a:avLst/>
              <a:gdLst>
                <a:gd name="T0" fmla="*/ 166 w 268"/>
                <a:gd name="T1" fmla="*/ 0 h 269"/>
                <a:gd name="T2" fmla="*/ 65 w 268"/>
                <a:gd name="T3" fmla="*/ 102 h 269"/>
                <a:gd name="T4" fmla="*/ 79 w 268"/>
                <a:gd name="T5" fmla="*/ 153 h 269"/>
                <a:gd name="T6" fmla="*/ 75 w 268"/>
                <a:gd name="T7" fmla="*/ 156 h 269"/>
                <a:gd name="T8" fmla="*/ 10 w 268"/>
                <a:gd name="T9" fmla="*/ 221 h 269"/>
                <a:gd name="T10" fmla="*/ 10 w 268"/>
                <a:gd name="T11" fmla="*/ 258 h 269"/>
                <a:gd name="T12" fmla="*/ 47 w 268"/>
                <a:gd name="T13" fmla="*/ 258 h 269"/>
                <a:gd name="T14" fmla="*/ 113 w 268"/>
                <a:gd name="T15" fmla="*/ 193 h 269"/>
                <a:gd name="T16" fmla="*/ 116 w 268"/>
                <a:gd name="T17" fmla="*/ 190 h 269"/>
                <a:gd name="T18" fmla="*/ 166 w 268"/>
                <a:gd name="T19" fmla="*/ 203 h 269"/>
                <a:gd name="T20" fmla="*/ 268 w 268"/>
                <a:gd name="T21" fmla="*/ 102 h 269"/>
                <a:gd name="T22" fmla="*/ 166 w 268"/>
                <a:gd name="T23" fmla="*/ 0 h 269"/>
                <a:gd name="T24" fmla="*/ 167 w 268"/>
                <a:gd name="T25" fmla="*/ 182 h 269"/>
                <a:gd name="T26" fmla="*/ 86 w 268"/>
                <a:gd name="T27" fmla="*/ 101 h 269"/>
                <a:gd name="T28" fmla="*/ 167 w 268"/>
                <a:gd name="T29" fmla="*/ 21 h 269"/>
                <a:gd name="T30" fmla="*/ 247 w 268"/>
                <a:gd name="T31" fmla="*/ 101 h 269"/>
                <a:gd name="T32" fmla="*/ 167 w 268"/>
                <a:gd name="T33" fmla="*/ 182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69">
                  <a:moveTo>
                    <a:pt x="166" y="0"/>
                  </a:moveTo>
                  <a:cubicBezTo>
                    <a:pt x="110" y="0"/>
                    <a:pt x="65" y="46"/>
                    <a:pt x="65" y="102"/>
                  </a:cubicBezTo>
                  <a:cubicBezTo>
                    <a:pt x="65" y="121"/>
                    <a:pt x="70" y="138"/>
                    <a:pt x="79" y="153"/>
                  </a:cubicBezTo>
                  <a:cubicBezTo>
                    <a:pt x="78" y="154"/>
                    <a:pt x="76" y="155"/>
                    <a:pt x="75" y="156"/>
                  </a:cubicBezTo>
                  <a:cubicBezTo>
                    <a:pt x="10" y="221"/>
                    <a:pt x="10" y="221"/>
                    <a:pt x="10" y="221"/>
                  </a:cubicBezTo>
                  <a:cubicBezTo>
                    <a:pt x="0" y="231"/>
                    <a:pt x="0" y="248"/>
                    <a:pt x="10" y="258"/>
                  </a:cubicBezTo>
                  <a:cubicBezTo>
                    <a:pt x="21" y="269"/>
                    <a:pt x="37" y="269"/>
                    <a:pt x="47" y="258"/>
                  </a:cubicBezTo>
                  <a:cubicBezTo>
                    <a:pt x="113" y="193"/>
                    <a:pt x="113" y="193"/>
                    <a:pt x="113" y="193"/>
                  </a:cubicBezTo>
                  <a:cubicBezTo>
                    <a:pt x="114" y="192"/>
                    <a:pt x="115" y="191"/>
                    <a:pt x="116" y="190"/>
                  </a:cubicBezTo>
                  <a:cubicBezTo>
                    <a:pt x="131" y="198"/>
                    <a:pt x="148" y="203"/>
                    <a:pt x="166" y="203"/>
                  </a:cubicBezTo>
                  <a:cubicBezTo>
                    <a:pt x="222" y="203"/>
                    <a:pt x="268" y="158"/>
                    <a:pt x="268" y="102"/>
                  </a:cubicBezTo>
                  <a:cubicBezTo>
                    <a:pt x="268" y="46"/>
                    <a:pt x="222" y="0"/>
                    <a:pt x="166" y="0"/>
                  </a:cubicBezTo>
                  <a:close/>
                  <a:moveTo>
                    <a:pt x="167" y="182"/>
                  </a:moveTo>
                  <a:cubicBezTo>
                    <a:pt x="122" y="182"/>
                    <a:pt x="86" y="146"/>
                    <a:pt x="86" y="101"/>
                  </a:cubicBezTo>
                  <a:cubicBezTo>
                    <a:pt x="86" y="57"/>
                    <a:pt x="122" y="21"/>
                    <a:pt x="167" y="21"/>
                  </a:cubicBezTo>
                  <a:cubicBezTo>
                    <a:pt x="211" y="21"/>
                    <a:pt x="247" y="57"/>
                    <a:pt x="247" y="101"/>
                  </a:cubicBezTo>
                  <a:cubicBezTo>
                    <a:pt x="247" y="146"/>
                    <a:pt x="211" y="182"/>
                    <a:pt x="167" y="182"/>
                  </a:cubicBezTo>
                  <a:close/>
                </a:path>
              </a:pathLst>
            </a:custGeom>
            <a:solidFill>
              <a:srgbClr val="5A6B7D"/>
            </a:solidFill>
            <a:ln w="12700">
              <a:solidFill>
                <a:schemeClr val="accent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406641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082" name="think-cell Slide" r:id="rId18" imgW="526" imgH="526" progId="TCLayout.ActiveDocument.1">
                  <p:embed/>
                </p:oleObj>
              </mc:Choice>
              <mc:Fallback>
                <p:oleObj name="think-cell Slide" r:id="rId18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58453"/>
            <a:r>
              <a:rPr lang="en-US" dirty="0" smtClean="0"/>
              <a:t>PD&amp;G </a:t>
            </a:r>
            <a:r>
              <a:rPr lang="en-US" dirty="0"/>
              <a:t>stakeholder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580754" y="544857"/>
            <a:ext cx="3997169" cy="4099147"/>
            <a:chOff x="460524" y="544857"/>
            <a:chExt cx="3997169" cy="4099147"/>
          </a:xfrm>
        </p:grpSpPr>
        <p:sp>
          <p:nvSpPr>
            <p:cNvPr id="104" name="Rectangle 3"/>
            <p:cNvSpPr>
              <a:spLocks noChangeArrowheads="1"/>
            </p:cNvSpPr>
            <p:nvPr/>
          </p:nvSpPr>
          <p:spPr bwMode="gray">
            <a:xfrm>
              <a:off x="460524" y="544857"/>
              <a:ext cx="3997169" cy="4099147"/>
            </a:xfrm>
            <a:prstGeom prst="rect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noAutofit/>
            </a:bodyPr>
            <a:lstStyle/>
            <a:p>
              <a:endParaRPr lang="en-US" sz="1400" dirty="0">
                <a:latin typeface="+mn-lt"/>
              </a:endParaRPr>
            </a:p>
          </p:txBody>
        </p:sp>
        <p:sp>
          <p:nvSpPr>
            <p:cNvPr id="44" name="TextBox 43"/>
            <p:cNvSpPr txBox="1">
              <a:spLocks/>
            </p:cNvSpPr>
            <p:nvPr/>
          </p:nvSpPr>
          <p:spPr bwMode="gray">
            <a:xfrm>
              <a:off x="575331" y="583656"/>
              <a:ext cx="3767554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r>
                <a:rPr lang="en-US" sz="1400" b="1" dirty="0"/>
                <a:t>Key stakeholders in the delivery process:</a:t>
              </a:r>
            </a:p>
          </p:txBody>
        </p:sp>
        <p:sp>
          <p:nvSpPr>
            <p:cNvPr id="14" name="TextBox 478"/>
            <p:cNvSpPr txBox="1"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908845" y="2132217"/>
              <a:ext cx="1110201" cy="1110199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  <a:effectLst/>
          </p:spPr>
          <p:txBody>
            <a:bodyPr vert="horz" wrap="square" lIns="2916" tIns="0" rIns="2916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Districts</a:t>
              </a:r>
            </a:p>
          </p:txBody>
        </p:sp>
        <p:sp>
          <p:nvSpPr>
            <p:cNvPr id="10" name="Down Arrow 9"/>
            <p:cNvSpPr>
              <a:spLocks/>
            </p:cNvSpPr>
            <p:nvPr/>
          </p:nvSpPr>
          <p:spPr bwMode="gray">
            <a:xfrm>
              <a:off x="2331207" y="1576345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58" name="Down Arrow 57"/>
            <p:cNvSpPr>
              <a:spLocks/>
            </p:cNvSpPr>
            <p:nvPr/>
          </p:nvSpPr>
          <p:spPr bwMode="gray">
            <a:xfrm rot="19937968">
              <a:off x="1878768" y="1687952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61" name="Down Arrow 60"/>
            <p:cNvSpPr>
              <a:spLocks/>
            </p:cNvSpPr>
            <p:nvPr/>
          </p:nvSpPr>
          <p:spPr bwMode="gray">
            <a:xfrm rot="18389830">
              <a:off x="1508470" y="2042410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64" name="Down Arrow 63"/>
            <p:cNvSpPr>
              <a:spLocks/>
            </p:cNvSpPr>
            <p:nvPr/>
          </p:nvSpPr>
          <p:spPr bwMode="gray">
            <a:xfrm rot="16200000">
              <a:off x="1379331" y="2477848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77" name="Down Arrow 76"/>
            <p:cNvSpPr>
              <a:spLocks/>
            </p:cNvSpPr>
            <p:nvPr/>
          </p:nvSpPr>
          <p:spPr bwMode="gray">
            <a:xfrm rot="5400000">
              <a:off x="3226679" y="2528222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75" name="Down Arrow 74"/>
            <p:cNvSpPr>
              <a:spLocks/>
            </p:cNvSpPr>
            <p:nvPr/>
          </p:nvSpPr>
          <p:spPr bwMode="gray">
            <a:xfrm rot="3737968">
              <a:off x="3115072" y="2075783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73" name="Down Arrow 72"/>
            <p:cNvSpPr>
              <a:spLocks/>
            </p:cNvSpPr>
            <p:nvPr/>
          </p:nvSpPr>
          <p:spPr bwMode="gray">
            <a:xfrm rot="2189830">
              <a:off x="2760613" y="1705486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101" name="Down Arrow 100"/>
            <p:cNvSpPr>
              <a:spLocks/>
            </p:cNvSpPr>
            <p:nvPr/>
          </p:nvSpPr>
          <p:spPr bwMode="gray">
            <a:xfrm rot="10800000">
              <a:off x="2274802" y="3435214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99" name="Down Arrow 98"/>
            <p:cNvSpPr>
              <a:spLocks/>
            </p:cNvSpPr>
            <p:nvPr/>
          </p:nvSpPr>
          <p:spPr bwMode="gray">
            <a:xfrm rot="9137968">
              <a:off x="2727240" y="3323607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97" name="Down Arrow 96"/>
            <p:cNvSpPr>
              <a:spLocks/>
            </p:cNvSpPr>
            <p:nvPr/>
          </p:nvSpPr>
          <p:spPr bwMode="gray">
            <a:xfrm rot="7589830">
              <a:off x="3097538" y="2969149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87" name="Down Arrow 86"/>
            <p:cNvSpPr>
              <a:spLocks/>
            </p:cNvSpPr>
            <p:nvPr/>
          </p:nvSpPr>
          <p:spPr bwMode="gray">
            <a:xfrm rot="14537968">
              <a:off x="1490937" y="2935776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sp>
          <p:nvSpPr>
            <p:cNvPr id="85" name="Down Arrow 84"/>
            <p:cNvSpPr>
              <a:spLocks/>
            </p:cNvSpPr>
            <p:nvPr/>
          </p:nvSpPr>
          <p:spPr bwMode="gray">
            <a:xfrm rot="12989830">
              <a:off x="1845395" y="3306074"/>
              <a:ext cx="312205" cy="418936"/>
            </a:xfrm>
            <a:prstGeom prst="downArrow">
              <a:avLst>
                <a:gd name="adj1" fmla="val 54000"/>
                <a:gd name="adj2" fmla="val 37676"/>
              </a:avLst>
            </a:pr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1400" dirty="0">
                <a:latin typeface="+mn-lt"/>
              </a:endParaRP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1395561" y="1006021"/>
              <a:ext cx="721313" cy="721311"/>
              <a:chOff x="1395563" y="1006021"/>
              <a:chExt cx="721313" cy="721311"/>
            </a:xfrm>
          </p:grpSpPr>
          <p:sp>
            <p:nvSpPr>
              <p:cNvPr id="59" name="TextBox 478"/>
              <p:cNvSpPr txBox="1"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 rot="19937968">
                <a:off x="1395563" y="1006021"/>
                <a:ext cx="721313" cy="72131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txBody>
              <a:bodyPr vert="horz" wrap="square" lIns="2916" tIns="0" rIns="2916" bIns="0" numCol="1" anchor="t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1000" b="1" dirty="0">
                    <a:solidFill>
                      <a:schemeClr val="bg1">
                        <a:lumMod val="95000"/>
                      </a:schemeClr>
                    </a:solidFill>
                  </a:rPr>
                  <a:t>MPO</a:t>
                </a:r>
              </a:p>
            </p:txBody>
          </p:sp>
          <p:pic>
            <p:nvPicPr>
              <p:cNvPr id="50" name="Picture 49"/>
              <p:cNvPicPr>
                <a:picLocks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gray">
              <a:xfrm>
                <a:off x="1670576" y="1307751"/>
                <a:ext cx="303855" cy="326180"/>
              </a:xfrm>
              <a:prstGeom prst="rect">
                <a:avLst/>
              </a:prstGeom>
            </p:spPr>
          </p:pic>
        </p:grpSp>
        <p:sp>
          <p:nvSpPr>
            <p:cNvPr id="65" name="TextBox 478"/>
            <p:cNvSpPr txBox="1">
              <a:spLocks/>
            </p:cNvSpPr>
            <p:nvPr>
              <p:custDataLst>
                <p:tags r:id="rId4"/>
              </p:custDataLst>
            </p:nvPr>
          </p:nvSpPr>
          <p:spPr bwMode="gray">
            <a:xfrm rot="16200000">
              <a:off x="575330" y="2295473"/>
              <a:ext cx="721313" cy="721311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  <a:effectLst/>
          </p:spPr>
          <p:txBody>
            <a:bodyPr vert="horz" wrap="square" lIns="2916" tIns="0" rIns="2916" bIns="0" numCol="1" anchor="t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FIN</a:t>
              </a:r>
            </a:p>
          </p:txBody>
        </p:sp>
        <p:pic>
          <p:nvPicPr>
            <p:cNvPr id="51" name="Picture 50"/>
            <p:cNvPicPr>
              <a:picLocks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83055" y="2460718"/>
              <a:ext cx="339910" cy="364884"/>
            </a:xfrm>
            <a:prstGeom prst="rect">
              <a:avLst/>
            </a:prstGeom>
          </p:spPr>
        </p:pic>
        <p:grpSp>
          <p:nvGrpSpPr>
            <p:cNvPr id="31" name="Group 30"/>
            <p:cNvGrpSpPr/>
            <p:nvPr/>
          </p:nvGrpSpPr>
          <p:grpSpPr>
            <a:xfrm>
              <a:off x="2155803" y="825711"/>
              <a:ext cx="721313" cy="721311"/>
              <a:chOff x="2126655" y="825711"/>
              <a:chExt cx="721313" cy="721311"/>
            </a:xfrm>
          </p:grpSpPr>
          <p:sp>
            <p:nvSpPr>
              <p:cNvPr id="19" name="TextBox 478"/>
              <p:cNvSpPr txBox="1"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2126655" y="825711"/>
                <a:ext cx="721313" cy="72131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txBody>
              <a:bodyPr vert="horz" wrap="square" lIns="2916" tIns="0" rIns="2916" bIns="0" numCol="1" anchor="t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1000" b="1" dirty="0">
                    <a:solidFill>
                      <a:schemeClr val="bg1">
                        <a:lumMod val="95000"/>
                      </a:schemeClr>
                    </a:solidFill>
                  </a:rPr>
                  <a:t>PEPS</a:t>
                </a:r>
              </a:p>
            </p:txBody>
          </p:sp>
          <p:pic>
            <p:nvPicPr>
              <p:cNvPr id="52" name="Picture 51"/>
              <p:cNvPicPr>
                <a:picLocks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gray">
              <a:xfrm>
                <a:off x="2325577" y="1143568"/>
                <a:ext cx="249832" cy="268188"/>
              </a:xfrm>
              <a:prstGeom prst="rect">
                <a:avLst/>
              </a:prstGeom>
            </p:spPr>
          </p:pic>
        </p:grpSp>
        <p:grpSp>
          <p:nvGrpSpPr>
            <p:cNvPr id="29" name="Group 28"/>
            <p:cNvGrpSpPr/>
            <p:nvPr/>
          </p:nvGrpSpPr>
          <p:grpSpPr>
            <a:xfrm>
              <a:off x="2912600" y="1072410"/>
              <a:ext cx="721313" cy="721311"/>
              <a:chOff x="2912602" y="1072410"/>
              <a:chExt cx="721313" cy="721311"/>
            </a:xfrm>
          </p:grpSpPr>
          <p:sp>
            <p:nvSpPr>
              <p:cNvPr id="74" name="TextBox 478"/>
              <p:cNvSpPr txBox="1"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 rot="2189830">
                <a:off x="2912602" y="1072410"/>
                <a:ext cx="721313" cy="72131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txBody>
              <a:bodyPr vert="horz" wrap="square" lIns="2916" tIns="0" rIns="2916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1000" b="1" dirty="0">
                    <a:solidFill>
                      <a:schemeClr val="bg1">
                        <a:lumMod val="95000"/>
                      </a:schemeClr>
                    </a:solidFill>
                  </a:rPr>
                  <a:t>ROW</a:t>
                </a:r>
              </a:p>
              <a:p>
                <a:pPr algn="ctr"/>
                <a:endParaRPr lang="en-US" sz="1000" b="1" dirty="0">
                  <a:solidFill>
                    <a:schemeClr val="bg1">
                      <a:lumMod val="95000"/>
                    </a:schemeClr>
                  </a:solidFill>
                </a:endParaRPr>
              </a:p>
              <a:p>
                <a:pPr algn="ctr"/>
                <a:endParaRPr lang="en-US" sz="1000" b="1" dirty="0">
                  <a:solidFill>
                    <a:schemeClr val="bg1">
                      <a:lumMod val="95000"/>
                    </a:schemeClr>
                  </a:solidFill>
                </a:endParaRPr>
              </a:p>
            </p:txBody>
          </p:sp>
          <p:pic>
            <p:nvPicPr>
              <p:cNvPr id="53" name="Picture 52"/>
              <p:cNvPicPr>
                <a:picLocks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gray">
              <a:xfrm>
                <a:off x="3085165" y="1386826"/>
                <a:ext cx="240625" cy="258304"/>
              </a:xfrm>
              <a:prstGeom prst="rect">
                <a:avLst/>
              </a:prstGeom>
            </p:spPr>
          </p:pic>
        </p:grpSp>
        <p:grpSp>
          <p:nvGrpSpPr>
            <p:cNvPr id="30" name="Group 29"/>
            <p:cNvGrpSpPr/>
            <p:nvPr/>
          </p:nvGrpSpPr>
          <p:grpSpPr>
            <a:xfrm>
              <a:off x="3441262" y="1645942"/>
              <a:ext cx="721311" cy="721313"/>
              <a:chOff x="3441264" y="1645942"/>
              <a:chExt cx="721311" cy="721313"/>
            </a:xfrm>
          </p:grpSpPr>
          <p:sp>
            <p:nvSpPr>
              <p:cNvPr id="76" name="TextBox 478"/>
              <p:cNvSpPr txBox="1"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 rot="3737968">
                <a:off x="3441263" y="1645943"/>
                <a:ext cx="721313" cy="72131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txBody>
              <a:bodyPr vert="horz" wrap="square" lIns="2916" tIns="0" rIns="2916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1000" b="1" dirty="0">
                    <a:solidFill>
                      <a:schemeClr val="bg1">
                        <a:lumMod val="95000"/>
                      </a:schemeClr>
                    </a:solidFill>
                  </a:rPr>
                  <a:t>ENV</a:t>
                </a:r>
              </a:p>
              <a:p>
                <a:pPr algn="ctr"/>
                <a:endParaRPr lang="en-US" sz="1000" b="1" dirty="0">
                  <a:solidFill>
                    <a:schemeClr val="bg1">
                      <a:lumMod val="95000"/>
                    </a:schemeClr>
                  </a:solidFill>
                </a:endParaRPr>
              </a:p>
              <a:p>
                <a:pPr algn="ctr"/>
                <a:endParaRPr lang="en-US" sz="1000" b="1" dirty="0">
                  <a:solidFill>
                    <a:schemeClr val="bg1">
                      <a:lumMod val="95000"/>
                    </a:schemeClr>
                  </a:solidFill>
                </a:endParaRPr>
              </a:p>
            </p:txBody>
          </p:sp>
          <p:pic>
            <p:nvPicPr>
              <p:cNvPr id="54" name="Picture 53"/>
              <p:cNvPicPr>
                <a:picLocks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gray">
              <a:xfrm>
                <a:off x="3562979" y="1907396"/>
                <a:ext cx="295824" cy="317558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/>
            <p:nvPr/>
          </p:nvGrpSpPr>
          <p:grpSpPr>
            <a:xfrm>
              <a:off x="822029" y="1534681"/>
              <a:ext cx="721311" cy="721313"/>
              <a:chOff x="822031" y="1534681"/>
              <a:chExt cx="721311" cy="721313"/>
            </a:xfrm>
          </p:grpSpPr>
          <p:sp>
            <p:nvSpPr>
              <p:cNvPr id="62" name="TextBox 478"/>
              <p:cNvSpPr txBox="1"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 rot="18389830">
                <a:off x="822030" y="1534682"/>
                <a:ext cx="721313" cy="72131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txBody>
              <a:bodyPr vert="horz" wrap="square" lIns="2916" tIns="0" rIns="2916" bIns="0" numCol="1" anchor="t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1000" b="1" dirty="0">
                    <a:solidFill>
                      <a:schemeClr val="bg1">
                        <a:lumMod val="95000"/>
                      </a:schemeClr>
                    </a:solidFill>
                  </a:rPr>
                  <a:t>TPP</a:t>
                </a:r>
              </a:p>
            </p:txBody>
          </p:sp>
          <p:pic>
            <p:nvPicPr>
              <p:cNvPr id="55" name="Picture 54"/>
              <p:cNvPicPr>
                <a:picLocks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gray">
              <a:xfrm>
                <a:off x="1151518" y="1848670"/>
                <a:ext cx="273153" cy="293222"/>
              </a:xfrm>
              <a:prstGeom prst="rect">
                <a:avLst/>
              </a:prstGeom>
            </p:spPr>
          </p:pic>
        </p:grpSp>
        <p:sp>
          <p:nvSpPr>
            <p:cNvPr id="115" name="TextBox 478"/>
            <p:cNvSpPr txBox="1"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374872" y="3174502"/>
              <a:ext cx="721313" cy="721311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  <a:effectLst/>
          </p:spPr>
          <p:txBody>
            <a:bodyPr vert="horz" wrap="square" lIns="2916" tIns="0" rIns="2916" bIns="0" numCol="1" anchor="t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000" b="1" dirty="0">
                  <a:solidFill>
                    <a:schemeClr val="bg1">
                      <a:lumMod val="95000"/>
                    </a:schemeClr>
                  </a:solidFill>
                </a:rPr>
                <a:t>BRG</a:t>
              </a:r>
            </a:p>
          </p:txBody>
        </p:sp>
        <p:sp>
          <p:nvSpPr>
            <p:cNvPr id="15" name="Freeform 24"/>
            <p:cNvSpPr>
              <a:spLocks noEditPoints="1"/>
            </p:cNvSpPr>
            <p:nvPr/>
          </p:nvSpPr>
          <p:spPr bwMode="gray">
            <a:xfrm>
              <a:off x="3576750" y="3598451"/>
              <a:ext cx="336259" cy="131982"/>
            </a:xfrm>
            <a:custGeom>
              <a:avLst/>
              <a:gdLst>
                <a:gd name="T0" fmla="*/ 1467 w 10667"/>
                <a:gd name="T1" fmla="*/ 2920 h 4187"/>
                <a:gd name="T2" fmla="*/ 0 w 10667"/>
                <a:gd name="T3" fmla="*/ 2734 h 4187"/>
                <a:gd name="T4" fmla="*/ 353 w 10667"/>
                <a:gd name="T5" fmla="*/ 2540 h 4187"/>
                <a:gd name="T6" fmla="*/ 261 w 10667"/>
                <a:gd name="T7" fmla="*/ 1666 h 4187"/>
                <a:gd name="T8" fmla="*/ 0 w 10667"/>
                <a:gd name="T9" fmla="*/ 1616 h 4187"/>
                <a:gd name="T10" fmla="*/ 1478 w 10667"/>
                <a:gd name="T11" fmla="*/ 6 h 4187"/>
                <a:gd name="T12" fmla="*/ 2227 w 10667"/>
                <a:gd name="T13" fmla="*/ 140 h 4187"/>
                <a:gd name="T14" fmla="*/ 5893 w 10667"/>
                <a:gd name="T15" fmla="*/ 1809 h 4187"/>
                <a:gd name="T16" fmla="*/ 8487 w 10667"/>
                <a:gd name="T17" fmla="*/ 13 h 4187"/>
                <a:gd name="T18" fmla="*/ 9245 w 10667"/>
                <a:gd name="T19" fmla="*/ 134 h 4187"/>
                <a:gd name="T20" fmla="*/ 10667 w 10667"/>
                <a:gd name="T21" fmla="*/ 1616 h 4187"/>
                <a:gd name="T22" fmla="*/ 10420 w 10667"/>
                <a:gd name="T23" fmla="*/ 1674 h 4187"/>
                <a:gd name="T24" fmla="*/ 10320 w 10667"/>
                <a:gd name="T25" fmla="*/ 2546 h 4187"/>
                <a:gd name="T26" fmla="*/ 10667 w 10667"/>
                <a:gd name="T27" fmla="*/ 2733 h 4187"/>
                <a:gd name="T28" fmla="*/ 9187 w 10667"/>
                <a:gd name="T29" fmla="*/ 2920 h 4187"/>
                <a:gd name="T30" fmla="*/ 8837 w 10667"/>
                <a:gd name="T31" fmla="*/ 4183 h 4187"/>
                <a:gd name="T32" fmla="*/ 8487 w 10667"/>
                <a:gd name="T33" fmla="*/ 2926 h 4187"/>
                <a:gd name="T34" fmla="*/ 2157 w 10667"/>
                <a:gd name="T35" fmla="*/ 3550 h 4187"/>
                <a:gd name="T36" fmla="*/ 1476 w 10667"/>
                <a:gd name="T37" fmla="*/ 4178 h 4187"/>
                <a:gd name="T38" fmla="*/ 821 w 10667"/>
                <a:gd name="T39" fmla="*/ 1257 h 4187"/>
                <a:gd name="T40" fmla="*/ 454 w 10667"/>
                <a:gd name="T41" fmla="*/ 2041 h 4187"/>
                <a:gd name="T42" fmla="*/ 987 w 10667"/>
                <a:gd name="T43" fmla="*/ 2546 h 4187"/>
                <a:gd name="T44" fmla="*/ 1466 w 10667"/>
                <a:gd name="T45" fmla="*/ 499 h 4187"/>
                <a:gd name="T46" fmla="*/ 1080 w 10667"/>
                <a:gd name="T47" fmla="*/ 997 h 4187"/>
                <a:gd name="T48" fmla="*/ 1282 w 10667"/>
                <a:gd name="T49" fmla="*/ 2546 h 4187"/>
                <a:gd name="T50" fmla="*/ 2583 w 10667"/>
                <a:gd name="T51" fmla="*/ 1776 h 4187"/>
                <a:gd name="T52" fmla="*/ 2219 w 10667"/>
                <a:gd name="T53" fmla="*/ 533 h 4187"/>
                <a:gd name="T54" fmla="*/ 2379 w 10667"/>
                <a:gd name="T55" fmla="*/ 2543 h 4187"/>
                <a:gd name="T56" fmla="*/ 3344 w 10667"/>
                <a:gd name="T57" fmla="*/ 2057 h 4187"/>
                <a:gd name="T58" fmla="*/ 2795 w 10667"/>
                <a:gd name="T59" fmla="*/ 1208 h 4187"/>
                <a:gd name="T60" fmla="*/ 2680 w 10667"/>
                <a:gd name="T61" fmla="*/ 2547 h 4187"/>
                <a:gd name="T62" fmla="*/ 3344 w 10667"/>
                <a:gd name="T63" fmla="*/ 2057 h 4187"/>
                <a:gd name="T64" fmla="*/ 3931 w 10667"/>
                <a:gd name="T65" fmla="*/ 1805 h 4187"/>
                <a:gd name="T66" fmla="*/ 3449 w 10667"/>
                <a:gd name="T67" fmla="*/ 2538 h 4187"/>
                <a:gd name="T68" fmla="*/ 4873 w 10667"/>
                <a:gd name="T69" fmla="*/ 2267 h 4187"/>
                <a:gd name="T70" fmla="*/ 4357 w 10667"/>
                <a:gd name="T71" fmla="*/ 1915 h 4187"/>
                <a:gd name="T72" fmla="*/ 4213 w 10667"/>
                <a:gd name="T73" fmla="*/ 2547 h 4187"/>
                <a:gd name="T74" fmla="*/ 4873 w 10667"/>
                <a:gd name="T75" fmla="*/ 2267 h 4187"/>
                <a:gd name="T76" fmla="*/ 5647 w 10667"/>
                <a:gd name="T77" fmla="*/ 2009 h 4187"/>
                <a:gd name="T78" fmla="*/ 4976 w 10667"/>
                <a:gd name="T79" fmla="*/ 2260 h 4187"/>
                <a:gd name="T80" fmla="*/ 5639 w 10667"/>
                <a:gd name="T81" fmla="*/ 2546 h 4187"/>
                <a:gd name="T82" fmla="*/ 6404 w 10667"/>
                <a:gd name="T83" fmla="*/ 1906 h 4187"/>
                <a:gd name="T84" fmla="*/ 5753 w 10667"/>
                <a:gd name="T85" fmla="*/ 1993 h 4187"/>
                <a:gd name="T86" fmla="*/ 6076 w 10667"/>
                <a:gd name="T87" fmla="*/ 2543 h 4187"/>
                <a:gd name="T88" fmla="*/ 7179 w 10667"/>
                <a:gd name="T89" fmla="*/ 2525 h 4187"/>
                <a:gd name="T90" fmla="*/ 6998 w 10667"/>
                <a:gd name="T91" fmla="*/ 1711 h 4187"/>
                <a:gd name="T92" fmla="*/ 6507 w 10667"/>
                <a:gd name="T93" fmla="*/ 2200 h 4187"/>
                <a:gd name="T94" fmla="*/ 7179 w 10667"/>
                <a:gd name="T95" fmla="*/ 2525 h 4187"/>
                <a:gd name="T96" fmla="*/ 7836 w 10667"/>
                <a:gd name="T97" fmla="*/ 1230 h 4187"/>
                <a:gd name="T98" fmla="*/ 7270 w 10667"/>
                <a:gd name="T99" fmla="*/ 2054 h 4187"/>
                <a:gd name="T100" fmla="*/ 7940 w 10667"/>
                <a:gd name="T101" fmla="*/ 2540 h 4187"/>
                <a:gd name="T102" fmla="*/ 8490 w 10667"/>
                <a:gd name="T103" fmla="*/ 1486 h 4187"/>
                <a:gd name="T104" fmla="*/ 8095 w 10667"/>
                <a:gd name="T105" fmla="*/ 979 h 4187"/>
                <a:gd name="T106" fmla="*/ 8049 w 10667"/>
                <a:gd name="T107" fmla="*/ 2538 h 4187"/>
                <a:gd name="T108" fmla="*/ 9583 w 10667"/>
                <a:gd name="T109" fmla="*/ 1769 h 4187"/>
                <a:gd name="T110" fmla="*/ 9220 w 10667"/>
                <a:gd name="T111" fmla="*/ 492 h 4187"/>
                <a:gd name="T112" fmla="*/ 9187 w 10667"/>
                <a:gd name="T113" fmla="*/ 2547 h 4187"/>
                <a:gd name="T114" fmla="*/ 9583 w 10667"/>
                <a:gd name="T115" fmla="*/ 1769 h 4187"/>
                <a:gd name="T116" fmla="*/ 10099 w 10667"/>
                <a:gd name="T117" fmla="*/ 1466 h 4187"/>
                <a:gd name="T118" fmla="*/ 9689 w 10667"/>
                <a:gd name="T119" fmla="*/ 2538 h 4187"/>
                <a:gd name="T120" fmla="*/ 10223 w 10667"/>
                <a:gd name="T121" fmla="*/ 2051 h 4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667" h="4187">
                  <a:moveTo>
                    <a:pt x="1476" y="4178"/>
                  </a:moveTo>
                  <a:cubicBezTo>
                    <a:pt x="1471" y="4173"/>
                    <a:pt x="1467" y="3888"/>
                    <a:pt x="1467" y="3544"/>
                  </a:cubicBezTo>
                  <a:lnTo>
                    <a:pt x="1467" y="2920"/>
                  </a:lnTo>
                  <a:lnTo>
                    <a:pt x="733" y="2920"/>
                  </a:lnTo>
                  <a:lnTo>
                    <a:pt x="0" y="2920"/>
                  </a:lnTo>
                  <a:lnTo>
                    <a:pt x="0" y="2734"/>
                  </a:lnTo>
                  <a:lnTo>
                    <a:pt x="0" y="2547"/>
                  </a:lnTo>
                  <a:lnTo>
                    <a:pt x="177" y="2544"/>
                  </a:lnTo>
                  <a:lnTo>
                    <a:pt x="353" y="2540"/>
                  </a:lnTo>
                  <a:lnTo>
                    <a:pt x="357" y="2093"/>
                  </a:lnTo>
                  <a:cubicBezTo>
                    <a:pt x="359" y="1848"/>
                    <a:pt x="357" y="1639"/>
                    <a:pt x="354" y="1630"/>
                  </a:cubicBezTo>
                  <a:cubicBezTo>
                    <a:pt x="349" y="1618"/>
                    <a:pt x="321" y="1629"/>
                    <a:pt x="261" y="1666"/>
                  </a:cubicBezTo>
                  <a:cubicBezTo>
                    <a:pt x="175" y="1718"/>
                    <a:pt x="21" y="1800"/>
                    <a:pt x="7" y="1800"/>
                  </a:cubicBezTo>
                  <a:cubicBezTo>
                    <a:pt x="3" y="1800"/>
                    <a:pt x="0" y="1758"/>
                    <a:pt x="0" y="1708"/>
                  </a:cubicBezTo>
                  <a:lnTo>
                    <a:pt x="0" y="1616"/>
                  </a:lnTo>
                  <a:lnTo>
                    <a:pt x="123" y="1546"/>
                  </a:lnTo>
                  <a:cubicBezTo>
                    <a:pt x="731" y="1201"/>
                    <a:pt x="1185" y="707"/>
                    <a:pt x="1427" y="129"/>
                  </a:cubicBezTo>
                  <a:lnTo>
                    <a:pt x="1478" y="6"/>
                  </a:lnTo>
                  <a:lnTo>
                    <a:pt x="1817" y="3"/>
                  </a:lnTo>
                  <a:cubicBezTo>
                    <a:pt x="2079" y="0"/>
                    <a:pt x="2159" y="3"/>
                    <a:pt x="2169" y="16"/>
                  </a:cubicBezTo>
                  <a:cubicBezTo>
                    <a:pt x="2176" y="26"/>
                    <a:pt x="2202" y="81"/>
                    <a:pt x="2227" y="140"/>
                  </a:cubicBezTo>
                  <a:cubicBezTo>
                    <a:pt x="2431" y="619"/>
                    <a:pt x="2791" y="1024"/>
                    <a:pt x="3267" y="1313"/>
                  </a:cubicBezTo>
                  <a:cubicBezTo>
                    <a:pt x="3694" y="1572"/>
                    <a:pt x="4155" y="1725"/>
                    <a:pt x="4760" y="1809"/>
                  </a:cubicBezTo>
                  <a:cubicBezTo>
                    <a:pt x="5000" y="1842"/>
                    <a:pt x="5659" y="1842"/>
                    <a:pt x="5893" y="1809"/>
                  </a:cubicBezTo>
                  <a:cubicBezTo>
                    <a:pt x="6704" y="1695"/>
                    <a:pt x="7283" y="1454"/>
                    <a:pt x="7787" y="1022"/>
                  </a:cubicBezTo>
                  <a:cubicBezTo>
                    <a:pt x="8049" y="797"/>
                    <a:pt x="8334" y="394"/>
                    <a:pt x="8447" y="90"/>
                  </a:cubicBezTo>
                  <a:cubicBezTo>
                    <a:pt x="8460" y="55"/>
                    <a:pt x="8478" y="21"/>
                    <a:pt x="8487" y="13"/>
                  </a:cubicBezTo>
                  <a:cubicBezTo>
                    <a:pt x="8497" y="4"/>
                    <a:pt x="8625" y="1"/>
                    <a:pt x="8847" y="3"/>
                  </a:cubicBezTo>
                  <a:lnTo>
                    <a:pt x="9191" y="6"/>
                  </a:lnTo>
                  <a:lnTo>
                    <a:pt x="9245" y="134"/>
                  </a:lnTo>
                  <a:cubicBezTo>
                    <a:pt x="9399" y="492"/>
                    <a:pt x="9582" y="756"/>
                    <a:pt x="9875" y="1042"/>
                  </a:cubicBezTo>
                  <a:cubicBezTo>
                    <a:pt x="10092" y="1254"/>
                    <a:pt x="10279" y="1395"/>
                    <a:pt x="10543" y="1546"/>
                  </a:cubicBezTo>
                  <a:lnTo>
                    <a:pt x="10667" y="1616"/>
                  </a:lnTo>
                  <a:lnTo>
                    <a:pt x="10667" y="1708"/>
                  </a:lnTo>
                  <a:cubicBezTo>
                    <a:pt x="10667" y="1759"/>
                    <a:pt x="10663" y="1800"/>
                    <a:pt x="10660" y="1800"/>
                  </a:cubicBezTo>
                  <a:cubicBezTo>
                    <a:pt x="10646" y="1800"/>
                    <a:pt x="10486" y="1716"/>
                    <a:pt x="10420" y="1674"/>
                  </a:cubicBezTo>
                  <a:cubicBezTo>
                    <a:pt x="10383" y="1651"/>
                    <a:pt x="10346" y="1627"/>
                    <a:pt x="10337" y="1622"/>
                  </a:cubicBezTo>
                  <a:cubicBezTo>
                    <a:pt x="10323" y="1614"/>
                    <a:pt x="10320" y="1709"/>
                    <a:pt x="10320" y="2079"/>
                  </a:cubicBezTo>
                  <a:lnTo>
                    <a:pt x="10320" y="2546"/>
                  </a:lnTo>
                  <a:lnTo>
                    <a:pt x="10493" y="2546"/>
                  </a:lnTo>
                  <a:lnTo>
                    <a:pt x="10667" y="2546"/>
                  </a:lnTo>
                  <a:lnTo>
                    <a:pt x="10667" y="2733"/>
                  </a:lnTo>
                  <a:lnTo>
                    <a:pt x="10667" y="2920"/>
                  </a:lnTo>
                  <a:lnTo>
                    <a:pt x="9927" y="2920"/>
                  </a:lnTo>
                  <a:lnTo>
                    <a:pt x="9187" y="2920"/>
                  </a:lnTo>
                  <a:lnTo>
                    <a:pt x="9183" y="3550"/>
                  </a:lnTo>
                  <a:lnTo>
                    <a:pt x="9180" y="4180"/>
                  </a:lnTo>
                  <a:lnTo>
                    <a:pt x="8837" y="4183"/>
                  </a:lnTo>
                  <a:lnTo>
                    <a:pt x="8494" y="4187"/>
                  </a:lnTo>
                  <a:lnTo>
                    <a:pt x="8490" y="3557"/>
                  </a:lnTo>
                  <a:lnTo>
                    <a:pt x="8487" y="2926"/>
                  </a:lnTo>
                  <a:lnTo>
                    <a:pt x="5323" y="2923"/>
                  </a:lnTo>
                  <a:lnTo>
                    <a:pt x="2160" y="2920"/>
                  </a:lnTo>
                  <a:lnTo>
                    <a:pt x="2157" y="3550"/>
                  </a:lnTo>
                  <a:lnTo>
                    <a:pt x="2153" y="4180"/>
                  </a:lnTo>
                  <a:lnTo>
                    <a:pt x="1819" y="4183"/>
                  </a:lnTo>
                  <a:cubicBezTo>
                    <a:pt x="1635" y="4185"/>
                    <a:pt x="1481" y="4183"/>
                    <a:pt x="1476" y="4178"/>
                  </a:cubicBezTo>
                  <a:close/>
                  <a:moveTo>
                    <a:pt x="987" y="1833"/>
                  </a:moveTo>
                  <a:cubicBezTo>
                    <a:pt x="987" y="1441"/>
                    <a:pt x="983" y="1120"/>
                    <a:pt x="979" y="1120"/>
                  </a:cubicBezTo>
                  <a:cubicBezTo>
                    <a:pt x="975" y="1120"/>
                    <a:pt x="903" y="1182"/>
                    <a:pt x="821" y="1257"/>
                  </a:cubicBezTo>
                  <a:cubicBezTo>
                    <a:pt x="738" y="1333"/>
                    <a:pt x="622" y="1430"/>
                    <a:pt x="562" y="1474"/>
                  </a:cubicBezTo>
                  <a:lnTo>
                    <a:pt x="454" y="1553"/>
                  </a:lnTo>
                  <a:lnTo>
                    <a:pt x="454" y="2041"/>
                  </a:lnTo>
                  <a:cubicBezTo>
                    <a:pt x="454" y="2309"/>
                    <a:pt x="457" y="2533"/>
                    <a:pt x="462" y="2538"/>
                  </a:cubicBezTo>
                  <a:cubicBezTo>
                    <a:pt x="467" y="2542"/>
                    <a:pt x="587" y="2546"/>
                    <a:pt x="729" y="2546"/>
                  </a:cubicBezTo>
                  <a:lnTo>
                    <a:pt x="987" y="2546"/>
                  </a:lnTo>
                  <a:lnTo>
                    <a:pt x="987" y="1833"/>
                  </a:lnTo>
                  <a:close/>
                  <a:moveTo>
                    <a:pt x="1470" y="1525"/>
                  </a:moveTo>
                  <a:cubicBezTo>
                    <a:pt x="1472" y="964"/>
                    <a:pt x="1470" y="502"/>
                    <a:pt x="1466" y="499"/>
                  </a:cubicBezTo>
                  <a:cubicBezTo>
                    <a:pt x="1461" y="496"/>
                    <a:pt x="1421" y="550"/>
                    <a:pt x="1376" y="617"/>
                  </a:cubicBezTo>
                  <a:cubicBezTo>
                    <a:pt x="1331" y="685"/>
                    <a:pt x="1246" y="798"/>
                    <a:pt x="1187" y="869"/>
                  </a:cubicBezTo>
                  <a:lnTo>
                    <a:pt x="1080" y="997"/>
                  </a:lnTo>
                  <a:lnTo>
                    <a:pt x="1080" y="1763"/>
                  </a:lnTo>
                  <a:cubicBezTo>
                    <a:pt x="1080" y="2184"/>
                    <a:pt x="1084" y="2533"/>
                    <a:pt x="1089" y="2538"/>
                  </a:cubicBezTo>
                  <a:cubicBezTo>
                    <a:pt x="1094" y="2542"/>
                    <a:pt x="1181" y="2546"/>
                    <a:pt x="1282" y="2546"/>
                  </a:cubicBezTo>
                  <a:lnTo>
                    <a:pt x="1466" y="2546"/>
                  </a:lnTo>
                  <a:lnTo>
                    <a:pt x="1470" y="1525"/>
                  </a:lnTo>
                  <a:close/>
                  <a:moveTo>
                    <a:pt x="2583" y="1776"/>
                  </a:moveTo>
                  <a:lnTo>
                    <a:pt x="2587" y="1012"/>
                  </a:lnTo>
                  <a:lnTo>
                    <a:pt x="2500" y="913"/>
                  </a:lnTo>
                  <a:cubicBezTo>
                    <a:pt x="2389" y="785"/>
                    <a:pt x="2265" y="618"/>
                    <a:pt x="2219" y="533"/>
                  </a:cubicBezTo>
                  <a:cubicBezTo>
                    <a:pt x="2199" y="496"/>
                    <a:pt x="2177" y="466"/>
                    <a:pt x="2171" y="466"/>
                  </a:cubicBezTo>
                  <a:cubicBezTo>
                    <a:pt x="2158" y="466"/>
                    <a:pt x="2156" y="2525"/>
                    <a:pt x="2169" y="2538"/>
                  </a:cubicBezTo>
                  <a:cubicBezTo>
                    <a:pt x="2174" y="2543"/>
                    <a:pt x="2269" y="2545"/>
                    <a:pt x="2379" y="2543"/>
                  </a:cubicBezTo>
                  <a:lnTo>
                    <a:pt x="2580" y="2540"/>
                  </a:lnTo>
                  <a:lnTo>
                    <a:pt x="2583" y="1776"/>
                  </a:lnTo>
                  <a:close/>
                  <a:moveTo>
                    <a:pt x="3344" y="2057"/>
                  </a:moveTo>
                  <a:lnTo>
                    <a:pt x="3347" y="1573"/>
                  </a:lnTo>
                  <a:lnTo>
                    <a:pt x="3279" y="1537"/>
                  </a:lnTo>
                  <a:cubicBezTo>
                    <a:pt x="3158" y="1471"/>
                    <a:pt x="2903" y="1298"/>
                    <a:pt x="2795" y="1208"/>
                  </a:cubicBezTo>
                  <a:cubicBezTo>
                    <a:pt x="2737" y="1159"/>
                    <a:pt x="2687" y="1120"/>
                    <a:pt x="2685" y="1120"/>
                  </a:cubicBezTo>
                  <a:cubicBezTo>
                    <a:pt x="2682" y="1120"/>
                    <a:pt x="2680" y="1441"/>
                    <a:pt x="2680" y="1833"/>
                  </a:cubicBezTo>
                  <a:lnTo>
                    <a:pt x="2680" y="2547"/>
                  </a:lnTo>
                  <a:lnTo>
                    <a:pt x="3010" y="2543"/>
                  </a:lnTo>
                  <a:lnTo>
                    <a:pt x="3340" y="2540"/>
                  </a:lnTo>
                  <a:lnTo>
                    <a:pt x="3344" y="2057"/>
                  </a:lnTo>
                  <a:close/>
                  <a:moveTo>
                    <a:pt x="4112" y="2525"/>
                  </a:moveTo>
                  <a:cubicBezTo>
                    <a:pt x="4125" y="2492"/>
                    <a:pt x="4121" y="1869"/>
                    <a:pt x="4108" y="1861"/>
                  </a:cubicBezTo>
                  <a:cubicBezTo>
                    <a:pt x="4101" y="1857"/>
                    <a:pt x="4022" y="1832"/>
                    <a:pt x="3931" y="1805"/>
                  </a:cubicBezTo>
                  <a:cubicBezTo>
                    <a:pt x="3841" y="1779"/>
                    <a:pt x="3700" y="1731"/>
                    <a:pt x="3618" y="1699"/>
                  </a:cubicBezTo>
                  <a:cubicBezTo>
                    <a:pt x="3536" y="1666"/>
                    <a:pt x="3462" y="1640"/>
                    <a:pt x="3455" y="1640"/>
                  </a:cubicBezTo>
                  <a:cubicBezTo>
                    <a:pt x="3438" y="1640"/>
                    <a:pt x="3433" y="2522"/>
                    <a:pt x="3449" y="2538"/>
                  </a:cubicBezTo>
                  <a:cubicBezTo>
                    <a:pt x="3454" y="2542"/>
                    <a:pt x="3603" y="2546"/>
                    <a:pt x="3781" y="2546"/>
                  </a:cubicBezTo>
                  <a:cubicBezTo>
                    <a:pt x="4063" y="2546"/>
                    <a:pt x="4105" y="2544"/>
                    <a:pt x="4112" y="2525"/>
                  </a:cubicBezTo>
                  <a:close/>
                  <a:moveTo>
                    <a:pt x="4873" y="2267"/>
                  </a:moveTo>
                  <a:lnTo>
                    <a:pt x="4873" y="1994"/>
                  </a:lnTo>
                  <a:lnTo>
                    <a:pt x="4667" y="1965"/>
                  </a:lnTo>
                  <a:cubicBezTo>
                    <a:pt x="4553" y="1949"/>
                    <a:pt x="4414" y="1927"/>
                    <a:pt x="4357" y="1915"/>
                  </a:cubicBezTo>
                  <a:cubicBezTo>
                    <a:pt x="4301" y="1903"/>
                    <a:pt x="4245" y="1893"/>
                    <a:pt x="4234" y="1893"/>
                  </a:cubicBezTo>
                  <a:cubicBezTo>
                    <a:pt x="4216" y="1893"/>
                    <a:pt x="4213" y="1934"/>
                    <a:pt x="4213" y="2220"/>
                  </a:cubicBezTo>
                  <a:lnTo>
                    <a:pt x="4213" y="2547"/>
                  </a:lnTo>
                  <a:lnTo>
                    <a:pt x="4543" y="2543"/>
                  </a:lnTo>
                  <a:lnTo>
                    <a:pt x="4873" y="2540"/>
                  </a:lnTo>
                  <a:lnTo>
                    <a:pt x="4873" y="2267"/>
                  </a:lnTo>
                  <a:close/>
                  <a:moveTo>
                    <a:pt x="5647" y="2516"/>
                  </a:moveTo>
                  <a:cubicBezTo>
                    <a:pt x="5651" y="2500"/>
                    <a:pt x="5653" y="2379"/>
                    <a:pt x="5650" y="2248"/>
                  </a:cubicBezTo>
                  <a:lnTo>
                    <a:pt x="5647" y="2009"/>
                  </a:lnTo>
                  <a:lnTo>
                    <a:pt x="5313" y="2008"/>
                  </a:lnTo>
                  <a:lnTo>
                    <a:pt x="4980" y="2007"/>
                  </a:lnTo>
                  <a:lnTo>
                    <a:pt x="4976" y="2260"/>
                  </a:lnTo>
                  <a:cubicBezTo>
                    <a:pt x="4974" y="2399"/>
                    <a:pt x="4976" y="2520"/>
                    <a:pt x="4979" y="2529"/>
                  </a:cubicBezTo>
                  <a:cubicBezTo>
                    <a:pt x="4984" y="2543"/>
                    <a:pt x="5059" y="2546"/>
                    <a:pt x="5313" y="2546"/>
                  </a:cubicBezTo>
                  <a:lnTo>
                    <a:pt x="5639" y="2546"/>
                  </a:lnTo>
                  <a:lnTo>
                    <a:pt x="5647" y="2516"/>
                  </a:lnTo>
                  <a:close/>
                  <a:moveTo>
                    <a:pt x="6410" y="2227"/>
                  </a:moveTo>
                  <a:cubicBezTo>
                    <a:pt x="6412" y="2056"/>
                    <a:pt x="6409" y="1911"/>
                    <a:pt x="6404" y="1906"/>
                  </a:cubicBezTo>
                  <a:cubicBezTo>
                    <a:pt x="6398" y="1901"/>
                    <a:pt x="6333" y="1908"/>
                    <a:pt x="6260" y="1923"/>
                  </a:cubicBezTo>
                  <a:cubicBezTo>
                    <a:pt x="6187" y="1937"/>
                    <a:pt x="6043" y="1959"/>
                    <a:pt x="5940" y="1971"/>
                  </a:cubicBezTo>
                  <a:lnTo>
                    <a:pt x="5753" y="1993"/>
                  </a:lnTo>
                  <a:lnTo>
                    <a:pt x="5750" y="2270"/>
                  </a:lnTo>
                  <a:lnTo>
                    <a:pt x="5746" y="2547"/>
                  </a:lnTo>
                  <a:lnTo>
                    <a:pt x="6076" y="2543"/>
                  </a:lnTo>
                  <a:lnTo>
                    <a:pt x="6407" y="2540"/>
                  </a:lnTo>
                  <a:lnTo>
                    <a:pt x="6410" y="2227"/>
                  </a:lnTo>
                  <a:close/>
                  <a:moveTo>
                    <a:pt x="7179" y="2525"/>
                  </a:moveTo>
                  <a:cubicBezTo>
                    <a:pt x="7183" y="2514"/>
                    <a:pt x="7187" y="2316"/>
                    <a:pt x="7187" y="2085"/>
                  </a:cubicBezTo>
                  <a:cubicBezTo>
                    <a:pt x="7187" y="1737"/>
                    <a:pt x="7183" y="1664"/>
                    <a:pt x="7168" y="1658"/>
                  </a:cubicBezTo>
                  <a:cubicBezTo>
                    <a:pt x="7158" y="1654"/>
                    <a:pt x="7081" y="1678"/>
                    <a:pt x="6998" y="1711"/>
                  </a:cubicBezTo>
                  <a:cubicBezTo>
                    <a:pt x="6915" y="1744"/>
                    <a:pt x="6770" y="1793"/>
                    <a:pt x="6677" y="1821"/>
                  </a:cubicBezTo>
                  <a:lnTo>
                    <a:pt x="6507" y="1871"/>
                  </a:lnTo>
                  <a:lnTo>
                    <a:pt x="6507" y="2200"/>
                  </a:lnTo>
                  <a:cubicBezTo>
                    <a:pt x="6507" y="2381"/>
                    <a:pt x="6511" y="2533"/>
                    <a:pt x="6516" y="2538"/>
                  </a:cubicBezTo>
                  <a:cubicBezTo>
                    <a:pt x="6520" y="2542"/>
                    <a:pt x="6670" y="2546"/>
                    <a:pt x="6847" y="2546"/>
                  </a:cubicBezTo>
                  <a:cubicBezTo>
                    <a:pt x="7130" y="2546"/>
                    <a:pt x="7172" y="2544"/>
                    <a:pt x="7179" y="2525"/>
                  </a:cubicBezTo>
                  <a:close/>
                  <a:moveTo>
                    <a:pt x="7943" y="1850"/>
                  </a:moveTo>
                  <a:cubicBezTo>
                    <a:pt x="7946" y="1379"/>
                    <a:pt x="7943" y="1160"/>
                    <a:pt x="7933" y="1160"/>
                  </a:cubicBezTo>
                  <a:cubicBezTo>
                    <a:pt x="7925" y="1160"/>
                    <a:pt x="7882" y="1191"/>
                    <a:pt x="7836" y="1230"/>
                  </a:cubicBezTo>
                  <a:cubicBezTo>
                    <a:pt x="7735" y="1316"/>
                    <a:pt x="7567" y="1428"/>
                    <a:pt x="7399" y="1524"/>
                  </a:cubicBezTo>
                  <a:lnTo>
                    <a:pt x="7273" y="1595"/>
                  </a:lnTo>
                  <a:lnTo>
                    <a:pt x="7270" y="2054"/>
                  </a:lnTo>
                  <a:cubicBezTo>
                    <a:pt x="7268" y="2306"/>
                    <a:pt x="7269" y="2521"/>
                    <a:pt x="7273" y="2530"/>
                  </a:cubicBezTo>
                  <a:cubicBezTo>
                    <a:pt x="7278" y="2543"/>
                    <a:pt x="7352" y="2546"/>
                    <a:pt x="7610" y="2543"/>
                  </a:cubicBezTo>
                  <a:lnTo>
                    <a:pt x="7940" y="2540"/>
                  </a:lnTo>
                  <a:lnTo>
                    <a:pt x="7943" y="1850"/>
                  </a:lnTo>
                  <a:close/>
                  <a:moveTo>
                    <a:pt x="8487" y="2530"/>
                  </a:moveTo>
                  <a:cubicBezTo>
                    <a:pt x="8491" y="2521"/>
                    <a:pt x="8492" y="2051"/>
                    <a:pt x="8490" y="1486"/>
                  </a:cubicBezTo>
                  <a:lnTo>
                    <a:pt x="8487" y="460"/>
                  </a:lnTo>
                  <a:lnTo>
                    <a:pt x="8399" y="593"/>
                  </a:lnTo>
                  <a:cubicBezTo>
                    <a:pt x="8301" y="742"/>
                    <a:pt x="8177" y="900"/>
                    <a:pt x="8095" y="979"/>
                  </a:cubicBezTo>
                  <a:lnTo>
                    <a:pt x="8040" y="1032"/>
                  </a:lnTo>
                  <a:lnTo>
                    <a:pt x="8040" y="1780"/>
                  </a:lnTo>
                  <a:cubicBezTo>
                    <a:pt x="8040" y="2192"/>
                    <a:pt x="8044" y="2533"/>
                    <a:pt x="8049" y="2538"/>
                  </a:cubicBezTo>
                  <a:cubicBezTo>
                    <a:pt x="8054" y="2542"/>
                    <a:pt x="8153" y="2546"/>
                    <a:pt x="8269" y="2546"/>
                  </a:cubicBezTo>
                  <a:cubicBezTo>
                    <a:pt x="8426" y="2546"/>
                    <a:pt x="8482" y="2542"/>
                    <a:pt x="8487" y="2530"/>
                  </a:cubicBezTo>
                  <a:close/>
                  <a:moveTo>
                    <a:pt x="9583" y="1769"/>
                  </a:moveTo>
                  <a:lnTo>
                    <a:pt x="9587" y="997"/>
                  </a:lnTo>
                  <a:lnTo>
                    <a:pt x="9462" y="842"/>
                  </a:lnTo>
                  <a:cubicBezTo>
                    <a:pt x="9336" y="686"/>
                    <a:pt x="9235" y="540"/>
                    <a:pt x="9220" y="492"/>
                  </a:cubicBezTo>
                  <a:cubicBezTo>
                    <a:pt x="9215" y="478"/>
                    <a:pt x="9206" y="466"/>
                    <a:pt x="9199" y="466"/>
                  </a:cubicBezTo>
                  <a:cubicBezTo>
                    <a:pt x="9192" y="466"/>
                    <a:pt x="9187" y="872"/>
                    <a:pt x="9187" y="1507"/>
                  </a:cubicBezTo>
                  <a:lnTo>
                    <a:pt x="9187" y="2547"/>
                  </a:lnTo>
                  <a:lnTo>
                    <a:pt x="9383" y="2544"/>
                  </a:lnTo>
                  <a:lnTo>
                    <a:pt x="9580" y="2540"/>
                  </a:lnTo>
                  <a:lnTo>
                    <a:pt x="9583" y="1769"/>
                  </a:lnTo>
                  <a:close/>
                  <a:moveTo>
                    <a:pt x="10223" y="2051"/>
                  </a:moveTo>
                  <a:lnTo>
                    <a:pt x="10227" y="1562"/>
                  </a:lnTo>
                  <a:lnTo>
                    <a:pt x="10099" y="1466"/>
                  </a:lnTo>
                  <a:cubicBezTo>
                    <a:pt x="10028" y="1413"/>
                    <a:pt x="9911" y="1313"/>
                    <a:pt x="9837" y="1245"/>
                  </a:cubicBezTo>
                  <a:cubicBezTo>
                    <a:pt x="9764" y="1176"/>
                    <a:pt x="9698" y="1120"/>
                    <a:pt x="9692" y="1120"/>
                  </a:cubicBezTo>
                  <a:cubicBezTo>
                    <a:pt x="9678" y="1120"/>
                    <a:pt x="9675" y="2524"/>
                    <a:pt x="9689" y="2538"/>
                  </a:cubicBezTo>
                  <a:cubicBezTo>
                    <a:pt x="9694" y="2543"/>
                    <a:pt x="9816" y="2545"/>
                    <a:pt x="9959" y="2543"/>
                  </a:cubicBezTo>
                  <a:lnTo>
                    <a:pt x="10220" y="2540"/>
                  </a:lnTo>
                  <a:lnTo>
                    <a:pt x="10223" y="2051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grpSp>
          <p:nvGrpSpPr>
            <p:cNvPr id="26" name="Group 25"/>
            <p:cNvGrpSpPr>
              <a:grpSpLocks/>
            </p:cNvGrpSpPr>
            <p:nvPr/>
          </p:nvGrpSpPr>
          <p:grpSpPr>
            <a:xfrm>
              <a:off x="3621572" y="2414109"/>
              <a:ext cx="721313" cy="721311"/>
              <a:chOff x="-1054344" y="642757"/>
              <a:chExt cx="740022" cy="740018"/>
            </a:xfrm>
          </p:grpSpPr>
          <p:sp>
            <p:nvSpPr>
              <p:cNvPr id="114" name="TextBox 478"/>
              <p:cNvSpPr txBox="1"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-1054344" y="642757"/>
                <a:ext cx="740022" cy="74001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txBody>
              <a:bodyPr vert="horz" wrap="square" lIns="2916" tIns="0" rIns="2916" bIns="0" numCol="1" anchor="t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1000" b="1" dirty="0">
                    <a:solidFill>
                      <a:schemeClr val="bg1">
                        <a:lumMod val="95000"/>
                      </a:schemeClr>
                    </a:solidFill>
                  </a:rPr>
                  <a:t>TRF</a:t>
                </a:r>
              </a:p>
            </p:txBody>
          </p:sp>
          <p:sp>
            <p:nvSpPr>
              <p:cNvPr id="9" name="Freeform 17"/>
              <p:cNvSpPr>
                <a:spLocks noEditPoints="1"/>
              </p:cNvSpPr>
              <p:nvPr/>
            </p:nvSpPr>
            <p:spPr bwMode="gray">
              <a:xfrm>
                <a:off x="-849517" y="1023520"/>
                <a:ext cx="330368" cy="197172"/>
              </a:xfrm>
              <a:custGeom>
                <a:avLst/>
                <a:gdLst>
                  <a:gd name="T0" fmla="*/ 5229 w 10481"/>
                  <a:gd name="T1" fmla="*/ 5004 h 6258"/>
                  <a:gd name="T2" fmla="*/ 4993 w 10481"/>
                  <a:gd name="T3" fmla="*/ 6245 h 6258"/>
                  <a:gd name="T4" fmla="*/ 144 w 10481"/>
                  <a:gd name="T5" fmla="*/ 3566 h 6258"/>
                  <a:gd name="T6" fmla="*/ 592 w 10481"/>
                  <a:gd name="T7" fmla="*/ 3112 h 6258"/>
                  <a:gd name="T8" fmla="*/ 4121 w 10481"/>
                  <a:gd name="T9" fmla="*/ 3258 h 6258"/>
                  <a:gd name="T10" fmla="*/ 4557 w 10481"/>
                  <a:gd name="T11" fmla="*/ 4871 h 6258"/>
                  <a:gd name="T12" fmla="*/ 3766 w 10481"/>
                  <a:gd name="T13" fmla="*/ 5780 h 6258"/>
                  <a:gd name="T14" fmla="*/ 1240 w 10481"/>
                  <a:gd name="T15" fmla="*/ 5400 h 6258"/>
                  <a:gd name="T16" fmla="*/ 196 w 10481"/>
                  <a:gd name="T17" fmla="*/ 5821 h 6258"/>
                  <a:gd name="T18" fmla="*/ 1008 w 10481"/>
                  <a:gd name="T19" fmla="*/ 4703 h 6258"/>
                  <a:gd name="T20" fmla="*/ 1576 w 10481"/>
                  <a:gd name="T21" fmla="*/ 3696 h 6258"/>
                  <a:gd name="T22" fmla="*/ 3503 w 10481"/>
                  <a:gd name="T23" fmla="*/ 2880 h 6258"/>
                  <a:gd name="T24" fmla="*/ 6037 w 10481"/>
                  <a:gd name="T25" fmla="*/ 5821 h 6258"/>
                  <a:gd name="T26" fmla="*/ 5961 w 10481"/>
                  <a:gd name="T27" fmla="*/ 3558 h 6258"/>
                  <a:gd name="T28" fmla="*/ 6836 w 10481"/>
                  <a:gd name="T29" fmla="*/ 2669 h 6258"/>
                  <a:gd name="T30" fmla="*/ 10192 w 10481"/>
                  <a:gd name="T31" fmla="*/ 3258 h 6258"/>
                  <a:gd name="T32" fmla="*/ 10372 w 10481"/>
                  <a:gd name="T33" fmla="*/ 4251 h 6258"/>
                  <a:gd name="T34" fmla="*/ 9918 w 10481"/>
                  <a:gd name="T35" fmla="*/ 5844 h 6258"/>
                  <a:gd name="T36" fmla="*/ 9166 w 10481"/>
                  <a:gd name="T37" fmla="*/ 5400 h 6258"/>
                  <a:gd name="T38" fmla="*/ 6342 w 10481"/>
                  <a:gd name="T39" fmla="*/ 5844 h 6258"/>
                  <a:gd name="T40" fmla="*/ 6820 w 10481"/>
                  <a:gd name="T41" fmla="*/ 4719 h 6258"/>
                  <a:gd name="T42" fmla="*/ 9617 w 10481"/>
                  <a:gd name="T43" fmla="*/ 4750 h 6258"/>
                  <a:gd name="T44" fmla="*/ 9545 w 10481"/>
                  <a:gd name="T45" fmla="*/ 3084 h 6258"/>
                  <a:gd name="T46" fmla="*/ 7431 w 10481"/>
                  <a:gd name="T47" fmla="*/ 3696 h 6258"/>
                  <a:gd name="T48" fmla="*/ 5378 w 10481"/>
                  <a:gd name="T49" fmla="*/ 4001 h 6258"/>
                  <a:gd name="T50" fmla="*/ 5097 w 10481"/>
                  <a:gd name="T51" fmla="*/ 3706 h 6258"/>
                  <a:gd name="T52" fmla="*/ 5356 w 10481"/>
                  <a:gd name="T53" fmla="*/ 3706 h 6258"/>
                  <a:gd name="T54" fmla="*/ 5153 w 10481"/>
                  <a:gd name="T55" fmla="*/ 2318 h 6258"/>
                  <a:gd name="T56" fmla="*/ 6487 w 10481"/>
                  <a:gd name="T57" fmla="*/ 1939 h 6258"/>
                  <a:gd name="T58" fmla="*/ 6673 w 10481"/>
                  <a:gd name="T59" fmla="*/ 1629 h 6258"/>
                  <a:gd name="T60" fmla="*/ 8693 w 10481"/>
                  <a:gd name="T61" fmla="*/ 1226 h 6258"/>
                  <a:gd name="T62" fmla="*/ 9317 w 10481"/>
                  <a:gd name="T63" fmla="*/ 1845 h 6258"/>
                  <a:gd name="T64" fmla="*/ 8692 w 10481"/>
                  <a:gd name="T65" fmla="*/ 2259 h 6258"/>
                  <a:gd name="T66" fmla="*/ 6810 w 10481"/>
                  <a:gd name="T67" fmla="*/ 2215 h 6258"/>
                  <a:gd name="T68" fmla="*/ 6360 w 10481"/>
                  <a:gd name="T69" fmla="*/ 2708 h 6258"/>
                  <a:gd name="T70" fmla="*/ 7049 w 10481"/>
                  <a:gd name="T71" fmla="*/ 1397 h 6258"/>
                  <a:gd name="T72" fmla="*/ 3777 w 10481"/>
                  <a:gd name="T73" fmla="*/ 2494 h 6258"/>
                  <a:gd name="T74" fmla="*/ 3267 w 10481"/>
                  <a:gd name="T75" fmla="*/ 2358 h 6258"/>
                  <a:gd name="T76" fmla="*/ 1383 w 10481"/>
                  <a:gd name="T77" fmla="*/ 2339 h 6258"/>
                  <a:gd name="T78" fmla="*/ 1013 w 10481"/>
                  <a:gd name="T79" fmla="*/ 1738 h 6258"/>
                  <a:gd name="T80" fmla="*/ 2782 w 10481"/>
                  <a:gd name="T81" fmla="*/ 1146 h 6258"/>
                  <a:gd name="T82" fmla="*/ 4110 w 10481"/>
                  <a:gd name="T83" fmla="*/ 1808 h 6258"/>
                  <a:gd name="T84" fmla="*/ 2246 w 10481"/>
                  <a:gd name="T85" fmla="*/ 1930 h 6258"/>
                  <a:gd name="T86" fmla="*/ 1481 w 10481"/>
                  <a:gd name="T87" fmla="*/ 1794 h 6258"/>
                  <a:gd name="T88" fmla="*/ 5298 w 10481"/>
                  <a:gd name="T89" fmla="*/ 1968 h 6258"/>
                  <a:gd name="T90" fmla="*/ 5183 w 10481"/>
                  <a:gd name="T91" fmla="*/ 1440 h 6258"/>
                  <a:gd name="T92" fmla="*/ 5235 w 10481"/>
                  <a:gd name="T93" fmla="*/ 1604 h 6258"/>
                  <a:gd name="T94" fmla="*/ 3262 w 10481"/>
                  <a:gd name="T95" fmla="*/ 972 h 6258"/>
                  <a:gd name="T96" fmla="*/ 1856 w 10481"/>
                  <a:gd name="T97" fmla="*/ 924 h 6258"/>
                  <a:gd name="T98" fmla="*/ 1716 w 10481"/>
                  <a:gd name="T99" fmla="*/ 418 h 6258"/>
                  <a:gd name="T100" fmla="*/ 3583 w 10481"/>
                  <a:gd name="T101" fmla="*/ 328 h 6258"/>
                  <a:gd name="T102" fmla="*/ 3847 w 10481"/>
                  <a:gd name="T103" fmla="*/ 918 h 6258"/>
                  <a:gd name="T104" fmla="*/ 3412 w 10481"/>
                  <a:gd name="T105" fmla="*/ 302 h 6258"/>
                  <a:gd name="T106" fmla="*/ 6547 w 10481"/>
                  <a:gd name="T107" fmla="*/ 1215 h 6258"/>
                  <a:gd name="T108" fmla="*/ 6772 w 10481"/>
                  <a:gd name="T109" fmla="*/ 378 h 6258"/>
                  <a:gd name="T110" fmla="*/ 8699 w 10481"/>
                  <a:gd name="T111" fmla="*/ 378 h 6258"/>
                  <a:gd name="T112" fmla="*/ 8663 w 10481"/>
                  <a:gd name="T113" fmla="*/ 943 h 6258"/>
                  <a:gd name="T114" fmla="*/ 7113 w 10481"/>
                  <a:gd name="T115" fmla="*/ 928 h 6258"/>
                  <a:gd name="T116" fmla="*/ 8535 w 10481"/>
                  <a:gd name="T117" fmla="*/ 602 h 6258"/>
                  <a:gd name="T118" fmla="*/ 7683 w 10481"/>
                  <a:gd name="T119" fmla="*/ 622 h 6258"/>
                  <a:gd name="T120" fmla="*/ 5259 w 10481"/>
                  <a:gd name="T121" fmla="*/ 1153 h 6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81" h="6258">
                    <a:moveTo>
                      <a:pt x="4993" y="6245"/>
                    </a:moveTo>
                    <a:cubicBezTo>
                      <a:pt x="4989" y="6238"/>
                      <a:pt x="4989" y="6203"/>
                      <a:pt x="4993" y="6168"/>
                    </a:cubicBezTo>
                    <a:cubicBezTo>
                      <a:pt x="4997" y="6133"/>
                      <a:pt x="5006" y="5927"/>
                      <a:pt x="5013" y="5711"/>
                    </a:cubicBezTo>
                    <a:cubicBezTo>
                      <a:pt x="5020" y="5495"/>
                      <a:pt x="5030" y="5247"/>
                      <a:pt x="5035" y="5161"/>
                    </a:cubicBezTo>
                    <a:lnTo>
                      <a:pt x="5044" y="5004"/>
                    </a:lnTo>
                    <a:lnTo>
                      <a:pt x="5229" y="5004"/>
                    </a:lnTo>
                    <a:cubicBezTo>
                      <a:pt x="5365" y="5004"/>
                      <a:pt x="5415" y="5009"/>
                      <a:pt x="5419" y="5021"/>
                    </a:cubicBezTo>
                    <a:cubicBezTo>
                      <a:pt x="5421" y="5030"/>
                      <a:pt x="5431" y="5242"/>
                      <a:pt x="5439" y="5491"/>
                    </a:cubicBezTo>
                    <a:cubicBezTo>
                      <a:pt x="5447" y="5740"/>
                      <a:pt x="5458" y="6015"/>
                      <a:pt x="5462" y="6101"/>
                    </a:cubicBezTo>
                    <a:lnTo>
                      <a:pt x="5470" y="6258"/>
                    </a:lnTo>
                    <a:lnTo>
                      <a:pt x="5236" y="6258"/>
                    </a:lnTo>
                    <a:cubicBezTo>
                      <a:pt x="5099" y="6258"/>
                      <a:pt x="4998" y="6252"/>
                      <a:pt x="4993" y="6245"/>
                    </a:cubicBezTo>
                    <a:close/>
                    <a:moveTo>
                      <a:pt x="196" y="5821"/>
                    </a:moveTo>
                    <a:cubicBezTo>
                      <a:pt x="154" y="5775"/>
                      <a:pt x="146" y="5722"/>
                      <a:pt x="146" y="5479"/>
                    </a:cubicBezTo>
                    <a:cubicBezTo>
                      <a:pt x="146" y="5261"/>
                      <a:pt x="144" y="5231"/>
                      <a:pt x="122" y="5203"/>
                    </a:cubicBezTo>
                    <a:cubicBezTo>
                      <a:pt x="48" y="5108"/>
                      <a:pt x="46" y="5099"/>
                      <a:pt x="48" y="4778"/>
                    </a:cubicBezTo>
                    <a:cubicBezTo>
                      <a:pt x="51" y="4323"/>
                      <a:pt x="87" y="4102"/>
                      <a:pt x="216" y="3759"/>
                    </a:cubicBezTo>
                    <a:cubicBezTo>
                      <a:pt x="279" y="3590"/>
                      <a:pt x="279" y="3590"/>
                      <a:pt x="144" y="3566"/>
                    </a:cubicBezTo>
                    <a:cubicBezTo>
                      <a:pt x="99" y="3558"/>
                      <a:pt x="49" y="3542"/>
                      <a:pt x="31" y="3531"/>
                    </a:cubicBezTo>
                    <a:cubicBezTo>
                      <a:pt x="3" y="3512"/>
                      <a:pt x="0" y="3501"/>
                      <a:pt x="0" y="3414"/>
                    </a:cubicBezTo>
                    <a:cubicBezTo>
                      <a:pt x="0" y="3361"/>
                      <a:pt x="5" y="3311"/>
                      <a:pt x="10" y="3302"/>
                    </a:cubicBezTo>
                    <a:cubicBezTo>
                      <a:pt x="31" y="3269"/>
                      <a:pt x="101" y="3258"/>
                      <a:pt x="293" y="3258"/>
                    </a:cubicBezTo>
                    <a:lnTo>
                      <a:pt x="491" y="3258"/>
                    </a:lnTo>
                    <a:lnTo>
                      <a:pt x="592" y="3112"/>
                    </a:lnTo>
                    <a:cubicBezTo>
                      <a:pt x="768" y="2857"/>
                      <a:pt x="902" y="2710"/>
                      <a:pt x="993" y="2671"/>
                    </a:cubicBezTo>
                    <a:cubicBezTo>
                      <a:pt x="1106" y="2623"/>
                      <a:pt x="1342" y="2580"/>
                      <a:pt x="1680" y="2546"/>
                    </a:cubicBezTo>
                    <a:cubicBezTo>
                      <a:pt x="2224" y="2490"/>
                      <a:pt x="2298" y="2488"/>
                      <a:pt x="2666" y="2518"/>
                    </a:cubicBezTo>
                    <a:cubicBezTo>
                      <a:pt x="3276" y="2567"/>
                      <a:pt x="3561" y="2617"/>
                      <a:pt x="3673" y="2695"/>
                    </a:cubicBezTo>
                    <a:cubicBezTo>
                      <a:pt x="3747" y="2747"/>
                      <a:pt x="3881" y="2905"/>
                      <a:pt x="4011" y="3095"/>
                    </a:cubicBezTo>
                    <a:lnTo>
                      <a:pt x="4121" y="3258"/>
                    </a:lnTo>
                    <a:lnTo>
                      <a:pt x="4335" y="3258"/>
                    </a:lnTo>
                    <a:cubicBezTo>
                      <a:pt x="4624" y="3258"/>
                      <a:pt x="4640" y="3266"/>
                      <a:pt x="4640" y="3423"/>
                    </a:cubicBezTo>
                    <a:cubicBezTo>
                      <a:pt x="4640" y="3527"/>
                      <a:pt x="4625" y="3543"/>
                      <a:pt x="4499" y="3570"/>
                    </a:cubicBezTo>
                    <a:cubicBezTo>
                      <a:pt x="4322" y="3609"/>
                      <a:pt x="4328" y="3601"/>
                      <a:pt x="4378" y="3721"/>
                    </a:cubicBezTo>
                    <a:cubicBezTo>
                      <a:pt x="4425" y="3832"/>
                      <a:pt x="4478" y="4006"/>
                      <a:pt x="4508" y="4144"/>
                    </a:cubicBezTo>
                    <a:cubicBezTo>
                      <a:pt x="4541" y="4298"/>
                      <a:pt x="4564" y="4640"/>
                      <a:pt x="4557" y="4871"/>
                    </a:cubicBezTo>
                    <a:cubicBezTo>
                      <a:pt x="4551" y="5068"/>
                      <a:pt x="4530" y="5141"/>
                      <a:pt x="4462" y="5203"/>
                    </a:cubicBezTo>
                    <a:lnTo>
                      <a:pt x="4426" y="5236"/>
                    </a:lnTo>
                    <a:lnTo>
                      <a:pt x="4426" y="5467"/>
                    </a:lnTo>
                    <a:cubicBezTo>
                      <a:pt x="4426" y="5712"/>
                      <a:pt x="4420" y="5744"/>
                      <a:pt x="4356" y="5814"/>
                    </a:cubicBezTo>
                    <a:cubicBezTo>
                      <a:pt x="4329" y="5843"/>
                      <a:pt x="4321" y="5844"/>
                      <a:pt x="4080" y="5844"/>
                    </a:cubicBezTo>
                    <a:cubicBezTo>
                      <a:pt x="3820" y="5844"/>
                      <a:pt x="3821" y="5845"/>
                      <a:pt x="3766" y="5780"/>
                    </a:cubicBezTo>
                    <a:cubicBezTo>
                      <a:pt x="3743" y="5753"/>
                      <a:pt x="3739" y="5722"/>
                      <a:pt x="3733" y="5553"/>
                    </a:cubicBezTo>
                    <a:lnTo>
                      <a:pt x="3726" y="5358"/>
                    </a:lnTo>
                    <a:lnTo>
                      <a:pt x="3693" y="5359"/>
                    </a:lnTo>
                    <a:cubicBezTo>
                      <a:pt x="3675" y="5360"/>
                      <a:pt x="3609" y="5367"/>
                      <a:pt x="3546" y="5375"/>
                    </a:cubicBezTo>
                    <a:cubicBezTo>
                      <a:pt x="3215" y="5418"/>
                      <a:pt x="3057" y="5424"/>
                      <a:pt x="2280" y="5424"/>
                    </a:cubicBezTo>
                    <a:cubicBezTo>
                      <a:pt x="1622" y="5424"/>
                      <a:pt x="1444" y="5420"/>
                      <a:pt x="1240" y="5400"/>
                    </a:cubicBezTo>
                    <a:cubicBezTo>
                      <a:pt x="1104" y="5387"/>
                      <a:pt x="969" y="5371"/>
                      <a:pt x="940" y="5364"/>
                    </a:cubicBezTo>
                    <a:cubicBezTo>
                      <a:pt x="834" y="5340"/>
                      <a:pt x="840" y="5328"/>
                      <a:pt x="840" y="5545"/>
                    </a:cubicBezTo>
                    <a:cubicBezTo>
                      <a:pt x="840" y="5713"/>
                      <a:pt x="836" y="5746"/>
                      <a:pt x="813" y="5792"/>
                    </a:cubicBezTo>
                    <a:lnTo>
                      <a:pt x="786" y="5844"/>
                    </a:lnTo>
                    <a:lnTo>
                      <a:pt x="502" y="5844"/>
                    </a:lnTo>
                    <a:cubicBezTo>
                      <a:pt x="248" y="5844"/>
                      <a:pt x="215" y="5842"/>
                      <a:pt x="196" y="5821"/>
                    </a:cubicBezTo>
                    <a:close/>
                    <a:moveTo>
                      <a:pt x="1008" y="4703"/>
                    </a:moveTo>
                    <a:cubicBezTo>
                      <a:pt x="1230" y="4567"/>
                      <a:pt x="1217" y="4251"/>
                      <a:pt x="986" y="4135"/>
                    </a:cubicBezTo>
                    <a:cubicBezTo>
                      <a:pt x="853" y="4068"/>
                      <a:pt x="727" y="4090"/>
                      <a:pt x="618" y="4199"/>
                    </a:cubicBezTo>
                    <a:cubicBezTo>
                      <a:pt x="543" y="4273"/>
                      <a:pt x="520" y="4328"/>
                      <a:pt x="520" y="4437"/>
                    </a:cubicBezTo>
                    <a:cubicBezTo>
                      <a:pt x="520" y="4555"/>
                      <a:pt x="613" y="4687"/>
                      <a:pt x="727" y="4730"/>
                    </a:cubicBezTo>
                    <a:cubicBezTo>
                      <a:pt x="812" y="4763"/>
                      <a:pt x="931" y="4751"/>
                      <a:pt x="1008" y="4703"/>
                    </a:cubicBezTo>
                    <a:close/>
                    <a:moveTo>
                      <a:pt x="3900" y="4726"/>
                    </a:moveTo>
                    <a:cubicBezTo>
                      <a:pt x="4020" y="4672"/>
                      <a:pt x="4093" y="4558"/>
                      <a:pt x="4093" y="4424"/>
                    </a:cubicBezTo>
                    <a:cubicBezTo>
                      <a:pt x="4093" y="4246"/>
                      <a:pt x="3968" y="4114"/>
                      <a:pt x="3785" y="4100"/>
                    </a:cubicBezTo>
                    <a:cubicBezTo>
                      <a:pt x="3581" y="4085"/>
                      <a:pt x="3406" y="4289"/>
                      <a:pt x="3452" y="4489"/>
                    </a:cubicBezTo>
                    <a:cubicBezTo>
                      <a:pt x="3497" y="4690"/>
                      <a:pt x="3721" y="4808"/>
                      <a:pt x="3900" y="4726"/>
                    </a:cubicBezTo>
                    <a:close/>
                    <a:moveTo>
                      <a:pt x="1576" y="3696"/>
                    </a:moveTo>
                    <a:cubicBezTo>
                      <a:pt x="2157" y="3683"/>
                      <a:pt x="2456" y="3683"/>
                      <a:pt x="3036" y="3696"/>
                    </a:cubicBezTo>
                    <a:cubicBezTo>
                      <a:pt x="3438" y="3705"/>
                      <a:pt x="3826" y="3716"/>
                      <a:pt x="3898" y="3720"/>
                    </a:cubicBezTo>
                    <a:lnTo>
                      <a:pt x="4030" y="3728"/>
                    </a:lnTo>
                    <a:lnTo>
                      <a:pt x="4020" y="3696"/>
                    </a:lnTo>
                    <a:cubicBezTo>
                      <a:pt x="4004" y="3646"/>
                      <a:pt x="3817" y="3275"/>
                      <a:pt x="3751" y="3163"/>
                    </a:cubicBezTo>
                    <a:cubicBezTo>
                      <a:pt x="3653" y="2999"/>
                      <a:pt x="3581" y="2917"/>
                      <a:pt x="3503" y="2880"/>
                    </a:cubicBezTo>
                    <a:cubicBezTo>
                      <a:pt x="3147" y="2713"/>
                      <a:pt x="2052" y="2670"/>
                      <a:pt x="1398" y="2798"/>
                    </a:cubicBezTo>
                    <a:cubicBezTo>
                      <a:pt x="1092" y="2857"/>
                      <a:pt x="1036" y="2891"/>
                      <a:pt x="894" y="3106"/>
                    </a:cubicBezTo>
                    <a:cubicBezTo>
                      <a:pt x="823" y="3214"/>
                      <a:pt x="586" y="3679"/>
                      <a:pt x="586" y="3711"/>
                    </a:cubicBezTo>
                    <a:cubicBezTo>
                      <a:pt x="586" y="3725"/>
                      <a:pt x="614" y="3727"/>
                      <a:pt x="716" y="3720"/>
                    </a:cubicBezTo>
                    <a:cubicBezTo>
                      <a:pt x="788" y="3716"/>
                      <a:pt x="1175" y="3705"/>
                      <a:pt x="1576" y="3696"/>
                    </a:cubicBezTo>
                    <a:close/>
                    <a:moveTo>
                      <a:pt x="6037" y="5821"/>
                    </a:moveTo>
                    <a:cubicBezTo>
                      <a:pt x="5998" y="5778"/>
                      <a:pt x="5987" y="5693"/>
                      <a:pt x="5987" y="5455"/>
                    </a:cubicBezTo>
                    <a:cubicBezTo>
                      <a:pt x="5986" y="5222"/>
                      <a:pt x="5986" y="5219"/>
                      <a:pt x="5952" y="5179"/>
                    </a:cubicBezTo>
                    <a:cubicBezTo>
                      <a:pt x="5886" y="5100"/>
                      <a:pt x="5871" y="4961"/>
                      <a:pt x="5892" y="4610"/>
                    </a:cubicBezTo>
                    <a:cubicBezTo>
                      <a:pt x="5916" y="4214"/>
                      <a:pt x="5971" y="3953"/>
                      <a:pt x="6088" y="3686"/>
                    </a:cubicBezTo>
                    <a:cubicBezTo>
                      <a:pt x="6106" y="3647"/>
                      <a:pt x="6120" y="3613"/>
                      <a:pt x="6120" y="3611"/>
                    </a:cubicBezTo>
                    <a:cubicBezTo>
                      <a:pt x="6120" y="3604"/>
                      <a:pt x="6043" y="3578"/>
                      <a:pt x="5961" y="3558"/>
                    </a:cubicBezTo>
                    <a:cubicBezTo>
                      <a:pt x="5914" y="3547"/>
                      <a:pt x="5867" y="3530"/>
                      <a:pt x="5857" y="3522"/>
                    </a:cubicBezTo>
                    <a:cubicBezTo>
                      <a:pt x="5846" y="3513"/>
                      <a:pt x="5840" y="3475"/>
                      <a:pt x="5840" y="3411"/>
                    </a:cubicBezTo>
                    <a:cubicBezTo>
                      <a:pt x="5840" y="3267"/>
                      <a:pt x="5842" y="3265"/>
                      <a:pt x="6118" y="3260"/>
                    </a:cubicBezTo>
                    <a:lnTo>
                      <a:pt x="6341" y="3256"/>
                    </a:lnTo>
                    <a:lnTo>
                      <a:pt x="6380" y="3194"/>
                    </a:lnTo>
                    <a:cubicBezTo>
                      <a:pt x="6520" y="2971"/>
                      <a:pt x="6754" y="2702"/>
                      <a:pt x="6836" y="2669"/>
                    </a:cubicBezTo>
                    <a:cubicBezTo>
                      <a:pt x="6985" y="2609"/>
                      <a:pt x="7394" y="2549"/>
                      <a:pt x="7924" y="2510"/>
                    </a:cubicBezTo>
                    <a:cubicBezTo>
                      <a:pt x="8104" y="2496"/>
                      <a:pt x="8198" y="2496"/>
                      <a:pt x="8397" y="2509"/>
                    </a:cubicBezTo>
                    <a:cubicBezTo>
                      <a:pt x="8955" y="2546"/>
                      <a:pt x="9353" y="2606"/>
                      <a:pt x="9479" y="2671"/>
                    </a:cubicBezTo>
                    <a:cubicBezTo>
                      <a:pt x="9568" y="2717"/>
                      <a:pt x="9720" y="2891"/>
                      <a:pt x="9885" y="3138"/>
                    </a:cubicBezTo>
                    <a:lnTo>
                      <a:pt x="9961" y="3251"/>
                    </a:lnTo>
                    <a:lnTo>
                      <a:pt x="10192" y="3258"/>
                    </a:lnTo>
                    <a:cubicBezTo>
                      <a:pt x="10481" y="3266"/>
                      <a:pt x="10480" y="3266"/>
                      <a:pt x="10480" y="3419"/>
                    </a:cubicBezTo>
                    <a:cubicBezTo>
                      <a:pt x="10480" y="3521"/>
                      <a:pt x="10479" y="3524"/>
                      <a:pt x="10440" y="3544"/>
                    </a:cubicBezTo>
                    <a:cubicBezTo>
                      <a:pt x="10419" y="3555"/>
                      <a:pt x="10390" y="3564"/>
                      <a:pt x="10377" y="3564"/>
                    </a:cubicBezTo>
                    <a:cubicBezTo>
                      <a:pt x="10348" y="3564"/>
                      <a:pt x="10197" y="3602"/>
                      <a:pt x="10188" y="3612"/>
                    </a:cubicBezTo>
                    <a:cubicBezTo>
                      <a:pt x="10185" y="3615"/>
                      <a:pt x="10195" y="3649"/>
                      <a:pt x="10211" y="3688"/>
                    </a:cubicBezTo>
                    <a:cubicBezTo>
                      <a:pt x="10283" y="3865"/>
                      <a:pt x="10345" y="4079"/>
                      <a:pt x="10372" y="4251"/>
                    </a:cubicBezTo>
                    <a:cubicBezTo>
                      <a:pt x="10397" y="4408"/>
                      <a:pt x="10412" y="4800"/>
                      <a:pt x="10399" y="4948"/>
                    </a:cubicBezTo>
                    <a:cubicBezTo>
                      <a:pt x="10387" y="5096"/>
                      <a:pt x="10378" y="5119"/>
                      <a:pt x="10311" y="5194"/>
                    </a:cubicBezTo>
                    <a:lnTo>
                      <a:pt x="10266" y="5244"/>
                    </a:lnTo>
                    <a:lnTo>
                      <a:pt x="10266" y="5481"/>
                    </a:lnTo>
                    <a:cubicBezTo>
                      <a:pt x="10266" y="5697"/>
                      <a:pt x="10264" y="5722"/>
                      <a:pt x="10239" y="5764"/>
                    </a:cubicBezTo>
                    <a:cubicBezTo>
                      <a:pt x="10191" y="5844"/>
                      <a:pt x="10190" y="5844"/>
                      <a:pt x="9918" y="5844"/>
                    </a:cubicBezTo>
                    <a:lnTo>
                      <a:pt x="9669" y="5844"/>
                    </a:lnTo>
                    <a:lnTo>
                      <a:pt x="9621" y="5789"/>
                    </a:lnTo>
                    <a:lnTo>
                      <a:pt x="9573" y="5733"/>
                    </a:lnTo>
                    <a:lnTo>
                      <a:pt x="9573" y="5542"/>
                    </a:lnTo>
                    <a:cubicBezTo>
                      <a:pt x="9573" y="5329"/>
                      <a:pt x="9579" y="5340"/>
                      <a:pt x="9473" y="5364"/>
                    </a:cubicBezTo>
                    <a:cubicBezTo>
                      <a:pt x="9444" y="5371"/>
                      <a:pt x="9306" y="5387"/>
                      <a:pt x="9166" y="5400"/>
                    </a:cubicBezTo>
                    <a:cubicBezTo>
                      <a:pt x="8796" y="5434"/>
                      <a:pt x="7442" y="5434"/>
                      <a:pt x="7073" y="5400"/>
                    </a:cubicBezTo>
                    <a:cubicBezTo>
                      <a:pt x="6934" y="5387"/>
                      <a:pt x="6796" y="5371"/>
                      <a:pt x="6766" y="5364"/>
                    </a:cubicBezTo>
                    <a:cubicBezTo>
                      <a:pt x="6663" y="5340"/>
                      <a:pt x="6669" y="5327"/>
                      <a:pt x="6664" y="5561"/>
                    </a:cubicBezTo>
                    <a:cubicBezTo>
                      <a:pt x="6661" y="5679"/>
                      <a:pt x="6652" y="5787"/>
                      <a:pt x="6643" y="5808"/>
                    </a:cubicBezTo>
                    <a:lnTo>
                      <a:pt x="6627" y="5844"/>
                    </a:lnTo>
                    <a:lnTo>
                      <a:pt x="6342" y="5844"/>
                    </a:lnTo>
                    <a:cubicBezTo>
                      <a:pt x="6088" y="5844"/>
                      <a:pt x="6055" y="5842"/>
                      <a:pt x="6037" y="5821"/>
                    </a:cubicBezTo>
                    <a:close/>
                    <a:moveTo>
                      <a:pt x="6820" y="4719"/>
                    </a:moveTo>
                    <a:cubicBezTo>
                      <a:pt x="6900" y="4681"/>
                      <a:pt x="6949" y="4632"/>
                      <a:pt x="6985" y="4551"/>
                    </a:cubicBezTo>
                    <a:cubicBezTo>
                      <a:pt x="7106" y="4284"/>
                      <a:pt x="6812" y="4001"/>
                      <a:pt x="6549" y="4132"/>
                    </a:cubicBezTo>
                    <a:cubicBezTo>
                      <a:pt x="6433" y="4190"/>
                      <a:pt x="6360" y="4303"/>
                      <a:pt x="6360" y="4424"/>
                    </a:cubicBezTo>
                    <a:cubicBezTo>
                      <a:pt x="6360" y="4658"/>
                      <a:pt x="6610" y="4818"/>
                      <a:pt x="6820" y="4719"/>
                    </a:cubicBezTo>
                    <a:close/>
                    <a:moveTo>
                      <a:pt x="9730" y="4731"/>
                    </a:moveTo>
                    <a:cubicBezTo>
                      <a:pt x="9805" y="4699"/>
                      <a:pt x="9862" y="4649"/>
                      <a:pt x="9902" y="4581"/>
                    </a:cubicBezTo>
                    <a:cubicBezTo>
                      <a:pt x="9933" y="4529"/>
                      <a:pt x="9939" y="4503"/>
                      <a:pt x="9939" y="4424"/>
                    </a:cubicBezTo>
                    <a:cubicBezTo>
                      <a:pt x="9939" y="4346"/>
                      <a:pt x="9933" y="4320"/>
                      <a:pt x="9902" y="4268"/>
                    </a:cubicBezTo>
                    <a:cubicBezTo>
                      <a:pt x="9795" y="4084"/>
                      <a:pt x="9563" y="4043"/>
                      <a:pt x="9407" y="4180"/>
                    </a:cubicBezTo>
                    <a:cubicBezTo>
                      <a:pt x="9180" y="4380"/>
                      <a:pt x="9315" y="4746"/>
                      <a:pt x="9617" y="4750"/>
                    </a:cubicBezTo>
                    <a:cubicBezTo>
                      <a:pt x="9652" y="4751"/>
                      <a:pt x="9703" y="4742"/>
                      <a:pt x="9730" y="4731"/>
                    </a:cubicBezTo>
                    <a:close/>
                    <a:moveTo>
                      <a:pt x="7431" y="3696"/>
                    </a:moveTo>
                    <a:cubicBezTo>
                      <a:pt x="7999" y="3683"/>
                      <a:pt x="8301" y="3683"/>
                      <a:pt x="8878" y="3696"/>
                    </a:cubicBezTo>
                    <a:cubicBezTo>
                      <a:pt x="9278" y="3705"/>
                      <a:pt x="9665" y="3716"/>
                      <a:pt x="9736" y="3720"/>
                    </a:cubicBezTo>
                    <a:cubicBezTo>
                      <a:pt x="9848" y="3727"/>
                      <a:pt x="9866" y="3725"/>
                      <a:pt x="9866" y="3708"/>
                    </a:cubicBezTo>
                    <a:cubicBezTo>
                      <a:pt x="9866" y="3671"/>
                      <a:pt x="9627" y="3206"/>
                      <a:pt x="9545" y="3084"/>
                    </a:cubicBezTo>
                    <a:cubicBezTo>
                      <a:pt x="9412" y="2886"/>
                      <a:pt x="9353" y="2852"/>
                      <a:pt x="9026" y="2792"/>
                    </a:cubicBezTo>
                    <a:cubicBezTo>
                      <a:pt x="8380" y="2671"/>
                      <a:pt x="7297" y="2717"/>
                      <a:pt x="6952" y="2879"/>
                    </a:cubicBezTo>
                    <a:cubicBezTo>
                      <a:pt x="6877" y="2914"/>
                      <a:pt x="6806" y="2995"/>
                      <a:pt x="6707" y="3158"/>
                    </a:cubicBezTo>
                    <a:cubicBezTo>
                      <a:pt x="6647" y="3257"/>
                      <a:pt x="6426" y="3696"/>
                      <a:pt x="6426" y="3716"/>
                    </a:cubicBezTo>
                    <a:cubicBezTo>
                      <a:pt x="6426" y="3723"/>
                      <a:pt x="6487" y="3725"/>
                      <a:pt x="6570" y="3720"/>
                    </a:cubicBezTo>
                    <a:cubicBezTo>
                      <a:pt x="6649" y="3716"/>
                      <a:pt x="7036" y="3705"/>
                      <a:pt x="7431" y="3696"/>
                    </a:cubicBezTo>
                    <a:close/>
                    <a:moveTo>
                      <a:pt x="5058" y="4548"/>
                    </a:moveTo>
                    <a:cubicBezTo>
                      <a:pt x="5063" y="4443"/>
                      <a:pt x="5071" y="4263"/>
                      <a:pt x="5075" y="4148"/>
                    </a:cubicBezTo>
                    <a:lnTo>
                      <a:pt x="5084" y="3938"/>
                    </a:lnTo>
                    <a:lnTo>
                      <a:pt x="5227" y="3938"/>
                    </a:lnTo>
                    <a:lnTo>
                      <a:pt x="5371" y="3938"/>
                    </a:lnTo>
                    <a:lnTo>
                      <a:pt x="5378" y="4001"/>
                    </a:lnTo>
                    <a:cubicBezTo>
                      <a:pt x="5382" y="4036"/>
                      <a:pt x="5390" y="4216"/>
                      <a:pt x="5394" y="4401"/>
                    </a:cubicBezTo>
                    <a:lnTo>
                      <a:pt x="5403" y="4738"/>
                    </a:lnTo>
                    <a:lnTo>
                      <a:pt x="5226" y="4738"/>
                    </a:lnTo>
                    <a:lnTo>
                      <a:pt x="5049" y="4738"/>
                    </a:lnTo>
                    <a:lnTo>
                      <a:pt x="5058" y="4548"/>
                    </a:lnTo>
                    <a:close/>
                    <a:moveTo>
                      <a:pt x="5097" y="3706"/>
                    </a:moveTo>
                    <a:cubicBezTo>
                      <a:pt x="5090" y="3695"/>
                      <a:pt x="5099" y="3439"/>
                      <a:pt x="5115" y="3194"/>
                    </a:cubicBezTo>
                    <a:lnTo>
                      <a:pt x="5123" y="3071"/>
                    </a:lnTo>
                    <a:lnTo>
                      <a:pt x="5233" y="3071"/>
                    </a:lnTo>
                    <a:lnTo>
                      <a:pt x="5343" y="3071"/>
                    </a:lnTo>
                    <a:lnTo>
                      <a:pt x="5353" y="3385"/>
                    </a:lnTo>
                    <a:cubicBezTo>
                      <a:pt x="5359" y="3558"/>
                      <a:pt x="5360" y="3702"/>
                      <a:pt x="5356" y="3706"/>
                    </a:cubicBezTo>
                    <a:cubicBezTo>
                      <a:pt x="5344" y="3718"/>
                      <a:pt x="5104" y="3718"/>
                      <a:pt x="5097" y="3706"/>
                    </a:cubicBezTo>
                    <a:close/>
                    <a:moveTo>
                      <a:pt x="5160" y="2862"/>
                    </a:moveTo>
                    <a:lnTo>
                      <a:pt x="5126" y="2857"/>
                    </a:lnTo>
                    <a:lnTo>
                      <a:pt x="5131" y="2680"/>
                    </a:lnTo>
                    <a:cubicBezTo>
                      <a:pt x="5133" y="2584"/>
                      <a:pt x="5139" y="2462"/>
                      <a:pt x="5144" y="2411"/>
                    </a:cubicBezTo>
                    <a:lnTo>
                      <a:pt x="5153" y="2318"/>
                    </a:lnTo>
                    <a:lnTo>
                      <a:pt x="5205" y="2313"/>
                    </a:lnTo>
                    <a:cubicBezTo>
                      <a:pt x="5321" y="2304"/>
                      <a:pt x="5315" y="2291"/>
                      <a:pt x="5323" y="2587"/>
                    </a:cubicBezTo>
                    <a:cubicBezTo>
                      <a:pt x="5328" y="2778"/>
                      <a:pt x="5326" y="2854"/>
                      <a:pt x="5315" y="2861"/>
                    </a:cubicBezTo>
                    <a:cubicBezTo>
                      <a:pt x="5300" y="2871"/>
                      <a:pt x="5220" y="2871"/>
                      <a:pt x="5160" y="2862"/>
                    </a:cubicBezTo>
                    <a:close/>
                    <a:moveTo>
                      <a:pt x="6360" y="2708"/>
                    </a:moveTo>
                    <a:cubicBezTo>
                      <a:pt x="6361" y="2394"/>
                      <a:pt x="6400" y="2158"/>
                      <a:pt x="6487" y="1939"/>
                    </a:cubicBezTo>
                    <a:cubicBezTo>
                      <a:pt x="6510" y="1883"/>
                      <a:pt x="6510" y="1880"/>
                      <a:pt x="6487" y="1863"/>
                    </a:cubicBezTo>
                    <a:cubicBezTo>
                      <a:pt x="6475" y="1854"/>
                      <a:pt x="6439" y="1842"/>
                      <a:pt x="6409" y="1837"/>
                    </a:cubicBezTo>
                    <a:cubicBezTo>
                      <a:pt x="6378" y="1832"/>
                      <a:pt x="6343" y="1819"/>
                      <a:pt x="6330" y="1808"/>
                    </a:cubicBezTo>
                    <a:cubicBezTo>
                      <a:pt x="6305" y="1786"/>
                      <a:pt x="6298" y="1705"/>
                      <a:pt x="6318" y="1674"/>
                    </a:cubicBezTo>
                    <a:cubicBezTo>
                      <a:pt x="6335" y="1646"/>
                      <a:pt x="6413" y="1631"/>
                      <a:pt x="6546" y="1630"/>
                    </a:cubicBezTo>
                    <a:lnTo>
                      <a:pt x="6673" y="1629"/>
                    </a:lnTo>
                    <a:lnTo>
                      <a:pt x="6737" y="1532"/>
                    </a:lnTo>
                    <a:cubicBezTo>
                      <a:pt x="6814" y="1415"/>
                      <a:pt x="6936" y="1277"/>
                      <a:pt x="6985" y="1253"/>
                    </a:cubicBezTo>
                    <a:cubicBezTo>
                      <a:pt x="7029" y="1230"/>
                      <a:pt x="7117" y="1209"/>
                      <a:pt x="7235" y="1191"/>
                    </a:cubicBezTo>
                    <a:cubicBezTo>
                      <a:pt x="7364" y="1171"/>
                      <a:pt x="7877" y="1126"/>
                      <a:pt x="7904" y="1132"/>
                    </a:cubicBezTo>
                    <a:cubicBezTo>
                      <a:pt x="7916" y="1135"/>
                      <a:pt x="8022" y="1143"/>
                      <a:pt x="8140" y="1151"/>
                    </a:cubicBezTo>
                    <a:cubicBezTo>
                      <a:pt x="8380" y="1167"/>
                      <a:pt x="8584" y="1195"/>
                      <a:pt x="8693" y="1226"/>
                    </a:cubicBezTo>
                    <a:cubicBezTo>
                      <a:pt x="8781" y="1251"/>
                      <a:pt x="8854" y="1321"/>
                      <a:pt x="8986" y="1509"/>
                    </a:cubicBezTo>
                    <a:lnTo>
                      <a:pt x="9072" y="1631"/>
                    </a:lnTo>
                    <a:lnTo>
                      <a:pt x="9213" y="1631"/>
                    </a:lnTo>
                    <a:cubicBezTo>
                      <a:pt x="9396" y="1631"/>
                      <a:pt x="9416" y="1643"/>
                      <a:pt x="9410" y="1748"/>
                    </a:cubicBezTo>
                    <a:lnTo>
                      <a:pt x="9406" y="1823"/>
                    </a:lnTo>
                    <a:lnTo>
                      <a:pt x="9317" y="1845"/>
                    </a:lnTo>
                    <a:cubicBezTo>
                      <a:pt x="9216" y="1869"/>
                      <a:pt x="9203" y="1876"/>
                      <a:pt x="9223" y="1901"/>
                    </a:cubicBezTo>
                    <a:cubicBezTo>
                      <a:pt x="9241" y="1923"/>
                      <a:pt x="9302" y="2107"/>
                      <a:pt x="9327" y="2214"/>
                    </a:cubicBezTo>
                    <a:cubicBezTo>
                      <a:pt x="9350" y="2314"/>
                      <a:pt x="9352" y="2391"/>
                      <a:pt x="9333" y="2391"/>
                    </a:cubicBezTo>
                    <a:cubicBezTo>
                      <a:pt x="9325" y="2391"/>
                      <a:pt x="9259" y="2381"/>
                      <a:pt x="9185" y="2369"/>
                    </a:cubicBezTo>
                    <a:cubicBezTo>
                      <a:pt x="9076" y="2351"/>
                      <a:pt x="9049" y="2342"/>
                      <a:pt x="9037" y="2319"/>
                    </a:cubicBezTo>
                    <a:cubicBezTo>
                      <a:pt x="8967" y="2182"/>
                      <a:pt x="8799" y="2152"/>
                      <a:pt x="8692" y="2259"/>
                    </a:cubicBezTo>
                    <a:lnTo>
                      <a:pt x="8641" y="2310"/>
                    </a:lnTo>
                    <a:lnTo>
                      <a:pt x="8524" y="2296"/>
                    </a:lnTo>
                    <a:cubicBezTo>
                      <a:pt x="8358" y="2277"/>
                      <a:pt x="8011" y="2277"/>
                      <a:pt x="7806" y="2296"/>
                    </a:cubicBezTo>
                    <a:cubicBezTo>
                      <a:pt x="7552" y="2320"/>
                      <a:pt x="7170" y="2364"/>
                      <a:pt x="7144" y="2372"/>
                    </a:cubicBezTo>
                    <a:cubicBezTo>
                      <a:pt x="7127" y="2377"/>
                      <a:pt x="7114" y="2364"/>
                      <a:pt x="7094" y="2326"/>
                    </a:cubicBezTo>
                    <a:cubicBezTo>
                      <a:pt x="7036" y="2213"/>
                      <a:pt x="6919" y="2167"/>
                      <a:pt x="6810" y="2215"/>
                    </a:cubicBezTo>
                    <a:cubicBezTo>
                      <a:pt x="6723" y="2253"/>
                      <a:pt x="6687" y="2311"/>
                      <a:pt x="6685" y="2414"/>
                    </a:cubicBezTo>
                    <a:lnTo>
                      <a:pt x="6684" y="2496"/>
                    </a:lnTo>
                    <a:lnTo>
                      <a:pt x="6612" y="2555"/>
                    </a:lnTo>
                    <a:cubicBezTo>
                      <a:pt x="6547" y="2608"/>
                      <a:pt x="6400" y="2773"/>
                      <a:pt x="6389" y="2805"/>
                    </a:cubicBezTo>
                    <a:cubicBezTo>
                      <a:pt x="6386" y="2812"/>
                      <a:pt x="6379" y="2818"/>
                      <a:pt x="6372" y="2818"/>
                    </a:cubicBezTo>
                    <a:cubicBezTo>
                      <a:pt x="6365" y="2818"/>
                      <a:pt x="6360" y="2768"/>
                      <a:pt x="6360" y="2708"/>
                    </a:cubicBezTo>
                    <a:close/>
                    <a:moveTo>
                      <a:pt x="7560" y="1930"/>
                    </a:moveTo>
                    <a:cubicBezTo>
                      <a:pt x="7923" y="1925"/>
                      <a:pt x="8397" y="1928"/>
                      <a:pt x="8613" y="1935"/>
                    </a:cubicBezTo>
                    <a:cubicBezTo>
                      <a:pt x="8829" y="1942"/>
                      <a:pt x="9009" y="1946"/>
                      <a:pt x="9012" y="1943"/>
                    </a:cubicBezTo>
                    <a:cubicBezTo>
                      <a:pt x="9022" y="1933"/>
                      <a:pt x="8833" y="1572"/>
                      <a:pt x="8778" y="1497"/>
                    </a:cubicBezTo>
                    <a:cubicBezTo>
                      <a:pt x="8708" y="1402"/>
                      <a:pt x="8677" y="1381"/>
                      <a:pt x="8563" y="1350"/>
                    </a:cubicBezTo>
                    <a:cubicBezTo>
                      <a:pt x="8154" y="1241"/>
                      <a:pt x="7241" y="1269"/>
                      <a:pt x="7049" y="1397"/>
                    </a:cubicBezTo>
                    <a:cubicBezTo>
                      <a:pt x="6992" y="1434"/>
                      <a:pt x="6900" y="1574"/>
                      <a:pt x="6801" y="1772"/>
                    </a:cubicBezTo>
                    <a:cubicBezTo>
                      <a:pt x="6756" y="1862"/>
                      <a:pt x="6720" y="1940"/>
                      <a:pt x="6720" y="1945"/>
                    </a:cubicBezTo>
                    <a:cubicBezTo>
                      <a:pt x="6720" y="1951"/>
                      <a:pt x="6760" y="1951"/>
                      <a:pt x="6810" y="1946"/>
                    </a:cubicBezTo>
                    <a:cubicBezTo>
                      <a:pt x="6859" y="1941"/>
                      <a:pt x="7197" y="1934"/>
                      <a:pt x="7560" y="1930"/>
                    </a:cubicBezTo>
                    <a:close/>
                    <a:moveTo>
                      <a:pt x="3927" y="2633"/>
                    </a:moveTo>
                    <a:cubicBezTo>
                      <a:pt x="3861" y="2564"/>
                      <a:pt x="3793" y="2501"/>
                      <a:pt x="3777" y="2494"/>
                    </a:cubicBezTo>
                    <a:cubicBezTo>
                      <a:pt x="3751" y="2482"/>
                      <a:pt x="3746" y="2470"/>
                      <a:pt x="3746" y="2415"/>
                    </a:cubicBezTo>
                    <a:cubicBezTo>
                      <a:pt x="3746" y="2335"/>
                      <a:pt x="3721" y="2284"/>
                      <a:pt x="3658" y="2235"/>
                    </a:cubicBezTo>
                    <a:cubicBezTo>
                      <a:pt x="3618" y="2205"/>
                      <a:pt x="3596" y="2198"/>
                      <a:pt x="3533" y="2198"/>
                    </a:cubicBezTo>
                    <a:cubicBezTo>
                      <a:pt x="3470" y="2198"/>
                      <a:pt x="3449" y="2205"/>
                      <a:pt x="3408" y="2236"/>
                    </a:cubicBezTo>
                    <a:cubicBezTo>
                      <a:pt x="3380" y="2257"/>
                      <a:pt x="3348" y="2294"/>
                      <a:pt x="3337" y="2319"/>
                    </a:cubicBezTo>
                    <a:cubicBezTo>
                      <a:pt x="3317" y="2360"/>
                      <a:pt x="3311" y="2363"/>
                      <a:pt x="3267" y="2358"/>
                    </a:cubicBezTo>
                    <a:cubicBezTo>
                      <a:pt x="3241" y="2354"/>
                      <a:pt x="3175" y="2345"/>
                      <a:pt x="3120" y="2338"/>
                    </a:cubicBezTo>
                    <a:cubicBezTo>
                      <a:pt x="2714" y="2284"/>
                      <a:pt x="2254" y="2268"/>
                      <a:pt x="1970" y="2297"/>
                    </a:cubicBezTo>
                    <a:lnTo>
                      <a:pt x="1801" y="2314"/>
                    </a:lnTo>
                    <a:lnTo>
                      <a:pt x="1739" y="2260"/>
                    </a:lnTo>
                    <a:cubicBezTo>
                      <a:pt x="1660" y="2190"/>
                      <a:pt x="1589" y="2177"/>
                      <a:pt x="1503" y="2215"/>
                    </a:cubicBezTo>
                    <a:cubicBezTo>
                      <a:pt x="1448" y="2239"/>
                      <a:pt x="1402" y="2287"/>
                      <a:pt x="1383" y="2339"/>
                    </a:cubicBezTo>
                    <a:cubicBezTo>
                      <a:pt x="1378" y="2355"/>
                      <a:pt x="1344" y="2366"/>
                      <a:pt x="1264" y="2378"/>
                    </a:cubicBezTo>
                    <a:cubicBezTo>
                      <a:pt x="1203" y="2387"/>
                      <a:pt x="1139" y="2400"/>
                      <a:pt x="1121" y="2407"/>
                    </a:cubicBezTo>
                    <a:cubicBezTo>
                      <a:pt x="1103" y="2413"/>
                      <a:pt x="1084" y="2414"/>
                      <a:pt x="1079" y="2408"/>
                    </a:cubicBezTo>
                    <a:cubicBezTo>
                      <a:pt x="1060" y="2389"/>
                      <a:pt x="1102" y="2173"/>
                      <a:pt x="1154" y="2020"/>
                    </a:cubicBezTo>
                    <a:cubicBezTo>
                      <a:pt x="1211" y="1852"/>
                      <a:pt x="1211" y="1853"/>
                      <a:pt x="1113" y="1837"/>
                    </a:cubicBezTo>
                    <a:cubicBezTo>
                      <a:pt x="1041" y="1825"/>
                      <a:pt x="1013" y="1798"/>
                      <a:pt x="1013" y="1738"/>
                    </a:cubicBezTo>
                    <a:cubicBezTo>
                      <a:pt x="1013" y="1648"/>
                      <a:pt x="1031" y="1639"/>
                      <a:pt x="1205" y="1633"/>
                    </a:cubicBezTo>
                    <a:lnTo>
                      <a:pt x="1360" y="1628"/>
                    </a:lnTo>
                    <a:lnTo>
                      <a:pt x="1436" y="1520"/>
                    </a:lnTo>
                    <a:cubicBezTo>
                      <a:pt x="1524" y="1394"/>
                      <a:pt x="1632" y="1276"/>
                      <a:pt x="1680" y="1252"/>
                    </a:cubicBezTo>
                    <a:cubicBezTo>
                      <a:pt x="1760" y="1211"/>
                      <a:pt x="1931" y="1184"/>
                      <a:pt x="2295" y="1153"/>
                    </a:cubicBezTo>
                    <a:cubicBezTo>
                      <a:pt x="2521" y="1133"/>
                      <a:pt x="2588" y="1133"/>
                      <a:pt x="2782" y="1146"/>
                    </a:cubicBezTo>
                    <a:cubicBezTo>
                      <a:pt x="3173" y="1175"/>
                      <a:pt x="3378" y="1209"/>
                      <a:pt x="3462" y="1260"/>
                    </a:cubicBezTo>
                    <a:cubicBezTo>
                      <a:pt x="3508" y="1287"/>
                      <a:pt x="3617" y="1416"/>
                      <a:pt x="3705" y="1547"/>
                    </a:cubicBezTo>
                    <a:lnTo>
                      <a:pt x="3761" y="1629"/>
                    </a:lnTo>
                    <a:lnTo>
                      <a:pt x="3921" y="1633"/>
                    </a:lnTo>
                    <a:cubicBezTo>
                      <a:pt x="4072" y="1637"/>
                      <a:pt x="4084" y="1640"/>
                      <a:pt x="4108" y="1669"/>
                    </a:cubicBezTo>
                    <a:cubicBezTo>
                      <a:pt x="4140" y="1709"/>
                      <a:pt x="4141" y="1780"/>
                      <a:pt x="4110" y="1808"/>
                    </a:cubicBezTo>
                    <a:cubicBezTo>
                      <a:pt x="4097" y="1819"/>
                      <a:pt x="4052" y="1836"/>
                      <a:pt x="4011" y="1845"/>
                    </a:cubicBezTo>
                    <a:cubicBezTo>
                      <a:pt x="3906" y="1868"/>
                      <a:pt x="3900" y="1873"/>
                      <a:pt x="3924" y="1919"/>
                    </a:cubicBezTo>
                    <a:cubicBezTo>
                      <a:pt x="4004" y="2077"/>
                      <a:pt x="4056" y="2352"/>
                      <a:pt x="4050" y="2591"/>
                    </a:cubicBezTo>
                    <a:lnTo>
                      <a:pt x="4046" y="2759"/>
                    </a:lnTo>
                    <a:lnTo>
                      <a:pt x="3927" y="2633"/>
                    </a:lnTo>
                    <a:close/>
                    <a:moveTo>
                      <a:pt x="2246" y="1930"/>
                    </a:moveTo>
                    <a:cubicBezTo>
                      <a:pt x="2620" y="1925"/>
                      <a:pt x="3097" y="1928"/>
                      <a:pt x="3306" y="1935"/>
                    </a:cubicBezTo>
                    <a:cubicBezTo>
                      <a:pt x="3515" y="1942"/>
                      <a:pt x="3691" y="1944"/>
                      <a:pt x="3696" y="1939"/>
                    </a:cubicBezTo>
                    <a:cubicBezTo>
                      <a:pt x="3705" y="1931"/>
                      <a:pt x="3569" y="1646"/>
                      <a:pt x="3513" y="1558"/>
                    </a:cubicBezTo>
                    <a:cubicBezTo>
                      <a:pt x="3465" y="1481"/>
                      <a:pt x="3397" y="1404"/>
                      <a:pt x="3362" y="1386"/>
                    </a:cubicBezTo>
                    <a:cubicBezTo>
                      <a:pt x="3096" y="1249"/>
                      <a:pt x="2024" y="1249"/>
                      <a:pt x="1758" y="1386"/>
                    </a:cubicBezTo>
                    <a:cubicBezTo>
                      <a:pt x="1689" y="1421"/>
                      <a:pt x="1585" y="1575"/>
                      <a:pt x="1481" y="1794"/>
                    </a:cubicBezTo>
                    <a:cubicBezTo>
                      <a:pt x="1408" y="1949"/>
                      <a:pt x="1408" y="1957"/>
                      <a:pt x="1496" y="1946"/>
                    </a:cubicBezTo>
                    <a:cubicBezTo>
                      <a:pt x="1535" y="1941"/>
                      <a:pt x="1872" y="1934"/>
                      <a:pt x="2246" y="1930"/>
                    </a:cubicBezTo>
                    <a:close/>
                    <a:moveTo>
                      <a:pt x="5158" y="2008"/>
                    </a:moveTo>
                    <a:cubicBezTo>
                      <a:pt x="5163" y="1775"/>
                      <a:pt x="5170" y="1745"/>
                      <a:pt x="5220" y="1741"/>
                    </a:cubicBezTo>
                    <a:cubicBezTo>
                      <a:pt x="5242" y="1739"/>
                      <a:pt x="5266" y="1742"/>
                      <a:pt x="5274" y="1748"/>
                    </a:cubicBezTo>
                    <a:cubicBezTo>
                      <a:pt x="5283" y="1754"/>
                      <a:pt x="5292" y="1840"/>
                      <a:pt x="5298" y="1968"/>
                    </a:cubicBezTo>
                    <a:lnTo>
                      <a:pt x="5306" y="2178"/>
                    </a:lnTo>
                    <a:lnTo>
                      <a:pt x="5230" y="2178"/>
                    </a:lnTo>
                    <a:lnTo>
                      <a:pt x="5153" y="2178"/>
                    </a:lnTo>
                    <a:lnTo>
                      <a:pt x="5158" y="2008"/>
                    </a:lnTo>
                    <a:close/>
                    <a:moveTo>
                      <a:pt x="5182" y="1594"/>
                    </a:moveTo>
                    <a:cubicBezTo>
                      <a:pt x="5178" y="1589"/>
                      <a:pt x="5179" y="1520"/>
                      <a:pt x="5183" y="1440"/>
                    </a:cubicBezTo>
                    <a:lnTo>
                      <a:pt x="5190" y="1296"/>
                    </a:lnTo>
                    <a:lnTo>
                      <a:pt x="5232" y="1300"/>
                    </a:lnTo>
                    <a:lnTo>
                      <a:pt x="5273" y="1304"/>
                    </a:lnTo>
                    <a:lnTo>
                      <a:pt x="5277" y="1454"/>
                    </a:lnTo>
                    <a:lnTo>
                      <a:pt x="5282" y="1604"/>
                    </a:lnTo>
                    <a:lnTo>
                      <a:pt x="5235" y="1604"/>
                    </a:lnTo>
                    <a:cubicBezTo>
                      <a:pt x="5209" y="1604"/>
                      <a:pt x="5185" y="1600"/>
                      <a:pt x="5182" y="1594"/>
                    </a:cubicBezTo>
                    <a:close/>
                    <a:moveTo>
                      <a:pt x="3743" y="1161"/>
                    </a:moveTo>
                    <a:cubicBezTo>
                      <a:pt x="3658" y="1074"/>
                      <a:pt x="3640" y="1048"/>
                      <a:pt x="3640" y="1013"/>
                    </a:cubicBezTo>
                    <a:cubicBezTo>
                      <a:pt x="3640" y="926"/>
                      <a:pt x="3554" y="844"/>
                      <a:pt x="3462" y="844"/>
                    </a:cubicBezTo>
                    <a:cubicBezTo>
                      <a:pt x="3419" y="844"/>
                      <a:pt x="3344" y="897"/>
                      <a:pt x="3322" y="943"/>
                    </a:cubicBezTo>
                    <a:cubicBezTo>
                      <a:pt x="3306" y="976"/>
                      <a:pt x="3299" y="979"/>
                      <a:pt x="3262" y="972"/>
                    </a:cubicBezTo>
                    <a:cubicBezTo>
                      <a:pt x="3180" y="955"/>
                      <a:pt x="2671" y="911"/>
                      <a:pt x="2550" y="911"/>
                    </a:cubicBezTo>
                    <a:cubicBezTo>
                      <a:pt x="2483" y="911"/>
                      <a:pt x="2367" y="918"/>
                      <a:pt x="2294" y="926"/>
                    </a:cubicBezTo>
                    <a:lnTo>
                      <a:pt x="2159" y="940"/>
                    </a:lnTo>
                    <a:lnTo>
                      <a:pt x="2113" y="899"/>
                    </a:lnTo>
                    <a:cubicBezTo>
                      <a:pt x="2087" y="877"/>
                      <a:pt x="2050" y="854"/>
                      <a:pt x="2030" y="849"/>
                    </a:cubicBezTo>
                    <a:cubicBezTo>
                      <a:pt x="1975" y="835"/>
                      <a:pt x="1892" y="871"/>
                      <a:pt x="1856" y="924"/>
                    </a:cubicBezTo>
                    <a:cubicBezTo>
                      <a:pt x="1827" y="967"/>
                      <a:pt x="1815" y="973"/>
                      <a:pt x="1716" y="993"/>
                    </a:cubicBezTo>
                    <a:cubicBezTo>
                      <a:pt x="1656" y="1005"/>
                      <a:pt x="1604" y="1012"/>
                      <a:pt x="1602" y="1010"/>
                    </a:cubicBezTo>
                    <a:cubicBezTo>
                      <a:pt x="1585" y="996"/>
                      <a:pt x="1659" y="701"/>
                      <a:pt x="1695" y="639"/>
                    </a:cubicBezTo>
                    <a:cubicBezTo>
                      <a:pt x="1714" y="606"/>
                      <a:pt x="1687" y="584"/>
                      <a:pt x="1613" y="573"/>
                    </a:cubicBezTo>
                    <a:cubicBezTo>
                      <a:pt x="1560" y="564"/>
                      <a:pt x="1560" y="564"/>
                      <a:pt x="1560" y="505"/>
                    </a:cubicBezTo>
                    <a:cubicBezTo>
                      <a:pt x="1560" y="429"/>
                      <a:pt x="1579" y="418"/>
                      <a:pt x="1716" y="418"/>
                    </a:cubicBezTo>
                    <a:lnTo>
                      <a:pt x="1821" y="418"/>
                    </a:lnTo>
                    <a:lnTo>
                      <a:pt x="1890" y="320"/>
                    </a:lnTo>
                    <a:cubicBezTo>
                      <a:pt x="1983" y="191"/>
                      <a:pt x="2048" y="130"/>
                      <a:pt x="2113" y="112"/>
                    </a:cubicBezTo>
                    <a:cubicBezTo>
                      <a:pt x="2197" y="89"/>
                      <a:pt x="2457" y="58"/>
                      <a:pt x="2646" y="49"/>
                    </a:cubicBezTo>
                    <a:cubicBezTo>
                      <a:pt x="2839" y="40"/>
                      <a:pt x="3206" y="71"/>
                      <a:pt x="3333" y="106"/>
                    </a:cubicBezTo>
                    <a:cubicBezTo>
                      <a:pt x="3420" y="130"/>
                      <a:pt x="3491" y="193"/>
                      <a:pt x="3583" y="328"/>
                    </a:cubicBezTo>
                    <a:lnTo>
                      <a:pt x="3645" y="418"/>
                    </a:lnTo>
                    <a:lnTo>
                      <a:pt x="3750" y="418"/>
                    </a:lnTo>
                    <a:cubicBezTo>
                      <a:pt x="3887" y="418"/>
                      <a:pt x="3906" y="429"/>
                      <a:pt x="3906" y="505"/>
                    </a:cubicBezTo>
                    <a:cubicBezTo>
                      <a:pt x="3906" y="558"/>
                      <a:pt x="3903" y="565"/>
                      <a:pt x="3870" y="572"/>
                    </a:cubicBezTo>
                    <a:cubicBezTo>
                      <a:pt x="3753" y="598"/>
                      <a:pt x="3752" y="599"/>
                      <a:pt x="3800" y="731"/>
                    </a:cubicBezTo>
                    <a:cubicBezTo>
                      <a:pt x="3815" y="775"/>
                      <a:pt x="3837" y="859"/>
                      <a:pt x="3847" y="918"/>
                    </a:cubicBezTo>
                    <a:cubicBezTo>
                      <a:pt x="3867" y="1029"/>
                      <a:pt x="3874" y="1273"/>
                      <a:pt x="3856" y="1269"/>
                    </a:cubicBezTo>
                    <a:cubicBezTo>
                      <a:pt x="3851" y="1268"/>
                      <a:pt x="3800" y="1219"/>
                      <a:pt x="3743" y="1161"/>
                    </a:cubicBezTo>
                    <a:close/>
                    <a:moveTo>
                      <a:pt x="2566" y="650"/>
                    </a:moveTo>
                    <a:cubicBezTo>
                      <a:pt x="2916" y="645"/>
                      <a:pt x="3266" y="648"/>
                      <a:pt x="3380" y="655"/>
                    </a:cubicBezTo>
                    <a:cubicBezTo>
                      <a:pt x="3490" y="662"/>
                      <a:pt x="3585" y="664"/>
                      <a:pt x="3591" y="658"/>
                    </a:cubicBezTo>
                    <a:cubicBezTo>
                      <a:pt x="3605" y="645"/>
                      <a:pt x="3468" y="373"/>
                      <a:pt x="3412" y="302"/>
                    </a:cubicBezTo>
                    <a:cubicBezTo>
                      <a:pt x="3362" y="239"/>
                      <a:pt x="3336" y="225"/>
                      <a:pt x="3221" y="198"/>
                    </a:cubicBezTo>
                    <a:cubicBezTo>
                      <a:pt x="2921" y="129"/>
                      <a:pt x="2329" y="146"/>
                      <a:pt x="2139" y="230"/>
                    </a:cubicBezTo>
                    <a:cubicBezTo>
                      <a:pt x="2074" y="259"/>
                      <a:pt x="2030" y="318"/>
                      <a:pt x="1933" y="506"/>
                    </a:cubicBezTo>
                    <a:cubicBezTo>
                      <a:pt x="1853" y="662"/>
                      <a:pt x="1851" y="677"/>
                      <a:pt x="1910" y="666"/>
                    </a:cubicBezTo>
                    <a:cubicBezTo>
                      <a:pt x="1934" y="661"/>
                      <a:pt x="2229" y="654"/>
                      <a:pt x="2566" y="650"/>
                    </a:cubicBezTo>
                    <a:close/>
                    <a:moveTo>
                      <a:pt x="6547" y="1215"/>
                    </a:moveTo>
                    <a:cubicBezTo>
                      <a:pt x="6547" y="1009"/>
                      <a:pt x="6588" y="760"/>
                      <a:pt x="6645" y="626"/>
                    </a:cubicBezTo>
                    <a:cubicBezTo>
                      <a:pt x="6657" y="598"/>
                      <a:pt x="6666" y="572"/>
                      <a:pt x="6666" y="570"/>
                    </a:cubicBezTo>
                    <a:cubicBezTo>
                      <a:pt x="6666" y="567"/>
                      <a:pt x="6641" y="558"/>
                      <a:pt x="6610" y="549"/>
                    </a:cubicBezTo>
                    <a:cubicBezTo>
                      <a:pt x="6534" y="528"/>
                      <a:pt x="6520" y="515"/>
                      <a:pt x="6520" y="469"/>
                    </a:cubicBezTo>
                    <a:cubicBezTo>
                      <a:pt x="6520" y="402"/>
                      <a:pt x="6559" y="378"/>
                      <a:pt x="6672" y="378"/>
                    </a:cubicBezTo>
                    <a:lnTo>
                      <a:pt x="6772" y="378"/>
                    </a:lnTo>
                    <a:lnTo>
                      <a:pt x="6834" y="294"/>
                    </a:lnTo>
                    <a:cubicBezTo>
                      <a:pt x="6992" y="86"/>
                      <a:pt x="7020" y="71"/>
                      <a:pt x="7320" y="37"/>
                    </a:cubicBezTo>
                    <a:cubicBezTo>
                      <a:pt x="7642" y="0"/>
                      <a:pt x="8106" y="19"/>
                      <a:pt x="8302" y="78"/>
                    </a:cubicBezTo>
                    <a:cubicBezTo>
                      <a:pt x="8377" y="100"/>
                      <a:pt x="8432" y="153"/>
                      <a:pt x="8536" y="301"/>
                    </a:cubicBezTo>
                    <a:lnTo>
                      <a:pt x="8590" y="378"/>
                    </a:lnTo>
                    <a:lnTo>
                      <a:pt x="8699" y="378"/>
                    </a:lnTo>
                    <a:cubicBezTo>
                      <a:pt x="8823" y="378"/>
                      <a:pt x="8866" y="401"/>
                      <a:pt x="8866" y="470"/>
                    </a:cubicBezTo>
                    <a:cubicBezTo>
                      <a:pt x="8866" y="517"/>
                      <a:pt x="8849" y="532"/>
                      <a:pt x="8768" y="552"/>
                    </a:cubicBezTo>
                    <a:cubicBezTo>
                      <a:pt x="8696" y="570"/>
                      <a:pt x="8697" y="555"/>
                      <a:pt x="8751" y="732"/>
                    </a:cubicBezTo>
                    <a:cubicBezTo>
                      <a:pt x="8769" y="791"/>
                      <a:pt x="8788" y="868"/>
                      <a:pt x="8794" y="904"/>
                    </a:cubicBezTo>
                    <a:cubicBezTo>
                      <a:pt x="8803" y="967"/>
                      <a:pt x="8803" y="968"/>
                      <a:pt x="8771" y="960"/>
                    </a:cubicBezTo>
                    <a:cubicBezTo>
                      <a:pt x="8753" y="956"/>
                      <a:pt x="8705" y="948"/>
                      <a:pt x="8663" y="943"/>
                    </a:cubicBezTo>
                    <a:cubicBezTo>
                      <a:pt x="8597" y="935"/>
                      <a:pt x="8583" y="928"/>
                      <a:pt x="8547" y="883"/>
                    </a:cubicBezTo>
                    <a:cubicBezTo>
                      <a:pt x="8477" y="795"/>
                      <a:pt x="8372" y="791"/>
                      <a:pt x="8285" y="872"/>
                    </a:cubicBezTo>
                    <a:cubicBezTo>
                      <a:pt x="8258" y="898"/>
                      <a:pt x="8250" y="899"/>
                      <a:pt x="8086" y="884"/>
                    </a:cubicBezTo>
                    <a:cubicBezTo>
                      <a:pt x="7943" y="871"/>
                      <a:pt x="7870" y="872"/>
                      <a:pt x="7641" y="891"/>
                    </a:cubicBezTo>
                    <a:cubicBezTo>
                      <a:pt x="7490" y="903"/>
                      <a:pt x="7312" y="922"/>
                      <a:pt x="7246" y="932"/>
                    </a:cubicBezTo>
                    <a:cubicBezTo>
                      <a:pt x="7139" y="948"/>
                      <a:pt x="7125" y="947"/>
                      <a:pt x="7113" y="928"/>
                    </a:cubicBezTo>
                    <a:cubicBezTo>
                      <a:pt x="7047" y="824"/>
                      <a:pt x="6978" y="792"/>
                      <a:pt x="6892" y="826"/>
                    </a:cubicBezTo>
                    <a:cubicBezTo>
                      <a:pt x="6829" y="852"/>
                      <a:pt x="6786" y="916"/>
                      <a:pt x="6786" y="985"/>
                    </a:cubicBezTo>
                    <a:cubicBezTo>
                      <a:pt x="6786" y="1031"/>
                      <a:pt x="6775" y="1048"/>
                      <a:pt x="6676" y="1150"/>
                    </a:cubicBezTo>
                    <a:cubicBezTo>
                      <a:pt x="6616" y="1213"/>
                      <a:pt x="6562" y="1266"/>
                      <a:pt x="6556" y="1269"/>
                    </a:cubicBezTo>
                    <a:cubicBezTo>
                      <a:pt x="6551" y="1271"/>
                      <a:pt x="6547" y="1247"/>
                      <a:pt x="6547" y="1215"/>
                    </a:cubicBezTo>
                    <a:close/>
                    <a:moveTo>
                      <a:pt x="8535" y="602"/>
                    </a:moveTo>
                    <a:cubicBezTo>
                      <a:pt x="8525" y="561"/>
                      <a:pt x="8407" y="339"/>
                      <a:pt x="8364" y="281"/>
                    </a:cubicBezTo>
                    <a:cubicBezTo>
                      <a:pt x="8310" y="207"/>
                      <a:pt x="8270" y="187"/>
                      <a:pt x="8109" y="155"/>
                    </a:cubicBezTo>
                    <a:cubicBezTo>
                      <a:pt x="8018" y="137"/>
                      <a:pt x="7925" y="132"/>
                      <a:pt x="7680" y="132"/>
                    </a:cubicBezTo>
                    <a:cubicBezTo>
                      <a:pt x="7240" y="132"/>
                      <a:pt x="7078" y="168"/>
                      <a:pt x="6998" y="282"/>
                    </a:cubicBezTo>
                    <a:cubicBezTo>
                      <a:pt x="6953" y="345"/>
                      <a:pt x="6826" y="587"/>
                      <a:pt x="6826" y="608"/>
                    </a:cubicBezTo>
                    <a:cubicBezTo>
                      <a:pt x="6826" y="621"/>
                      <a:pt x="7022" y="624"/>
                      <a:pt x="7683" y="622"/>
                    </a:cubicBezTo>
                    <a:cubicBezTo>
                      <a:pt x="8384" y="620"/>
                      <a:pt x="8539" y="616"/>
                      <a:pt x="8535" y="602"/>
                    </a:cubicBezTo>
                    <a:close/>
                    <a:moveTo>
                      <a:pt x="5209" y="1155"/>
                    </a:moveTo>
                    <a:cubicBezTo>
                      <a:pt x="5204" y="1151"/>
                      <a:pt x="5200" y="1094"/>
                      <a:pt x="5200" y="1029"/>
                    </a:cubicBezTo>
                    <a:cubicBezTo>
                      <a:pt x="5200" y="923"/>
                      <a:pt x="5202" y="911"/>
                      <a:pt x="5224" y="911"/>
                    </a:cubicBezTo>
                    <a:cubicBezTo>
                      <a:pt x="5246" y="911"/>
                      <a:pt x="5250" y="926"/>
                      <a:pt x="5257" y="1026"/>
                    </a:cubicBezTo>
                    <a:cubicBezTo>
                      <a:pt x="5262" y="1090"/>
                      <a:pt x="5262" y="1147"/>
                      <a:pt x="5259" y="1153"/>
                    </a:cubicBezTo>
                    <a:cubicBezTo>
                      <a:pt x="5250" y="1167"/>
                      <a:pt x="5221" y="1168"/>
                      <a:pt x="5209" y="1155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 dirty="0"/>
              </a:p>
            </p:txBody>
          </p:sp>
        </p:grpSp>
        <p:grpSp>
          <p:nvGrpSpPr>
            <p:cNvPr id="11" name="Group 10"/>
            <p:cNvGrpSpPr>
              <a:grpSpLocks/>
            </p:cNvGrpSpPr>
            <p:nvPr/>
          </p:nvGrpSpPr>
          <p:grpSpPr>
            <a:xfrm>
              <a:off x="2801339" y="3703163"/>
              <a:ext cx="721313" cy="721311"/>
              <a:chOff x="-1054343" y="2131948"/>
              <a:chExt cx="740018" cy="740014"/>
            </a:xfrm>
          </p:grpSpPr>
          <p:sp>
            <p:nvSpPr>
              <p:cNvPr id="116" name="TextBox 478"/>
              <p:cNvSpPr txBox="1"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-1054343" y="2131948"/>
                <a:ext cx="740018" cy="74001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txBody>
              <a:bodyPr vert="horz" wrap="square" lIns="2916" tIns="0" rIns="2916" bIns="0" numCol="1" anchor="t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1000" b="1" dirty="0">
                    <a:solidFill>
                      <a:schemeClr val="bg1">
                        <a:lumMod val="95000"/>
                      </a:schemeClr>
                    </a:solidFill>
                  </a:rPr>
                  <a:t>DES</a:t>
                </a:r>
              </a:p>
            </p:txBody>
          </p:sp>
          <p:grpSp>
            <p:nvGrpSpPr>
              <p:cNvPr id="120" name="Group 119"/>
              <p:cNvGrpSpPr/>
              <p:nvPr/>
            </p:nvGrpSpPr>
            <p:grpSpPr bwMode="gray">
              <a:xfrm>
                <a:off x="-825839" y="2408692"/>
                <a:ext cx="283010" cy="283805"/>
                <a:chOff x="4853485" y="3413555"/>
                <a:chExt cx="694658" cy="696610"/>
              </a:xfrm>
              <a:solidFill>
                <a:schemeClr val="bg1"/>
              </a:solidFill>
            </p:grpSpPr>
            <p:sp>
              <p:nvSpPr>
                <p:cNvPr id="121" name="Freeform 27"/>
                <p:cNvSpPr>
                  <a:spLocks noEditPoints="1"/>
                </p:cNvSpPr>
                <p:nvPr/>
              </p:nvSpPr>
              <p:spPr bwMode="gray">
                <a:xfrm>
                  <a:off x="4853485" y="3413555"/>
                  <a:ext cx="671242" cy="669292"/>
                </a:xfrm>
                <a:custGeom>
                  <a:avLst/>
                  <a:gdLst>
                    <a:gd name="T0" fmla="*/ 530 w 689"/>
                    <a:gd name="T1" fmla="*/ 82 h 687"/>
                    <a:gd name="T2" fmla="*/ 569 w 689"/>
                    <a:gd name="T3" fmla="*/ 110 h 687"/>
                    <a:gd name="T4" fmla="*/ 545 w 689"/>
                    <a:gd name="T5" fmla="*/ 172 h 687"/>
                    <a:gd name="T6" fmla="*/ 517 w 689"/>
                    <a:gd name="T7" fmla="*/ 148 h 687"/>
                    <a:gd name="T8" fmla="*/ 493 w 689"/>
                    <a:gd name="T9" fmla="*/ 132 h 687"/>
                    <a:gd name="T10" fmla="*/ 483 w 689"/>
                    <a:gd name="T11" fmla="*/ 128 h 687"/>
                    <a:gd name="T12" fmla="*/ 149 w 689"/>
                    <a:gd name="T13" fmla="*/ 0 h 687"/>
                    <a:gd name="T14" fmla="*/ 1 w 689"/>
                    <a:gd name="T15" fmla="*/ 161 h 687"/>
                    <a:gd name="T16" fmla="*/ 74 w 689"/>
                    <a:gd name="T17" fmla="*/ 536 h 687"/>
                    <a:gd name="T18" fmla="*/ 29 w 689"/>
                    <a:gd name="T19" fmla="*/ 664 h 687"/>
                    <a:gd name="T20" fmla="*/ 32 w 689"/>
                    <a:gd name="T21" fmla="*/ 683 h 687"/>
                    <a:gd name="T22" fmla="*/ 52 w 689"/>
                    <a:gd name="T23" fmla="*/ 687 h 687"/>
                    <a:gd name="T24" fmla="*/ 180 w 689"/>
                    <a:gd name="T25" fmla="*/ 641 h 687"/>
                    <a:gd name="T26" fmla="*/ 682 w 689"/>
                    <a:gd name="T27" fmla="*/ 136 h 687"/>
                    <a:gd name="T28" fmla="*/ 689 w 689"/>
                    <a:gd name="T29" fmla="*/ 100 h 687"/>
                    <a:gd name="T30" fmla="*/ 677 w 689"/>
                    <a:gd name="T31" fmla="*/ 65 h 687"/>
                    <a:gd name="T32" fmla="*/ 651 w 689"/>
                    <a:gd name="T33" fmla="*/ 40 h 687"/>
                    <a:gd name="T34" fmla="*/ 617 w 689"/>
                    <a:gd name="T35" fmla="*/ 27 h 687"/>
                    <a:gd name="T36" fmla="*/ 581 w 689"/>
                    <a:gd name="T37" fmla="*/ 34 h 687"/>
                    <a:gd name="T38" fmla="*/ 73 w 689"/>
                    <a:gd name="T39" fmla="*/ 642 h 687"/>
                    <a:gd name="T40" fmla="*/ 58 w 689"/>
                    <a:gd name="T41" fmla="*/ 631 h 687"/>
                    <a:gd name="T42" fmla="*/ 91 w 689"/>
                    <a:gd name="T43" fmla="*/ 549 h 687"/>
                    <a:gd name="T44" fmla="*/ 112 w 689"/>
                    <a:gd name="T45" fmla="*/ 558 h 687"/>
                    <a:gd name="T46" fmla="*/ 138 w 689"/>
                    <a:gd name="T47" fmla="*/ 579 h 687"/>
                    <a:gd name="T48" fmla="*/ 213 w 689"/>
                    <a:gd name="T49" fmla="*/ 327 h 687"/>
                    <a:gd name="T50" fmla="*/ 246 w 689"/>
                    <a:gd name="T51" fmla="*/ 264 h 687"/>
                    <a:gd name="T52" fmla="*/ 170 w 689"/>
                    <a:gd name="T53" fmla="*/ 284 h 687"/>
                    <a:gd name="T54" fmla="*/ 173 w 689"/>
                    <a:gd name="T55" fmla="*/ 251 h 687"/>
                    <a:gd name="T56" fmla="*/ 119 w 689"/>
                    <a:gd name="T57" fmla="*/ 233 h 687"/>
                    <a:gd name="T58" fmla="*/ 151 w 689"/>
                    <a:gd name="T59" fmla="*/ 169 h 687"/>
                    <a:gd name="T60" fmla="*/ 78 w 689"/>
                    <a:gd name="T61" fmla="*/ 192 h 687"/>
                    <a:gd name="T62" fmla="*/ 80 w 689"/>
                    <a:gd name="T63" fmla="*/ 158 h 687"/>
                    <a:gd name="T64" fmla="*/ 31 w 689"/>
                    <a:gd name="T65" fmla="*/ 144 h 687"/>
                    <a:gd name="T66" fmla="*/ 367 w 689"/>
                    <a:gd name="T67" fmla="*/ 245 h 687"/>
                    <a:gd name="T68" fmla="*/ 213 w 689"/>
                    <a:gd name="T69" fmla="*/ 327 h 687"/>
                    <a:gd name="T70" fmla="*/ 426 w 689"/>
                    <a:gd name="T71" fmla="*/ 271 h 687"/>
                    <a:gd name="T72" fmla="*/ 418 w 689"/>
                    <a:gd name="T73" fmla="*/ 275 h 687"/>
                    <a:gd name="T74" fmla="*/ 410 w 689"/>
                    <a:gd name="T75" fmla="*/ 275 h 687"/>
                    <a:gd name="T76" fmla="*/ 403 w 689"/>
                    <a:gd name="T77" fmla="*/ 271 h 687"/>
                    <a:gd name="T78" fmla="*/ 399 w 689"/>
                    <a:gd name="T79" fmla="*/ 255 h 687"/>
                    <a:gd name="T80" fmla="*/ 454 w 689"/>
                    <a:gd name="T81" fmla="*/ 197 h 687"/>
                    <a:gd name="T82" fmla="*/ 470 w 689"/>
                    <a:gd name="T83" fmla="*/ 192 h 687"/>
                    <a:gd name="T84" fmla="*/ 481 w 689"/>
                    <a:gd name="T85" fmla="*/ 204 h 687"/>
                    <a:gd name="T86" fmla="*/ 477 w 689"/>
                    <a:gd name="T87" fmla="*/ 219 h 6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89" h="687">
                      <a:moveTo>
                        <a:pt x="563" y="47"/>
                      </a:moveTo>
                      <a:lnTo>
                        <a:pt x="530" y="82"/>
                      </a:lnTo>
                      <a:lnTo>
                        <a:pt x="549" y="95"/>
                      </a:lnTo>
                      <a:lnTo>
                        <a:pt x="569" y="110"/>
                      </a:lnTo>
                      <a:lnTo>
                        <a:pt x="588" y="127"/>
                      </a:lnTo>
                      <a:lnTo>
                        <a:pt x="545" y="172"/>
                      </a:lnTo>
                      <a:lnTo>
                        <a:pt x="531" y="158"/>
                      </a:lnTo>
                      <a:lnTo>
                        <a:pt x="517" y="148"/>
                      </a:lnTo>
                      <a:lnTo>
                        <a:pt x="505" y="138"/>
                      </a:lnTo>
                      <a:lnTo>
                        <a:pt x="493" y="132"/>
                      </a:lnTo>
                      <a:lnTo>
                        <a:pt x="484" y="128"/>
                      </a:lnTo>
                      <a:lnTo>
                        <a:pt x="483" y="128"/>
                      </a:lnTo>
                      <a:lnTo>
                        <a:pt x="380" y="231"/>
                      </a:lnTo>
                      <a:lnTo>
                        <a:pt x="149" y="0"/>
                      </a:lnTo>
                      <a:lnTo>
                        <a:pt x="0" y="149"/>
                      </a:lnTo>
                      <a:lnTo>
                        <a:pt x="1" y="161"/>
                      </a:lnTo>
                      <a:lnTo>
                        <a:pt x="227" y="385"/>
                      </a:lnTo>
                      <a:lnTo>
                        <a:pt x="74" y="536"/>
                      </a:lnTo>
                      <a:lnTo>
                        <a:pt x="34" y="648"/>
                      </a:lnTo>
                      <a:lnTo>
                        <a:pt x="29" y="664"/>
                      </a:lnTo>
                      <a:lnTo>
                        <a:pt x="29" y="676"/>
                      </a:lnTo>
                      <a:lnTo>
                        <a:pt x="32" y="683"/>
                      </a:lnTo>
                      <a:lnTo>
                        <a:pt x="40" y="687"/>
                      </a:lnTo>
                      <a:lnTo>
                        <a:pt x="52" y="687"/>
                      </a:lnTo>
                      <a:lnTo>
                        <a:pt x="67" y="682"/>
                      </a:lnTo>
                      <a:lnTo>
                        <a:pt x="180" y="641"/>
                      </a:lnTo>
                      <a:lnTo>
                        <a:pt x="669" y="152"/>
                      </a:lnTo>
                      <a:lnTo>
                        <a:pt x="682" y="136"/>
                      </a:lnTo>
                      <a:lnTo>
                        <a:pt x="688" y="118"/>
                      </a:lnTo>
                      <a:lnTo>
                        <a:pt x="689" y="100"/>
                      </a:lnTo>
                      <a:lnTo>
                        <a:pt x="686" y="82"/>
                      </a:lnTo>
                      <a:lnTo>
                        <a:pt x="677" y="65"/>
                      </a:lnTo>
                      <a:lnTo>
                        <a:pt x="665" y="51"/>
                      </a:lnTo>
                      <a:lnTo>
                        <a:pt x="651" y="40"/>
                      </a:lnTo>
                      <a:lnTo>
                        <a:pt x="634" y="31"/>
                      </a:lnTo>
                      <a:lnTo>
                        <a:pt x="617" y="27"/>
                      </a:lnTo>
                      <a:lnTo>
                        <a:pt x="598" y="28"/>
                      </a:lnTo>
                      <a:lnTo>
                        <a:pt x="581" y="34"/>
                      </a:lnTo>
                      <a:lnTo>
                        <a:pt x="563" y="47"/>
                      </a:lnTo>
                      <a:close/>
                      <a:moveTo>
                        <a:pt x="73" y="642"/>
                      </a:moveTo>
                      <a:lnTo>
                        <a:pt x="66" y="636"/>
                      </a:lnTo>
                      <a:lnTo>
                        <a:pt x="58" y="631"/>
                      </a:lnTo>
                      <a:lnTo>
                        <a:pt x="88" y="548"/>
                      </a:lnTo>
                      <a:lnTo>
                        <a:pt x="91" y="549"/>
                      </a:lnTo>
                      <a:lnTo>
                        <a:pt x="100" y="552"/>
                      </a:lnTo>
                      <a:lnTo>
                        <a:pt x="112" y="558"/>
                      </a:lnTo>
                      <a:lnTo>
                        <a:pt x="125" y="567"/>
                      </a:lnTo>
                      <a:lnTo>
                        <a:pt x="138" y="579"/>
                      </a:lnTo>
                      <a:lnTo>
                        <a:pt x="73" y="642"/>
                      </a:lnTo>
                      <a:close/>
                      <a:moveTo>
                        <a:pt x="213" y="327"/>
                      </a:moveTo>
                      <a:lnTo>
                        <a:pt x="261" y="279"/>
                      </a:lnTo>
                      <a:lnTo>
                        <a:pt x="246" y="264"/>
                      </a:lnTo>
                      <a:lnTo>
                        <a:pt x="198" y="312"/>
                      </a:lnTo>
                      <a:lnTo>
                        <a:pt x="170" y="284"/>
                      </a:lnTo>
                      <a:lnTo>
                        <a:pt x="188" y="266"/>
                      </a:lnTo>
                      <a:lnTo>
                        <a:pt x="173" y="251"/>
                      </a:lnTo>
                      <a:lnTo>
                        <a:pt x="155" y="267"/>
                      </a:lnTo>
                      <a:lnTo>
                        <a:pt x="119" y="233"/>
                      </a:lnTo>
                      <a:lnTo>
                        <a:pt x="167" y="185"/>
                      </a:lnTo>
                      <a:lnTo>
                        <a:pt x="151" y="169"/>
                      </a:lnTo>
                      <a:lnTo>
                        <a:pt x="103" y="217"/>
                      </a:lnTo>
                      <a:lnTo>
                        <a:pt x="78" y="192"/>
                      </a:lnTo>
                      <a:lnTo>
                        <a:pt x="96" y="174"/>
                      </a:lnTo>
                      <a:lnTo>
                        <a:pt x="80" y="158"/>
                      </a:lnTo>
                      <a:lnTo>
                        <a:pt x="62" y="176"/>
                      </a:lnTo>
                      <a:lnTo>
                        <a:pt x="31" y="144"/>
                      </a:lnTo>
                      <a:lnTo>
                        <a:pt x="149" y="27"/>
                      </a:lnTo>
                      <a:lnTo>
                        <a:pt x="367" y="245"/>
                      </a:lnTo>
                      <a:lnTo>
                        <a:pt x="248" y="362"/>
                      </a:lnTo>
                      <a:lnTo>
                        <a:pt x="213" y="327"/>
                      </a:lnTo>
                      <a:close/>
                      <a:moveTo>
                        <a:pt x="477" y="219"/>
                      </a:moveTo>
                      <a:lnTo>
                        <a:pt x="426" y="271"/>
                      </a:lnTo>
                      <a:lnTo>
                        <a:pt x="422" y="273"/>
                      </a:lnTo>
                      <a:lnTo>
                        <a:pt x="418" y="275"/>
                      </a:lnTo>
                      <a:lnTo>
                        <a:pt x="415" y="276"/>
                      </a:lnTo>
                      <a:lnTo>
                        <a:pt x="410" y="275"/>
                      </a:lnTo>
                      <a:lnTo>
                        <a:pt x="406" y="273"/>
                      </a:lnTo>
                      <a:lnTo>
                        <a:pt x="403" y="271"/>
                      </a:lnTo>
                      <a:lnTo>
                        <a:pt x="399" y="264"/>
                      </a:lnTo>
                      <a:lnTo>
                        <a:pt x="399" y="255"/>
                      </a:lnTo>
                      <a:lnTo>
                        <a:pt x="403" y="248"/>
                      </a:lnTo>
                      <a:lnTo>
                        <a:pt x="454" y="197"/>
                      </a:lnTo>
                      <a:lnTo>
                        <a:pt x="461" y="192"/>
                      </a:lnTo>
                      <a:lnTo>
                        <a:pt x="470" y="192"/>
                      </a:lnTo>
                      <a:lnTo>
                        <a:pt x="477" y="197"/>
                      </a:lnTo>
                      <a:lnTo>
                        <a:pt x="481" y="204"/>
                      </a:lnTo>
                      <a:lnTo>
                        <a:pt x="481" y="212"/>
                      </a:lnTo>
                      <a:lnTo>
                        <a:pt x="477" y="219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dirty="0"/>
                </a:p>
              </p:txBody>
            </p:sp>
            <p:sp>
              <p:nvSpPr>
                <p:cNvPr id="122" name="Freeform 28"/>
                <p:cNvSpPr>
                  <a:spLocks/>
                </p:cNvSpPr>
                <p:nvPr/>
              </p:nvSpPr>
              <p:spPr bwMode="gray">
                <a:xfrm>
                  <a:off x="5193009" y="3756982"/>
                  <a:ext cx="355134" cy="353183"/>
                </a:xfrm>
                <a:custGeom>
                  <a:avLst/>
                  <a:gdLst>
                    <a:gd name="T0" fmla="*/ 153 w 364"/>
                    <a:gd name="T1" fmla="*/ 0 h 360"/>
                    <a:gd name="T2" fmla="*/ 140 w 364"/>
                    <a:gd name="T3" fmla="*/ 13 h 360"/>
                    <a:gd name="T4" fmla="*/ 338 w 364"/>
                    <a:gd name="T5" fmla="*/ 210 h 360"/>
                    <a:gd name="T6" fmla="*/ 220 w 364"/>
                    <a:gd name="T7" fmla="*/ 329 h 360"/>
                    <a:gd name="T8" fmla="*/ 189 w 364"/>
                    <a:gd name="T9" fmla="*/ 297 h 360"/>
                    <a:gd name="T10" fmla="*/ 206 w 364"/>
                    <a:gd name="T11" fmla="*/ 280 h 360"/>
                    <a:gd name="T12" fmla="*/ 190 w 364"/>
                    <a:gd name="T13" fmla="*/ 263 h 360"/>
                    <a:gd name="T14" fmla="*/ 172 w 364"/>
                    <a:gd name="T15" fmla="*/ 281 h 360"/>
                    <a:gd name="T16" fmla="*/ 148 w 364"/>
                    <a:gd name="T17" fmla="*/ 256 h 360"/>
                    <a:gd name="T18" fmla="*/ 196 w 364"/>
                    <a:gd name="T19" fmla="*/ 208 h 360"/>
                    <a:gd name="T20" fmla="*/ 181 w 364"/>
                    <a:gd name="T21" fmla="*/ 192 h 360"/>
                    <a:gd name="T22" fmla="*/ 133 w 364"/>
                    <a:gd name="T23" fmla="*/ 240 h 360"/>
                    <a:gd name="T24" fmla="*/ 97 w 364"/>
                    <a:gd name="T25" fmla="*/ 206 h 360"/>
                    <a:gd name="T26" fmla="*/ 115 w 364"/>
                    <a:gd name="T27" fmla="*/ 188 h 360"/>
                    <a:gd name="T28" fmla="*/ 98 w 364"/>
                    <a:gd name="T29" fmla="*/ 172 h 360"/>
                    <a:gd name="T30" fmla="*/ 81 w 364"/>
                    <a:gd name="T31" fmla="*/ 189 h 360"/>
                    <a:gd name="T32" fmla="*/ 54 w 364"/>
                    <a:gd name="T33" fmla="*/ 161 h 360"/>
                    <a:gd name="T34" fmla="*/ 102 w 364"/>
                    <a:gd name="T35" fmla="*/ 115 h 360"/>
                    <a:gd name="T36" fmla="*/ 86 w 364"/>
                    <a:gd name="T37" fmla="*/ 98 h 360"/>
                    <a:gd name="T38" fmla="*/ 38 w 364"/>
                    <a:gd name="T39" fmla="*/ 146 h 360"/>
                    <a:gd name="T40" fmla="*/ 23 w 364"/>
                    <a:gd name="T41" fmla="*/ 130 h 360"/>
                    <a:gd name="T42" fmla="*/ 0 w 364"/>
                    <a:gd name="T43" fmla="*/ 153 h 360"/>
                    <a:gd name="T44" fmla="*/ 205 w 364"/>
                    <a:gd name="T45" fmla="*/ 358 h 360"/>
                    <a:gd name="T46" fmla="*/ 216 w 364"/>
                    <a:gd name="T47" fmla="*/ 360 h 360"/>
                    <a:gd name="T48" fmla="*/ 364 w 364"/>
                    <a:gd name="T49" fmla="*/ 210 h 360"/>
                    <a:gd name="T50" fmla="*/ 153 w 364"/>
                    <a:gd name="T51" fmla="*/ 0 h 3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64" h="360">
                      <a:moveTo>
                        <a:pt x="153" y="0"/>
                      </a:moveTo>
                      <a:lnTo>
                        <a:pt x="140" y="13"/>
                      </a:lnTo>
                      <a:lnTo>
                        <a:pt x="338" y="210"/>
                      </a:lnTo>
                      <a:lnTo>
                        <a:pt x="220" y="329"/>
                      </a:lnTo>
                      <a:lnTo>
                        <a:pt x="189" y="297"/>
                      </a:lnTo>
                      <a:lnTo>
                        <a:pt x="206" y="280"/>
                      </a:lnTo>
                      <a:lnTo>
                        <a:pt x="190" y="263"/>
                      </a:lnTo>
                      <a:lnTo>
                        <a:pt x="172" y="281"/>
                      </a:lnTo>
                      <a:lnTo>
                        <a:pt x="148" y="256"/>
                      </a:lnTo>
                      <a:lnTo>
                        <a:pt x="196" y="208"/>
                      </a:lnTo>
                      <a:lnTo>
                        <a:pt x="181" y="192"/>
                      </a:lnTo>
                      <a:lnTo>
                        <a:pt x="133" y="240"/>
                      </a:lnTo>
                      <a:lnTo>
                        <a:pt x="97" y="206"/>
                      </a:lnTo>
                      <a:lnTo>
                        <a:pt x="115" y="188"/>
                      </a:lnTo>
                      <a:lnTo>
                        <a:pt x="98" y="172"/>
                      </a:lnTo>
                      <a:lnTo>
                        <a:pt x="81" y="189"/>
                      </a:lnTo>
                      <a:lnTo>
                        <a:pt x="54" y="161"/>
                      </a:lnTo>
                      <a:lnTo>
                        <a:pt x="102" y="115"/>
                      </a:lnTo>
                      <a:lnTo>
                        <a:pt x="86" y="98"/>
                      </a:lnTo>
                      <a:lnTo>
                        <a:pt x="38" y="146"/>
                      </a:lnTo>
                      <a:lnTo>
                        <a:pt x="23" y="130"/>
                      </a:lnTo>
                      <a:lnTo>
                        <a:pt x="0" y="153"/>
                      </a:lnTo>
                      <a:lnTo>
                        <a:pt x="205" y="358"/>
                      </a:lnTo>
                      <a:lnTo>
                        <a:pt x="216" y="360"/>
                      </a:lnTo>
                      <a:lnTo>
                        <a:pt x="364" y="210"/>
                      </a:lnTo>
                      <a:lnTo>
                        <a:pt x="15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dirty="0"/>
                </a:p>
              </p:txBody>
            </p:sp>
          </p:grpSp>
        </p:grpSp>
        <p:grpSp>
          <p:nvGrpSpPr>
            <p:cNvPr id="6" name="Group 5"/>
            <p:cNvGrpSpPr>
              <a:grpSpLocks/>
            </p:cNvGrpSpPr>
            <p:nvPr/>
          </p:nvGrpSpPr>
          <p:grpSpPr>
            <a:xfrm>
              <a:off x="1292976" y="3636774"/>
              <a:ext cx="721313" cy="721311"/>
              <a:chOff x="-1054343" y="3767427"/>
              <a:chExt cx="740018" cy="740014"/>
            </a:xfrm>
          </p:grpSpPr>
          <p:sp>
            <p:nvSpPr>
              <p:cNvPr id="118" name="TextBox 478"/>
              <p:cNvSpPr txBox="1"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-1054343" y="3767427"/>
                <a:ext cx="740018" cy="74001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txBody>
              <a:bodyPr vert="horz" wrap="square" lIns="0" tIns="0" rIns="0" bIns="0" numCol="1" anchor="t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1000" b="1" dirty="0">
                    <a:solidFill>
                      <a:schemeClr val="bg1">
                        <a:lumMod val="95000"/>
                      </a:schemeClr>
                    </a:solidFill>
                  </a:rPr>
                  <a:t>Contr-actors</a:t>
                </a:r>
              </a:p>
            </p:txBody>
          </p:sp>
          <p:grpSp>
            <p:nvGrpSpPr>
              <p:cNvPr id="123" name="Group 122"/>
              <p:cNvGrpSpPr/>
              <p:nvPr/>
            </p:nvGrpSpPr>
            <p:grpSpPr bwMode="gray">
              <a:xfrm>
                <a:off x="-761392" y="4206504"/>
                <a:ext cx="154116" cy="231004"/>
                <a:chOff x="-3994150" y="434569"/>
                <a:chExt cx="3048397" cy="4569231"/>
              </a:xfrm>
              <a:solidFill>
                <a:schemeClr val="bg1"/>
              </a:solidFill>
            </p:grpSpPr>
            <p:sp>
              <p:nvSpPr>
                <p:cNvPr id="124" name="Freeform 123"/>
                <p:cNvSpPr/>
                <p:nvPr/>
              </p:nvSpPr>
              <p:spPr bwMode="gray">
                <a:xfrm>
                  <a:off x="-3840480" y="632460"/>
                  <a:ext cx="2728309" cy="1485900"/>
                </a:xfrm>
                <a:custGeom>
                  <a:avLst/>
                  <a:gdLst>
                    <a:gd name="connsiteX0" fmla="*/ 2042160 w 2727960"/>
                    <a:gd name="connsiteY0" fmla="*/ 7620 h 1485900"/>
                    <a:gd name="connsiteX1" fmla="*/ 1851660 w 2727960"/>
                    <a:gd name="connsiteY1" fmla="*/ 807720 h 1485900"/>
                    <a:gd name="connsiteX2" fmla="*/ 899160 w 2727960"/>
                    <a:gd name="connsiteY2" fmla="*/ 807720 h 1485900"/>
                    <a:gd name="connsiteX3" fmla="*/ 701040 w 2727960"/>
                    <a:gd name="connsiteY3" fmla="*/ 0 h 1485900"/>
                    <a:gd name="connsiteX4" fmla="*/ 152400 w 2727960"/>
                    <a:gd name="connsiteY4" fmla="*/ 853440 h 1485900"/>
                    <a:gd name="connsiteX5" fmla="*/ 0 w 2727960"/>
                    <a:gd name="connsiteY5" fmla="*/ 1051560 h 1485900"/>
                    <a:gd name="connsiteX6" fmla="*/ 731520 w 2727960"/>
                    <a:gd name="connsiteY6" fmla="*/ 1485900 h 1485900"/>
                    <a:gd name="connsiteX7" fmla="*/ 2019300 w 2727960"/>
                    <a:gd name="connsiteY7" fmla="*/ 1485900 h 1485900"/>
                    <a:gd name="connsiteX8" fmla="*/ 2727960 w 2727960"/>
                    <a:gd name="connsiteY8" fmla="*/ 1059180 h 1485900"/>
                    <a:gd name="connsiteX9" fmla="*/ 2575560 w 2727960"/>
                    <a:gd name="connsiteY9" fmla="*/ 845820 h 1485900"/>
                    <a:gd name="connsiteX10" fmla="*/ 2042160 w 2727960"/>
                    <a:gd name="connsiteY10" fmla="*/ 7620 h 1485900"/>
                    <a:gd name="connsiteX0" fmla="*/ 2042160 w 2727960"/>
                    <a:gd name="connsiteY0" fmla="*/ 7620 h 1485900"/>
                    <a:gd name="connsiteX1" fmla="*/ 1851660 w 2727960"/>
                    <a:gd name="connsiteY1" fmla="*/ 807720 h 1485900"/>
                    <a:gd name="connsiteX2" fmla="*/ 899160 w 2727960"/>
                    <a:gd name="connsiteY2" fmla="*/ 807720 h 1485900"/>
                    <a:gd name="connsiteX3" fmla="*/ 701040 w 2727960"/>
                    <a:gd name="connsiteY3" fmla="*/ 0 h 1485900"/>
                    <a:gd name="connsiteX4" fmla="*/ 152400 w 2727960"/>
                    <a:gd name="connsiteY4" fmla="*/ 853440 h 1485900"/>
                    <a:gd name="connsiteX5" fmla="*/ 0 w 2727960"/>
                    <a:gd name="connsiteY5" fmla="*/ 1051560 h 1485900"/>
                    <a:gd name="connsiteX6" fmla="*/ 731520 w 2727960"/>
                    <a:gd name="connsiteY6" fmla="*/ 1485900 h 1485900"/>
                    <a:gd name="connsiteX7" fmla="*/ 2019300 w 2727960"/>
                    <a:gd name="connsiteY7" fmla="*/ 1485900 h 1485900"/>
                    <a:gd name="connsiteX8" fmla="*/ 2727960 w 2727960"/>
                    <a:gd name="connsiteY8" fmla="*/ 1059180 h 1485900"/>
                    <a:gd name="connsiteX9" fmla="*/ 2575560 w 2727960"/>
                    <a:gd name="connsiteY9" fmla="*/ 845820 h 1485900"/>
                    <a:gd name="connsiteX10" fmla="*/ 2042160 w 2727960"/>
                    <a:gd name="connsiteY10" fmla="*/ 7620 h 1485900"/>
                    <a:gd name="connsiteX0" fmla="*/ 2042160 w 2727960"/>
                    <a:gd name="connsiteY0" fmla="*/ 7620 h 1485900"/>
                    <a:gd name="connsiteX1" fmla="*/ 1851660 w 2727960"/>
                    <a:gd name="connsiteY1" fmla="*/ 807720 h 1485900"/>
                    <a:gd name="connsiteX2" fmla="*/ 899160 w 2727960"/>
                    <a:gd name="connsiteY2" fmla="*/ 807720 h 1485900"/>
                    <a:gd name="connsiteX3" fmla="*/ 701040 w 2727960"/>
                    <a:gd name="connsiteY3" fmla="*/ 0 h 1485900"/>
                    <a:gd name="connsiteX4" fmla="*/ 152400 w 2727960"/>
                    <a:gd name="connsiteY4" fmla="*/ 853440 h 1485900"/>
                    <a:gd name="connsiteX5" fmla="*/ 0 w 2727960"/>
                    <a:gd name="connsiteY5" fmla="*/ 1051560 h 1485900"/>
                    <a:gd name="connsiteX6" fmla="*/ 731520 w 2727960"/>
                    <a:gd name="connsiteY6" fmla="*/ 1485900 h 1485900"/>
                    <a:gd name="connsiteX7" fmla="*/ 2019300 w 2727960"/>
                    <a:gd name="connsiteY7" fmla="*/ 1485900 h 1485900"/>
                    <a:gd name="connsiteX8" fmla="*/ 2727960 w 2727960"/>
                    <a:gd name="connsiteY8" fmla="*/ 1059180 h 1485900"/>
                    <a:gd name="connsiteX9" fmla="*/ 2575560 w 2727960"/>
                    <a:gd name="connsiteY9" fmla="*/ 845820 h 1485900"/>
                    <a:gd name="connsiteX10" fmla="*/ 2042160 w 2727960"/>
                    <a:gd name="connsiteY10" fmla="*/ 7620 h 1485900"/>
                    <a:gd name="connsiteX0" fmla="*/ 2042160 w 2727960"/>
                    <a:gd name="connsiteY0" fmla="*/ 7620 h 1485900"/>
                    <a:gd name="connsiteX1" fmla="*/ 1851660 w 2727960"/>
                    <a:gd name="connsiteY1" fmla="*/ 807720 h 1485900"/>
                    <a:gd name="connsiteX2" fmla="*/ 899160 w 2727960"/>
                    <a:gd name="connsiteY2" fmla="*/ 807720 h 1485900"/>
                    <a:gd name="connsiteX3" fmla="*/ 701040 w 2727960"/>
                    <a:gd name="connsiteY3" fmla="*/ 0 h 1485900"/>
                    <a:gd name="connsiteX4" fmla="*/ 152400 w 2727960"/>
                    <a:gd name="connsiteY4" fmla="*/ 853440 h 1485900"/>
                    <a:gd name="connsiteX5" fmla="*/ 0 w 2727960"/>
                    <a:gd name="connsiteY5" fmla="*/ 1051560 h 1485900"/>
                    <a:gd name="connsiteX6" fmla="*/ 731520 w 2727960"/>
                    <a:gd name="connsiteY6" fmla="*/ 1485900 h 1485900"/>
                    <a:gd name="connsiteX7" fmla="*/ 2019300 w 2727960"/>
                    <a:gd name="connsiteY7" fmla="*/ 1485900 h 1485900"/>
                    <a:gd name="connsiteX8" fmla="*/ 2727960 w 2727960"/>
                    <a:gd name="connsiteY8" fmla="*/ 1059180 h 1485900"/>
                    <a:gd name="connsiteX9" fmla="*/ 2575560 w 2727960"/>
                    <a:gd name="connsiteY9" fmla="*/ 845820 h 1485900"/>
                    <a:gd name="connsiteX10" fmla="*/ 2042160 w 2727960"/>
                    <a:gd name="connsiteY10" fmla="*/ 7620 h 1485900"/>
                    <a:gd name="connsiteX0" fmla="*/ 2042160 w 2727960"/>
                    <a:gd name="connsiteY0" fmla="*/ 7620 h 1485900"/>
                    <a:gd name="connsiteX1" fmla="*/ 1851660 w 2727960"/>
                    <a:gd name="connsiteY1" fmla="*/ 807720 h 1485900"/>
                    <a:gd name="connsiteX2" fmla="*/ 899160 w 2727960"/>
                    <a:gd name="connsiteY2" fmla="*/ 807720 h 1485900"/>
                    <a:gd name="connsiteX3" fmla="*/ 701040 w 2727960"/>
                    <a:gd name="connsiteY3" fmla="*/ 0 h 1485900"/>
                    <a:gd name="connsiteX4" fmla="*/ 152400 w 2727960"/>
                    <a:gd name="connsiteY4" fmla="*/ 853440 h 1485900"/>
                    <a:gd name="connsiteX5" fmla="*/ 0 w 2727960"/>
                    <a:gd name="connsiteY5" fmla="*/ 1051560 h 1485900"/>
                    <a:gd name="connsiteX6" fmla="*/ 731520 w 2727960"/>
                    <a:gd name="connsiteY6" fmla="*/ 1485900 h 1485900"/>
                    <a:gd name="connsiteX7" fmla="*/ 2019300 w 2727960"/>
                    <a:gd name="connsiteY7" fmla="*/ 1485900 h 1485900"/>
                    <a:gd name="connsiteX8" fmla="*/ 2727960 w 2727960"/>
                    <a:gd name="connsiteY8" fmla="*/ 1059180 h 1485900"/>
                    <a:gd name="connsiteX9" fmla="*/ 2575560 w 2727960"/>
                    <a:gd name="connsiteY9" fmla="*/ 845820 h 1485900"/>
                    <a:gd name="connsiteX10" fmla="*/ 2042160 w 2727960"/>
                    <a:gd name="connsiteY10" fmla="*/ 7620 h 1485900"/>
                    <a:gd name="connsiteX0" fmla="*/ 2042160 w 2727960"/>
                    <a:gd name="connsiteY0" fmla="*/ 7620 h 1485900"/>
                    <a:gd name="connsiteX1" fmla="*/ 1851660 w 2727960"/>
                    <a:gd name="connsiteY1" fmla="*/ 807720 h 1485900"/>
                    <a:gd name="connsiteX2" fmla="*/ 899160 w 2727960"/>
                    <a:gd name="connsiteY2" fmla="*/ 807720 h 1485900"/>
                    <a:gd name="connsiteX3" fmla="*/ 701040 w 2727960"/>
                    <a:gd name="connsiteY3" fmla="*/ 0 h 1485900"/>
                    <a:gd name="connsiteX4" fmla="*/ 152400 w 2727960"/>
                    <a:gd name="connsiteY4" fmla="*/ 853440 h 1485900"/>
                    <a:gd name="connsiteX5" fmla="*/ 0 w 2727960"/>
                    <a:gd name="connsiteY5" fmla="*/ 1051560 h 1485900"/>
                    <a:gd name="connsiteX6" fmla="*/ 731520 w 2727960"/>
                    <a:gd name="connsiteY6" fmla="*/ 1485900 h 1485900"/>
                    <a:gd name="connsiteX7" fmla="*/ 2019300 w 2727960"/>
                    <a:gd name="connsiteY7" fmla="*/ 1485900 h 1485900"/>
                    <a:gd name="connsiteX8" fmla="*/ 2727960 w 2727960"/>
                    <a:gd name="connsiteY8" fmla="*/ 1059180 h 1485900"/>
                    <a:gd name="connsiteX9" fmla="*/ 2575560 w 2727960"/>
                    <a:gd name="connsiteY9" fmla="*/ 845820 h 1485900"/>
                    <a:gd name="connsiteX10" fmla="*/ 2042160 w 2727960"/>
                    <a:gd name="connsiteY10" fmla="*/ 7620 h 1485900"/>
                    <a:gd name="connsiteX0" fmla="*/ 2042160 w 2727960"/>
                    <a:gd name="connsiteY0" fmla="*/ 7620 h 1485900"/>
                    <a:gd name="connsiteX1" fmla="*/ 1851660 w 2727960"/>
                    <a:gd name="connsiteY1" fmla="*/ 807720 h 1485900"/>
                    <a:gd name="connsiteX2" fmla="*/ 899160 w 2727960"/>
                    <a:gd name="connsiteY2" fmla="*/ 807720 h 1485900"/>
                    <a:gd name="connsiteX3" fmla="*/ 701040 w 2727960"/>
                    <a:gd name="connsiteY3" fmla="*/ 0 h 1485900"/>
                    <a:gd name="connsiteX4" fmla="*/ 152400 w 2727960"/>
                    <a:gd name="connsiteY4" fmla="*/ 853440 h 1485900"/>
                    <a:gd name="connsiteX5" fmla="*/ 0 w 2727960"/>
                    <a:gd name="connsiteY5" fmla="*/ 1051560 h 1485900"/>
                    <a:gd name="connsiteX6" fmla="*/ 731520 w 2727960"/>
                    <a:gd name="connsiteY6" fmla="*/ 1485900 h 1485900"/>
                    <a:gd name="connsiteX7" fmla="*/ 2019300 w 2727960"/>
                    <a:gd name="connsiteY7" fmla="*/ 1485900 h 1485900"/>
                    <a:gd name="connsiteX8" fmla="*/ 2727960 w 2727960"/>
                    <a:gd name="connsiteY8" fmla="*/ 1059180 h 1485900"/>
                    <a:gd name="connsiteX9" fmla="*/ 2575560 w 2727960"/>
                    <a:gd name="connsiteY9" fmla="*/ 845820 h 1485900"/>
                    <a:gd name="connsiteX10" fmla="*/ 2042160 w 2727960"/>
                    <a:gd name="connsiteY10" fmla="*/ 7620 h 1485900"/>
                    <a:gd name="connsiteX0" fmla="*/ 2042160 w 2727960"/>
                    <a:gd name="connsiteY0" fmla="*/ 7620 h 1485900"/>
                    <a:gd name="connsiteX1" fmla="*/ 1851660 w 2727960"/>
                    <a:gd name="connsiteY1" fmla="*/ 807720 h 1485900"/>
                    <a:gd name="connsiteX2" fmla="*/ 899160 w 2727960"/>
                    <a:gd name="connsiteY2" fmla="*/ 807720 h 1485900"/>
                    <a:gd name="connsiteX3" fmla="*/ 701040 w 2727960"/>
                    <a:gd name="connsiteY3" fmla="*/ 0 h 1485900"/>
                    <a:gd name="connsiteX4" fmla="*/ 152400 w 2727960"/>
                    <a:gd name="connsiteY4" fmla="*/ 853440 h 1485900"/>
                    <a:gd name="connsiteX5" fmla="*/ 0 w 2727960"/>
                    <a:gd name="connsiteY5" fmla="*/ 1051560 h 1485900"/>
                    <a:gd name="connsiteX6" fmla="*/ 731520 w 2727960"/>
                    <a:gd name="connsiteY6" fmla="*/ 1485900 h 1485900"/>
                    <a:gd name="connsiteX7" fmla="*/ 2019300 w 2727960"/>
                    <a:gd name="connsiteY7" fmla="*/ 1485900 h 1485900"/>
                    <a:gd name="connsiteX8" fmla="*/ 2727960 w 2727960"/>
                    <a:gd name="connsiteY8" fmla="*/ 1059180 h 1485900"/>
                    <a:gd name="connsiteX9" fmla="*/ 2575560 w 2727960"/>
                    <a:gd name="connsiteY9" fmla="*/ 845820 h 1485900"/>
                    <a:gd name="connsiteX10" fmla="*/ 2042160 w 2727960"/>
                    <a:gd name="connsiteY10" fmla="*/ 7620 h 1485900"/>
                    <a:gd name="connsiteX0" fmla="*/ 2042160 w 2728309"/>
                    <a:gd name="connsiteY0" fmla="*/ 7620 h 1485900"/>
                    <a:gd name="connsiteX1" fmla="*/ 1851660 w 2728309"/>
                    <a:gd name="connsiteY1" fmla="*/ 807720 h 1485900"/>
                    <a:gd name="connsiteX2" fmla="*/ 899160 w 2728309"/>
                    <a:gd name="connsiteY2" fmla="*/ 807720 h 1485900"/>
                    <a:gd name="connsiteX3" fmla="*/ 701040 w 2728309"/>
                    <a:gd name="connsiteY3" fmla="*/ 0 h 1485900"/>
                    <a:gd name="connsiteX4" fmla="*/ 152400 w 2728309"/>
                    <a:gd name="connsiteY4" fmla="*/ 853440 h 1485900"/>
                    <a:gd name="connsiteX5" fmla="*/ 0 w 2728309"/>
                    <a:gd name="connsiteY5" fmla="*/ 1051560 h 1485900"/>
                    <a:gd name="connsiteX6" fmla="*/ 731520 w 2728309"/>
                    <a:gd name="connsiteY6" fmla="*/ 1485900 h 1485900"/>
                    <a:gd name="connsiteX7" fmla="*/ 2019300 w 2728309"/>
                    <a:gd name="connsiteY7" fmla="*/ 1485900 h 1485900"/>
                    <a:gd name="connsiteX8" fmla="*/ 2727960 w 2728309"/>
                    <a:gd name="connsiteY8" fmla="*/ 1059180 h 1485900"/>
                    <a:gd name="connsiteX9" fmla="*/ 2575560 w 2728309"/>
                    <a:gd name="connsiteY9" fmla="*/ 845820 h 1485900"/>
                    <a:gd name="connsiteX10" fmla="*/ 2042160 w 2728309"/>
                    <a:gd name="connsiteY10" fmla="*/ 7620 h 1485900"/>
                    <a:gd name="connsiteX0" fmla="*/ 2042160 w 2728309"/>
                    <a:gd name="connsiteY0" fmla="*/ 7620 h 1485900"/>
                    <a:gd name="connsiteX1" fmla="*/ 1851660 w 2728309"/>
                    <a:gd name="connsiteY1" fmla="*/ 807720 h 1485900"/>
                    <a:gd name="connsiteX2" fmla="*/ 899160 w 2728309"/>
                    <a:gd name="connsiteY2" fmla="*/ 807720 h 1485900"/>
                    <a:gd name="connsiteX3" fmla="*/ 701040 w 2728309"/>
                    <a:gd name="connsiteY3" fmla="*/ 0 h 1485900"/>
                    <a:gd name="connsiteX4" fmla="*/ 152400 w 2728309"/>
                    <a:gd name="connsiteY4" fmla="*/ 853440 h 1485900"/>
                    <a:gd name="connsiteX5" fmla="*/ 0 w 2728309"/>
                    <a:gd name="connsiteY5" fmla="*/ 1051560 h 1485900"/>
                    <a:gd name="connsiteX6" fmla="*/ 731520 w 2728309"/>
                    <a:gd name="connsiteY6" fmla="*/ 1485900 h 1485900"/>
                    <a:gd name="connsiteX7" fmla="*/ 2019300 w 2728309"/>
                    <a:gd name="connsiteY7" fmla="*/ 1485900 h 1485900"/>
                    <a:gd name="connsiteX8" fmla="*/ 2727960 w 2728309"/>
                    <a:gd name="connsiteY8" fmla="*/ 1059180 h 1485900"/>
                    <a:gd name="connsiteX9" fmla="*/ 2575560 w 2728309"/>
                    <a:gd name="connsiteY9" fmla="*/ 845820 h 1485900"/>
                    <a:gd name="connsiteX10" fmla="*/ 2042160 w 2728309"/>
                    <a:gd name="connsiteY10" fmla="*/ 7620 h 1485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728309" h="1485900">
                      <a:moveTo>
                        <a:pt x="2042160" y="7620"/>
                      </a:moveTo>
                      <a:lnTo>
                        <a:pt x="1851660" y="807720"/>
                      </a:lnTo>
                      <a:cubicBezTo>
                        <a:pt x="1808480" y="1120140"/>
                        <a:pt x="949960" y="1127760"/>
                        <a:pt x="899160" y="807720"/>
                      </a:cubicBezTo>
                      <a:lnTo>
                        <a:pt x="701040" y="0"/>
                      </a:lnTo>
                      <a:cubicBezTo>
                        <a:pt x="403860" y="208280"/>
                        <a:pt x="198120" y="530860"/>
                        <a:pt x="152400" y="853440"/>
                      </a:cubicBezTo>
                      <a:lnTo>
                        <a:pt x="0" y="1051560"/>
                      </a:lnTo>
                      <a:cubicBezTo>
                        <a:pt x="0" y="1211580"/>
                        <a:pt x="487680" y="1341120"/>
                        <a:pt x="731520" y="1485900"/>
                      </a:cubicBezTo>
                      <a:lnTo>
                        <a:pt x="2019300" y="1485900"/>
                      </a:lnTo>
                      <a:cubicBezTo>
                        <a:pt x="2255520" y="1343660"/>
                        <a:pt x="2743200" y="1201420"/>
                        <a:pt x="2727960" y="1059180"/>
                      </a:cubicBezTo>
                      <a:lnTo>
                        <a:pt x="2575560" y="845820"/>
                      </a:lnTo>
                      <a:cubicBezTo>
                        <a:pt x="2550160" y="642620"/>
                        <a:pt x="2341880" y="172720"/>
                        <a:pt x="2042160" y="762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25" name="Freeform 124"/>
                <p:cNvSpPr/>
                <p:nvPr/>
              </p:nvSpPr>
              <p:spPr bwMode="gray">
                <a:xfrm>
                  <a:off x="-2976958" y="434569"/>
                  <a:ext cx="1029910" cy="1034809"/>
                </a:xfrm>
                <a:custGeom>
                  <a:avLst/>
                  <a:gdLst>
                    <a:gd name="connsiteX0" fmla="*/ 175260 w 1021080"/>
                    <a:gd name="connsiteY0" fmla="*/ 784860 h 784860"/>
                    <a:gd name="connsiteX1" fmla="*/ 830580 w 1021080"/>
                    <a:gd name="connsiteY1" fmla="*/ 784860 h 784860"/>
                    <a:gd name="connsiteX2" fmla="*/ 1021080 w 1021080"/>
                    <a:gd name="connsiteY2" fmla="*/ 160020 h 784860"/>
                    <a:gd name="connsiteX3" fmla="*/ 883920 w 1021080"/>
                    <a:gd name="connsiteY3" fmla="*/ 0 h 784860"/>
                    <a:gd name="connsiteX4" fmla="*/ 99060 w 1021080"/>
                    <a:gd name="connsiteY4" fmla="*/ 0 h 784860"/>
                    <a:gd name="connsiteX5" fmla="*/ 0 w 1021080"/>
                    <a:gd name="connsiteY5" fmla="*/ 152400 h 784860"/>
                    <a:gd name="connsiteX6" fmla="*/ 175260 w 1021080"/>
                    <a:gd name="connsiteY6" fmla="*/ 784860 h 784860"/>
                    <a:gd name="connsiteX0" fmla="*/ 178680 w 1024500"/>
                    <a:gd name="connsiteY0" fmla="*/ 784860 h 784860"/>
                    <a:gd name="connsiteX1" fmla="*/ 834000 w 1024500"/>
                    <a:gd name="connsiteY1" fmla="*/ 784860 h 784860"/>
                    <a:gd name="connsiteX2" fmla="*/ 1024500 w 1024500"/>
                    <a:gd name="connsiteY2" fmla="*/ 160020 h 784860"/>
                    <a:gd name="connsiteX3" fmla="*/ 887340 w 1024500"/>
                    <a:gd name="connsiteY3" fmla="*/ 0 h 784860"/>
                    <a:gd name="connsiteX4" fmla="*/ 102480 w 1024500"/>
                    <a:gd name="connsiteY4" fmla="*/ 0 h 784860"/>
                    <a:gd name="connsiteX5" fmla="*/ 3420 w 1024500"/>
                    <a:gd name="connsiteY5" fmla="*/ 152400 h 784860"/>
                    <a:gd name="connsiteX6" fmla="*/ 178680 w 1024500"/>
                    <a:gd name="connsiteY6" fmla="*/ 784860 h 784860"/>
                    <a:gd name="connsiteX0" fmla="*/ 180418 w 1026238"/>
                    <a:gd name="connsiteY0" fmla="*/ 784860 h 784860"/>
                    <a:gd name="connsiteX1" fmla="*/ 835738 w 1026238"/>
                    <a:gd name="connsiteY1" fmla="*/ 784860 h 784860"/>
                    <a:gd name="connsiteX2" fmla="*/ 1026238 w 1026238"/>
                    <a:gd name="connsiteY2" fmla="*/ 160020 h 784860"/>
                    <a:gd name="connsiteX3" fmla="*/ 889078 w 1026238"/>
                    <a:gd name="connsiteY3" fmla="*/ 0 h 784860"/>
                    <a:gd name="connsiteX4" fmla="*/ 104218 w 1026238"/>
                    <a:gd name="connsiteY4" fmla="*/ 0 h 784860"/>
                    <a:gd name="connsiteX5" fmla="*/ 5158 w 1026238"/>
                    <a:gd name="connsiteY5" fmla="*/ 152400 h 784860"/>
                    <a:gd name="connsiteX6" fmla="*/ 180418 w 1026238"/>
                    <a:gd name="connsiteY6" fmla="*/ 784860 h 784860"/>
                    <a:gd name="connsiteX0" fmla="*/ 180418 w 1026238"/>
                    <a:gd name="connsiteY0" fmla="*/ 818726 h 818726"/>
                    <a:gd name="connsiteX1" fmla="*/ 835738 w 1026238"/>
                    <a:gd name="connsiteY1" fmla="*/ 818726 h 818726"/>
                    <a:gd name="connsiteX2" fmla="*/ 1026238 w 1026238"/>
                    <a:gd name="connsiteY2" fmla="*/ 193886 h 818726"/>
                    <a:gd name="connsiteX3" fmla="*/ 889078 w 1026238"/>
                    <a:gd name="connsiteY3" fmla="*/ 33866 h 818726"/>
                    <a:gd name="connsiteX4" fmla="*/ 104218 w 1026238"/>
                    <a:gd name="connsiteY4" fmla="*/ 33866 h 818726"/>
                    <a:gd name="connsiteX5" fmla="*/ 5158 w 1026238"/>
                    <a:gd name="connsiteY5" fmla="*/ 186266 h 818726"/>
                    <a:gd name="connsiteX6" fmla="*/ 180418 w 1026238"/>
                    <a:gd name="connsiteY6" fmla="*/ 818726 h 818726"/>
                    <a:gd name="connsiteX0" fmla="*/ 180418 w 1026238"/>
                    <a:gd name="connsiteY0" fmla="*/ 830351 h 830351"/>
                    <a:gd name="connsiteX1" fmla="*/ 835738 w 1026238"/>
                    <a:gd name="connsiteY1" fmla="*/ 830351 h 830351"/>
                    <a:gd name="connsiteX2" fmla="*/ 1026238 w 1026238"/>
                    <a:gd name="connsiteY2" fmla="*/ 205511 h 830351"/>
                    <a:gd name="connsiteX3" fmla="*/ 889078 w 1026238"/>
                    <a:gd name="connsiteY3" fmla="*/ 45491 h 830351"/>
                    <a:gd name="connsiteX4" fmla="*/ 104218 w 1026238"/>
                    <a:gd name="connsiteY4" fmla="*/ 45491 h 830351"/>
                    <a:gd name="connsiteX5" fmla="*/ 5158 w 1026238"/>
                    <a:gd name="connsiteY5" fmla="*/ 197891 h 830351"/>
                    <a:gd name="connsiteX6" fmla="*/ 180418 w 1026238"/>
                    <a:gd name="connsiteY6" fmla="*/ 830351 h 830351"/>
                    <a:gd name="connsiteX0" fmla="*/ 180418 w 1026238"/>
                    <a:gd name="connsiteY0" fmla="*/ 830351 h 830351"/>
                    <a:gd name="connsiteX1" fmla="*/ 835738 w 1026238"/>
                    <a:gd name="connsiteY1" fmla="*/ 830351 h 830351"/>
                    <a:gd name="connsiteX2" fmla="*/ 1026238 w 1026238"/>
                    <a:gd name="connsiteY2" fmla="*/ 205511 h 830351"/>
                    <a:gd name="connsiteX3" fmla="*/ 889078 w 1026238"/>
                    <a:gd name="connsiteY3" fmla="*/ 45491 h 830351"/>
                    <a:gd name="connsiteX4" fmla="*/ 104218 w 1026238"/>
                    <a:gd name="connsiteY4" fmla="*/ 45491 h 830351"/>
                    <a:gd name="connsiteX5" fmla="*/ 5158 w 1026238"/>
                    <a:gd name="connsiteY5" fmla="*/ 197891 h 830351"/>
                    <a:gd name="connsiteX6" fmla="*/ 180418 w 1026238"/>
                    <a:gd name="connsiteY6" fmla="*/ 830351 h 830351"/>
                    <a:gd name="connsiteX0" fmla="*/ 180418 w 1029908"/>
                    <a:gd name="connsiteY0" fmla="*/ 830351 h 830351"/>
                    <a:gd name="connsiteX1" fmla="*/ 835738 w 1029908"/>
                    <a:gd name="connsiteY1" fmla="*/ 830351 h 830351"/>
                    <a:gd name="connsiteX2" fmla="*/ 1026238 w 1029908"/>
                    <a:gd name="connsiteY2" fmla="*/ 205511 h 830351"/>
                    <a:gd name="connsiteX3" fmla="*/ 889078 w 1029908"/>
                    <a:gd name="connsiteY3" fmla="*/ 45491 h 830351"/>
                    <a:gd name="connsiteX4" fmla="*/ 104218 w 1029908"/>
                    <a:gd name="connsiteY4" fmla="*/ 45491 h 830351"/>
                    <a:gd name="connsiteX5" fmla="*/ 5158 w 1029908"/>
                    <a:gd name="connsiteY5" fmla="*/ 197891 h 830351"/>
                    <a:gd name="connsiteX6" fmla="*/ 180418 w 1029908"/>
                    <a:gd name="connsiteY6" fmla="*/ 830351 h 830351"/>
                    <a:gd name="connsiteX0" fmla="*/ 180418 w 1029908"/>
                    <a:gd name="connsiteY0" fmla="*/ 830351 h 909726"/>
                    <a:gd name="connsiteX1" fmla="*/ 835738 w 1029908"/>
                    <a:gd name="connsiteY1" fmla="*/ 830351 h 909726"/>
                    <a:gd name="connsiteX2" fmla="*/ 1026238 w 1029908"/>
                    <a:gd name="connsiteY2" fmla="*/ 205511 h 909726"/>
                    <a:gd name="connsiteX3" fmla="*/ 889078 w 1029908"/>
                    <a:gd name="connsiteY3" fmla="*/ 45491 h 909726"/>
                    <a:gd name="connsiteX4" fmla="*/ 104218 w 1029908"/>
                    <a:gd name="connsiteY4" fmla="*/ 45491 h 909726"/>
                    <a:gd name="connsiteX5" fmla="*/ 5158 w 1029908"/>
                    <a:gd name="connsiteY5" fmla="*/ 197891 h 909726"/>
                    <a:gd name="connsiteX6" fmla="*/ 180418 w 1029908"/>
                    <a:gd name="connsiteY6" fmla="*/ 830351 h 909726"/>
                    <a:gd name="connsiteX0" fmla="*/ 180418 w 1029908"/>
                    <a:gd name="connsiteY0" fmla="*/ 830351 h 939909"/>
                    <a:gd name="connsiteX1" fmla="*/ 835738 w 1029908"/>
                    <a:gd name="connsiteY1" fmla="*/ 830351 h 939909"/>
                    <a:gd name="connsiteX2" fmla="*/ 1026238 w 1029908"/>
                    <a:gd name="connsiteY2" fmla="*/ 205511 h 939909"/>
                    <a:gd name="connsiteX3" fmla="*/ 889078 w 1029908"/>
                    <a:gd name="connsiteY3" fmla="*/ 45491 h 939909"/>
                    <a:gd name="connsiteX4" fmla="*/ 104218 w 1029908"/>
                    <a:gd name="connsiteY4" fmla="*/ 45491 h 939909"/>
                    <a:gd name="connsiteX5" fmla="*/ 5158 w 1029908"/>
                    <a:gd name="connsiteY5" fmla="*/ 197891 h 939909"/>
                    <a:gd name="connsiteX6" fmla="*/ 180418 w 1029908"/>
                    <a:gd name="connsiteY6" fmla="*/ 830351 h 939909"/>
                    <a:gd name="connsiteX0" fmla="*/ 180418 w 1029908"/>
                    <a:gd name="connsiteY0" fmla="*/ 830351 h 998902"/>
                    <a:gd name="connsiteX1" fmla="*/ 835738 w 1029908"/>
                    <a:gd name="connsiteY1" fmla="*/ 830351 h 998902"/>
                    <a:gd name="connsiteX2" fmla="*/ 1026238 w 1029908"/>
                    <a:gd name="connsiteY2" fmla="*/ 205511 h 998902"/>
                    <a:gd name="connsiteX3" fmla="*/ 889078 w 1029908"/>
                    <a:gd name="connsiteY3" fmla="*/ 45491 h 998902"/>
                    <a:gd name="connsiteX4" fmla="*/ 104218 w 1029908"/>
                    <a:gd name="connsiteY4" fmla="*/ 45491 h 998902"/>
                    <a:gd name="connsiteX5" fmla="*/ 5158 w 1029908"/>
                    <a:gd name="connsiteY5" fmla="*/ 197891 h 998902"/>
                    <a:gd name="connsiteX6" fmla="*/ 180418 w 1029908"/>
                    <a:gd name="connsiteY6" fmla="*/ 830351 h 998902"/>
                    <a:gd name="connsiteX0" fmla="*/ 180418 w 1029908"/>
                    <a:gd name="connsiteY0" fmla="*/ 830351 h 1034809"/>
                    <a:gd name="connsiteX1" fmla="*/ 835738 w 1029908"/>
                    <a:gd name="connsiteY1" fmla="*/ 830351 h 1034809"/>
                    <a:gd name="connsiteX2" fmla="*/ 1026238 w 1029908"/>
                    <a:gd name="connsiteY2" fmla="*/ 205511 h 1034809"/>
                    <a:gd name="connsiteX3" fmla="*/ 889078 w 1029908"/>
                    <a:gd name="connsiteY3" fmla="*/ 45491 h 1034809"/>
                    <a:gd name="connsiteX4" fmla="*/ 104218 w 1029908"/>
                    <a:gd name="connsiteY4" fmla="*/ 45491 h 1034809"/>
                    <a:gd name="connsiteX5" fmla="*/ 5158 w 1029908"/>
                    <a:gd name="connsiteY5" fmla="*/ 197891 h 1034809"/>
                    <a:gd name="connsiteX6" fmla="*/ 180418 w 1029908"/>
                    <a:gd name="connsiteY6" fmla="*/ 830351 h 1034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29908" h="1034809">
                      <a:moveTo>
                        <a:pt x="180418" y="830351"/>
                      </a:moveTo>
                      <a:cubicBezTo>
                        <a:pt x="253578" y="1096962"/>
                        <a:pt x="743518" y="1108901"/>
                        <a:pt x="835738" y="830351"/>
                      </a:cubicBezTo>
                      <a:lnTo>
                        <a:pt x="1026238" y="205511"/>
                      </a:lnTo>
                      <a:cubicBezTo>
                        <a:pt x="1044812" y="133121"/>
                        <a:pt x="991948" y="60731"/>
                        <a:pt x="889078" y="45491"/>
                      </a:cubicBezTo>
                      <a:cubicBezTo>
                        <a:pt x="756045" y="2629"/>
                        <a:pt x="387269" y="-30709"/>
                        <a:pt x="104218" y="45491"/>
                      </a:cubicBezTo>
                      <a:cubicBezTo>
                        <a:pt x="33098" y="70097"/>
                        <a:pt x="-16591" y="120897"/>
                        <a:pt x="5158" y="197891"/>
                      </a:cubicBezTo>
                      <a:lnTo>
                        <a:pt x="180418" y="830351"/>
                      </a:ln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26" name="Freeform 125"/>
                <p:cNvSpPr/>
                <p:nvPr/>
              </p:nvSpPr>
              <p:spPr bwMode="gray">
                <a:xfrm>
                  <a:off x="-3689350" y="2006600"/>
                  <a:ext cx="2432050" cy="1168698"/>
                </a:xfrm>
                <a:custGeom>
                  <a:avLst/>
                  <a:gdLst>
                    <a:gd name="connsiteX0" fmla="*/ 2432050 w 2432050"/>
                    <a:gd name="connsiteY0" fmla="*/ 0 h 1168400"/>
                    <a:gd name="connsiteX1" fmla="*/ 1911350 w 2432050"/>
                    <a:gd name="connsiteY1" fmla="*/ 260350 h 1168400"/>
                    <a:gd name="connsiteX2" fmla="*/ 539750 w 2432050"/>
                    <a:gd name="connsiteY2" fmla="*/ 260350 h 1168400"/>
                    <a:gd name="connsiteX3" fmla="*/ 0 w 2432050"/>
                    <a:gd name="connsiteY3" fmla="*/ 6350 h 1168400"/>
                    <a:gd name="connsiteX4" fmla="*/ 1181100 w 2432050"/>
                    <a:gd name="connsiteY4" fmla="*/ 1168400 h 1168400"/>
                    <a:gd name="connsiteX5" fmla="*/ 2432050 w 2432050"/>
                    <a:gd name="connsiteY5" fmla="*/ 0 h 1168400"/>
                    <a:gd name="connsiteX0" fmla="*/ 2432050 w 2432050"/>
                    <a:gd name="connsiteY0" fmla="*/ 0 h 1168400"/>
                    <a:gd name="connsiteX1" fmla="*/ 1911350 w 2432050"/>
                    <a:gd name="connsiteY1" fmla="*/ 260350 h 1168400"/>
                    <a:gd name="connsiteX2" fmla="*/ 539750 w 2432050"/>
                    <a:gd name="connsiteY2" fmla="*/ 260350 h 1168400"/>
                    <a:gd name="connsiteX3" fmla="*/ 0 w 2432050"/>
                    <a:gd name="connsiteY3" fmla="*/ 6350 h 1168400"/>
                    <a:gd name="connsiteX4" fmla="*/ 1181100 w 2432050"/>
                    <a:gd name="connsiteY4" fmla="*/ 1168400 h 1168400"/>
                    <a:gd name="connsiteX5" fmla="*/ 2432050 w 2432050"/>
                    <a:gd name="connsiteY5" fmla="*/ 0 h 1168400"/>
                    <a:gd name="connsiteX0" fmla="*/ 2432050 w 2432050"/>
                    <a:gd name="connsiteY0" fmla="*/ 0 h 1168400"/>
                    <a:gd name="connsiteX1" fmla="*/ 1911350 w 2432050"/>
                    <a:gd name="connsiteY1" fmla="*/ 260350 h 1168400"/>
                    <a:gd name="connsiteX2" fmla="*/ 539750 w 2432050"/>
                    <a:gd name="connsiteY2" fmla="*/ 260350 h 1168400"/>
                    <a:gd name="connsiteX3" fmla="*/ 0 w 2432050"/>
                    <a:gd name="connsiteY3" fmla="*/ 6350 h 1168400"/>
                    <a:gd name="connsiteX4" fmla="*/ 1181100 w 2432050"/>
                    <a:gd name="connsiteY4" fmla="*/ 1168400 h 1168400"/>
                    <a:gd name="connsiteX5" fmla="*/ 2432050 w 2432050"/>
                    <a:gd name="connsiteY5" fmla="*/ 0 h 1168400"/>
                    <a:gd name="connsiteX0" fmla="*/ 2432050 w 2432050"/>
                    <a:gd name="connsiteY0" fmla="*/ 0 h 1168698"/>
                    <a:gd name="connsiteX1" fmla="*/ 1911350 w 2432050"/>
                    <a:gd name="connsiteY1" fmla="*/ 260350 h 1168698"/>
                    <a:gd name="connsiteX2" fmla="*/ 539750 w 2432050"/>
                    <a:gd name="connsiteY2" fmla="*/ 260350 h 1168698"/>
                    <a:gd name="connsiteX3" fmla="*/ 0 w 2432050"/>
                    <a:gd name="connsiteY3" fmla="*/ 6350 h 1168698"/>
                    <a:gd name="connsiteX4" fmla="*/ 1181100 w 2432050"/>
                    <a:gd name="connsiteY4" fmla="*/ 1168400 h 1168698"/>
                    <a:gd name="connsiteX5" fmla="*/ 2432050 w 2432050"/>
                    <a:gd name="connsiteY5" fmla="*/ 0 h 1168698"/>
                    <a:gd name="connsiteX0" fmla="*/ 2432050 w 2432050"/>
                    <a:gd name="connsiteY0" fmla="*/ 0 h 1168698"/>
                    <a:gd name="connsiteX1" fmla="*/ 1911350 w 2432050"/>
                    <a:gd name="connsiteY1" fmla="*/ 260350 h 1168698"/>
                    <a:gd name="connsiteX2" fmla="*/ 539750 w 2432050"/>
                    <a:gd name="connsiteY2" fmla="*/ 260350 h 1168698"/>
                    <a:gd name="connsiteX3" fmla="*/ 0 w 2432050"/>
                    <a:gd name="connsiteY3" fmla="*/ 6350 h 1168698"/>
                    <a:gd name="connsiteX4" fmla="*/ 1181100 w 2432050"/>
                    <a:gd name="connsiteY4" fmla="*/ 1168400 h 1168698"/>
                    <a:gd name="connsiteX5" fmla="*/ 2432050 w 2432050"/>
                    <a:gd name="connsiteY5" fmla="*/ 0 h 1168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32050" h="1168698">
                      <a:moveTo>
                        <a:pt x="2432050" y="0"/>
                      </a:moveTo>
                      <a:lnTo>
                        <a:pt x="1911350" y="260350"/>
                      </a:lnTo>
                      <a:lnTo>
                        <a:pt x="539750" y="260350"/>
                      </a:lnTo>
                      <a:lnTo>
                        <a:pt x="0" y="6350"/>
                      </a:lnTo>
                      <a:cubicBezTo>
                        <a:pt x="6350" y="742950"/>
                        <a:pt x="698500" y="1155700"/>
                        <a:pt x="1181100" y="1168400"/>
                      </a:cubicBezTo>
                      <a:cubicBezTo>
                        <a:pt x="1572683" y="1178983"/>
                        <a:pt x="2383367" y="910167"/>
                        <a:pt x="243205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27" name="Freeform 126"/>
                <p:cNvSpPr/>
                <p:nvPr/>
              </p:nvSpPr>
              <p:spPr bwMode="gray">
                <a:xfrm>
                  <a:off x="-2781300" y="3295650"/>
                  <a:ext cx="615950" cy="1701800"/>
                </a:xfrm>
                <a:custGeom>
                  <a:avLst/>
                  <a:gdLst>
                    <a:gd name="connsiteX0" fmla="*/ 0 w 615950"/>
                    <a:gd name="connsiteY0" fmla="*/ 0 h 1701800"/>
                    <a:gd name="connsiteX1" fmla="*/ 609600 w 615950"/>
                    <a:gd name="connsiteY1" fmla="*/ 0 h 1701800"/>
                    <a:gd name="connsiteX2" fmla="*/ 425450 w 615950"/>
                    <a:gd name="connsiteY2" fmla="*/ 374650 h 1701800"/>
                    <a:gd name="connsiteX3" fmla="*/ 615950 w 615950"/>
                    <a:gd name="connsiteY3" fmla="*/ 1409700 h 1701800"/>
                    <a:gd name="connsiteX4" fmla="*/ 311150 w 615950"/>
                    <a:gd name="connsiteY4" fmla="*/ 1701800 h 1701800"/>
                    <a:gd name="connsiteX5" fmla="*/ 19050 w 615950"/>
                    <a:gd name="connsiteY5" fmla="*/ 1403350 h 1701800"/>
                    <a:gd name="connsiteX6" fmla="*/ 190500 w 615950"/>
                    <a:gd name="connsiteY6" fmla="*/ 381000 h 1701800"/>
                    <a:gd name="connsiteX7" fmla="*/ 0 w 615950"/>
                    <a:gd name="connsiteY7" fmla="*/ 0 h 1701800"/>
                    <a:gd name="connsiteX0" fmla="*/ 0 w 615950"/>
                    <a:gd name="connsiteY0" fmla="*/ 0 h 1701800"/>
                    <a:gd name="connsiteX1" fmla="*/ 609600 w 615950"/>
                    <a:gd name="connsiteY1" fmla="*/ 0 h 1701800"/>
                    <a:gd name="connsiteX2" fmla="*/ 425450 w 615950"/>
                    <a:gd name="connsiteY2" fmla="*/ 374650 h 1701800"/>
                    <a:gd name="connsiteX3" fmla="*/ 615950 w 615950"/>
                    <a:gd name="connsiteY3" fmla="*/ 1409700 h 1701800"/>
                    <a:gd name="connsiteX4" fmla="*/ 311150 w 615950"/>
                    <a:gd name="connsiteY4" fmla="*/ 1701800 h 1701800"/>
                    <a:gd name="connsiteX5" fmla="*/ 19050 w 615950"/>
                    <a:gd name="connsiteY5" fmla="*/ 1403350 h 1701800"/>
                    <a:gd name="connsiteX6" fmla="*/ 190500 w 615950"/>
                    <a:gd name="connsiteY6" fmla="*/ 381000 h 1701800"/>
                    <a:gd name="connsiteX7" fmla="*/ 0 w 615950"/>
                    <a:gd name="connsiteY7" fmla="*/ 0 h 1701800"/>
                    <a:gd name="connsiteX0" fmla="*/ 0 w 615950"/>
                    <a:gd name="connsiteY0" fmla="*/ 0 h 1701800"/>
                    <a:gd name="connsiteX1" fmla="*/ 609600 w 615950"/>
                    <a:gd name="connsiteY1" fmla="*/ 0 h 1701800"/>
                    <a:gd name="connsiteX2" fmla="*/ 425450 w 615950"/>
                    <a:gd name="connsiteY2" fmla="*/ 374650 h 1701800"/>
                    <a:gd name="connsiteX3" fmla="*/ 615950 w 615950"/>
                    <a:gd name="connsiteY3" fmla="*/ 1409700 h 1701800"/>
                    <a:gd name="connsiteX4" fmla="*/ 311150 w 615950"/>
                    <a:gd name="connsiteY4" fmla="*/ 1701800 h 1701800"/>
                    <a:gd name="connsiteX5" fmla="*/ 19050 w 615950"/>
                    <a:gd name="connsiteY5" fmla="*/ 1403350 h 1701800"/>
                    <a:gd name="connsiteX6" fmla="*/ 190500 w 615950"/>
                    <a:gd name="connsiteY6" fmla="*/ 381000 h 1701800"/>
                    <a:gd name="connsiteX7" fmla="*/ 0 w 615950"/>
                    <a:gd name="connsiteY7" fmla="*/ 0 h 1701800"/>
                    <a:gd name="connsiteX0" fmla="*/ 0 w 615950"/>
                    <a:gd name="connsiteY0" fmla="*/ 0 h 1701800"/>
                    <a:gd name="connsiteX1" fmla="*/ 609600 w 615950"/>
                    <a:gd name="connsiteY1" fmla="*/ 0 h 1701800"/>
                    <a:gd name="connsiteX2" fmla="*/ 425450 w 615950"/>
                    <a:gd name="connsiteY2" fmla="*/ 374650 h 1701800"/>
                    <a:gd name="connsiteX3" fmla="*/ 615950 w 615950"/>
                    <a:gd name="connsiteY3" fmla="*/ 1409700 h 1701800"/>
                    <a:gd name="connsiteX4" fmla="*/ 311150 w 615950"/>
                    <a:gd name="connsiteY4" fmla="*/ 1701800 h 1701800"/>
                    <a:gd name="connsiteX5" fmla="*/ 19050 w 615950"/>
                    <a:gd name="connsiteY5" fmla="*/ 1403350 h 1701800"/>
                    <a:gd name="connsiteX6" fmla="*/ 190500 w 615950"/>
                    <a:gd name="connsiteY6" fmla="*/ 381000 h 1701800"/>
                    <a:gd name="connsiteX7" fmla="*/ 0 w 615950"/>
                    <a:gd name="connsiteY7" fmla="*/ 0 h 1701800"/>
                    <a:gd name="connsiteX0" fmla="*/ 0 w 615950"/>
                    <a:gd name="connsiteY0" fmla="*/ 0 h 1701800"/>
                    <a:gd name="connsiteX1" fmla="*/ 609600 w 615950"/>
                    <a:gd name="connsiteY1" fmla="*/ 0 h 1701800"/>
                    <a:gd name="connsiteX2" fmla="*/ 425450 w 615950"/>
                    <a:gd name="connsiteY2" fmla="*/ 374650 h 1701800"/>
                    <a:gd name="connsiteX3" fmla="*/ 615950 w 615950"/>
                    <a:gd name="connsiteY3" fmla="*/ 1409700 h 1701800"/>
                    <a:gd name="connsiteX4" fmla="*/ 311150 w 615950"/>
                    <a:gd name="connsiteY4" fmla="*/ 1701800 h 1701800"/>
                    <a:gd name="connsiteX5" fmla="*/ 19050 w 615950"/>
                    <a:gd name="connsiteY5" fmla="*/ 1403350 h 1701800"/>
                    <a:gd name="connsiteX6" fmla="*/ 190500 w 615950"/>
                    <a:gd name="connsiteY6" fmla="*/ 381000 h 1701800"/>
                    <a:gd name="connsiteX7" fmla="*/ 0 w 615950"/>
                    <a:gd name="connsiteY7" fmla="*/ 0 h 1701800"/>
                    <a:gd name="connsiteX0" fmla="*/ 0 w 615950"/>
                    <a:gd name="connsiteY0" fmla="*/ 0 h 1701800"/>
                    <a:gd name="connsiteX1" fmla="*/ 609600 w 615950"/>
                    <a:gd name="connsiteY1" fmla="*/ 0 h 1701800"/>
                    <a:gd name="connsiteX2" fmla="*/ 425450 w 615950"/>
                    <a:gd name="connsiteY2" fmla="*/ 374650 h 1701800"/>
                    <a:gd name="connsiteX3" fmla="*/ 615950 w 615950"/>
                    <a:gd name="connsiteY3" fmla="*/ 1409700 h 1701800"/>
                    <a:gd name="connsiteX4" fmla="*/ 311150 w 615950"/>
                    <a:gd name="connsiteY4" fmla="*/ 1701800 h 1701800"/>
                    <a:gd name="connsiteX5" fmla="*/ 19050 w 615950"/>
                    <a:gd name="connsiteY5" fmla="*/ 1403350 h 1701800"/>
                    <a:gd name="connsiteX6" fmla="*/ 190500 w 615950"/>
                    <a:gd name="connsiteY6" fmla="*/ 381000 h 1701800"/>
                    <a:gd name="connsiteX7" fmla="*/ 0 w 615950"/>
                    <a:gd name="connsiteY7" fmla="*/ 0 h 1701800"/>
                    <a:gd name="connsiteX0" fmla="*/ 0 w 615950"/>
                    <a:gd name="connsiteY0" fmla="*/ 0 h 1701800"/>
                    <a:gd name="connsiteX1" fmla="*/ 609600 w 615950"/>
                    <a:gd name="connsiteY1" fmla="*/ 0 h 1701800"/>
                    <a:gd name="connsiteX2" fmla="*/ 425450 w 615950"/>
                    <a:gd name="connsiteY2" fmla="*/ 374650 h 1701800"/>
                    <a:gd name="connsiteX3" fmla="*/ 615950 w 615950"/>
                    <a:gd name="connsiteY3" fmla="*/ 1409700 h 1701800"/>
                    <a:gd name="connsiteX4" fmla="*/ 311150 w 615950"/>
                    <a:gd name="connsiteY4" fmla="*/ 1701800 h 1701800"/>
                    <a:gd name="connsiteX5" fmla="*/ 19050 w 615950"/>
                    <a:gd name="connsiteY5" fmla="*/ 1403350 h 1701800"/>
                    <a:gd name="connsiteX6" fmla="*/ 190500 w 615950"/>
                    <a:gd name="connsiteY6" fmla="*/ 381000 h 1701800"/>
                    <a:gd name="connsiteX7" fmla="*/ 0 w 615950"/>
                    <a:gd name="connsiteY7" fmla="*/ 0 h 170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15950" h="1701800">
                      <a:moveTo>
                        <a:pt x="0" y="0"/>
                      </a:moveTo>
                      <a:cubicBezTo>
                        <a:pt x="158750" y="38100"/>
                        <a:pt x="368300" y="63500"/>
                        <a:pt x="609600" y="0"/>
                      </a:cubicBezTo>
                      <a:cubicBezTo>
                        <a:pt x="611717" y="175683"/>
                        <a:pt x="575733" y="275167"/>
                        <a:pt x="425450" y="374650"/>
                      </a:cubicBezTo>
                      <a:lnTo>
                        <a:pt x="615950" y="1409700"/>
                      </a:lnTo>
                      <a:lnTo>
                        <a:pt x="311150" y="1701800"/>
                      </a:lnTo>
                      <a:lnTo>
                        <a:pt x="19050" y="1403350"/>
                      </a:lnTo>
                      <a:lnTo>
                        <a:pt x="190500" y="381000"/>
                      </a:lnTo>
                      <a:cubicBezTo>
                        <a:pt x="69850" y="279400"/>
                        <a:pt x="0" y="190500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28" name="Freeform 127"/>
                <p:cNvSpPr/>
                <p:nvPr/>
              </p:nvSpPr>
              <p:spPr bwMode="gray">
                <a:xfrm>
                  <a:off x="-2235200" y="3117850"/>
                  <a:ext cx="1289447" cy="1885950"/>
                </a:xfrm>
                <a:custGeom>
                  <a:avLst/>
                  <a:gdLst>
                    <a:gd name="connsiteX0" fmla="*/ 488950 w 1289050"/>
                    <a:gd name="connsiteY0" fmla="*/ 0 h 1885950"/>
                    <a:gd name="connsiteX1" fmla="*/ 215900 w 1289050"/>
                    <a:gd name="connsiteY1" fmla="*/ 152400 h 1885950"/>
                    <a:gd name="connsiteX2" fmla="*/ 50800 w 1289050"/>
                    <a:gd name="connsiteY2" fmla="*/ 609600 h 1885950"/>
                    <a:gd name="connsiteX3" fmla="*/ 215900 w 1289050"/>
                    <a:gd name="connsiteY3" fmla="*/ 1504950 h 1885950"/>
                    <a:gd name="connsiteX4" fmla="*/ 171450 w 1289050"/>
                    <a:gd name="connsiteY4" fmla="*/ 1714500 h 1885950"/>
                    <a:gd name="connsiteX5" fmla="*/ 0 w 1289050"/>
                    <a:gd name="connsiteY5" fmla="*/ 1885950 h 1885950"/>
                    <a:gd name="connsiteX6" fmla="*/ 1289050 w 1289050"/>
                    <a:gd name="connsiteY6" fmla="*/ 1403350 h 1885950"/>
                    <a:gd name="connsiteX7" fmla="*/ 488950 w 1289050"/>
                    <a:gd name="connsiteY7" fmla="*/ 0 h 1885950"/>
                    <a:gd name="connsiteX0" fmla="*/ 488950 w 1289050"/>
                    <a:gd name="connsiteY0" fmla="*/ 0 h 1885950"/>
                    <a:gd name="connsiteX1" fmla="*/ 215900 w 1289050"/>
                    <a:gd name="connsiteY1" fmla="*/ 152400 h 1885950"/>
                    <a:gd name="connsiteX2" fmla="*/ 50800 w 1289050"/>
                    <a:gd name="connsiteY2" fmla="*/ 609600 h 1885950"/>
                    <a:gd name="connsiteX3" fmla="*/ 215900 w 1289050"/>
                    <a:gd name="connsiteY3" fmla="*/ 1504950 h 1885950"/>
                    <a:gd name="connsiteX4" fmla="*/ 171450 w 1289050"/>
                    <a:gd name="connsiteY4" fmla="*/ 1714500 h 1885950"/>
                    <a:gd name="connsiteX5" fmla="*/ 0 w 1289050"/>
                    <a:gd name="connsiteY5" fmla="*/ 1885950 h 1885950"/>
                    <a:gd name="connsiteX6" fmla="*/ 1289050 w 1289050"/>
                    <a:gd name="connsiteY6" fmla="*/ 1403350 h 1885950"/>
                    <a:gd name="connsiteX7" fmla="*/ 488950 w 1289050"/>
                    <a:gd name="connsiteY7" fmla="*/ 0 h 1885950"/>
                    <a:gd name="connsiteX0" fmla="*/ 488950 w 1289050"/>
                    <a:gd name="connsiteY0" fmla="*/ 0 h 1885950"/>
                    <a:gd name="connsiteX1" fmla="*/ 215900 w 1289050"/>
                    <a:gd name="connsiteY1" fmla="*/ 152400 h 1885950"/>
                    <a:gd name="connsiteX2" fmla="*/ 50800 w 1289050"/>
                    <a:gd name="connsiteY2" fmla="*/ 609600 h 1885950"/>
                    <a:gd name="connsiteX3" fmla="*/ 215900 w 1289050"/>
                    <a:gd name="connsiteY3" fmla="*/ 1504950 h 1885950"/>
                    <a:gd name="connsiteX4" fmla="*/ 171450 w 1289050"/>
                    <a:gd name="connsiteY4" fmla="*/ 1714500 h 1885950"/>
                    <a:gd name="connsiteX5" fmla="*/ 0 w 1289050"/>
                    <a:gd name="connsiteY5" fmla="*/ 1885950 h 1885950"/>
                    <a:gd name="connsiteX6" fmla="*/ 1289050 w 1289050"/>
                    <a:gd name="connsiteY6" fmla="*/ 1403350 h 1885950"/>
                    <a:gd name="connsiteX7" fmla="*/ 488950 w 1289050"/>
                    <a:gd name="connsiteY7" fmla="*/ 0 h 1885950"/>
                    <a:gd name="connsiteX0" fmla="*/ 488950 w 1289050"/>
                    <a:gd name="connsiteY0" fmla="*/ 0 h 1885950"/>
                    <a:gd name="connsiteX1" fmla="*/ 215900 w 1289050"/>
                    <a:gd name="connsiteY1" fmla="*/ 152400 h 1885950"/>
                    <a:gd name="connsiteX2" fmla="*/ 50800 w 1289050"/>
                    <a:gd name="connsiteY2" fmla="*/ 609600 h 1885950"/>
                    <a:gd name="connsiteX3" fmla="*/ 215900 w 1289050"/>
                    <a:gd name="connsiteY3" fmla="*/ 1504950 h 1885950"/>
                    <a:gd name="connsiteX4" fmla="*/ 171450 w 1289050"/>
                    <a:gd name="connsiteY4" fmla="*/ 1714500 h 1885950"/>
                    <a:gd name="connsiteX5" fmla="*/ 0 w 1289050"/>
                    <a:gd name="connsiteY5" fmla="*/ 1885950 h 1885950"/>
                    <a:gd name="connsiteX6" fmla="*/ 1289050 w 1289050"/>
                    <a:gd name="connsiteY6" fmla="*/ 1403350 h 1885950"/>
                    <a:gd name="connsiteX7" fmla="*/ 488950 w 1289050"/>
                    <a:gd name="connsiteY7" fmla="*/ 0 h 1885950"/>
                    <a:gd name="connsiteX0" fmla="*/ 488950 w 1289050"/>
                    <a:gd name="connsiteY0" fmla="*/ 0 h 1885950"/>
                    <a:gd name="connsiteX1" fmla="*/ 215900 w 1289050"/>
                    <a:gd name="connsiteY1" fmla="*/ 152400 h 1885950"/>
                    <a:gd name="connsiteX2" fmla="*/ 50800 w 1289050"/>
                    <a:gd name="connsiteY2" fmla="*/ 609600 h 1885950"/>
                    <a:gd name="connsiteX3" fmla="*/ 215900 w 1289050"/>
                    <a:gd name="connsiteY3" fmla="*/ 1504950 h 1885950"/>
                    <a:gd name="connsiteX4" fmla="*/ 171450 w 1289050"/>
                    <a:gd name="connsiteY4" fmla="*/ 1714500 h 1885950"/>
                    <a:gd name="connsiteX5" fmla="*/ 0 w 1289050"/>
                    <a:gd name="connsiteY5" fmla="*/ 1885950 h 1885950"/>
                    <a:gd name="connsiteX6" fmla="*/ 1289050 w 1289050"/>
                    <a:gd name="connsiteY6" fmla="*/ 1403350 h 1885950"/>
                    <a:gd name="connsiteX7" fmla="*/ 488950 w 1289050"/>
                    <a:gd name="connsiteY7" fmla="*/ 0 h 1885950"/>
                    <a:gd name="connsiteX0" fmla="*/ 488950 w 1291475"/>
                    <a:gd name="connsiteY0" fmla="*/ 0 h 1885950"/>
                    <a:gd name="connsiteX1" fmla="*/ 215900 w 1291475"/>
                    <a:gd name="connsiteY1" fmla="*/ 152400 h 1885950"/>
                    <a:gd name="connsiteX2" fmla="*/ 50800 w 1291475"/>
                    <a:gd name="connsiteY2" fmla="*/ 609600 h 1885950"/>
                    <a:gd name="connsiteX3" fmla="*/ 215900 w 1291475"/>
                    <a:gd name="connsiteY3" fmla="*/ 1504950 h 1885950"/>
                    <a:gd name="connsiteX4" fmla="*/ 171450 w 1291475"/>
                    <a:gd name="connsiteY4" fmla="*/ 1714500 h 1885950"/>
                    <a:gd name="connsiteX5" fmla="*/ 0 w 1291475"/>
                    <a:gd name="connsiteY5" fmla="*/ 1885950 h 1885950"/>
                    <a:gd name="connsiteX6" fmla="*/ 1289050 w 1291475"/>
                    <a:gd name="connsiteY6" fmla="*/ 1403350 h 1885950"/>
                    <a:gd name="connsiteX7" fmla="*/ 488950 w 1291475"/>
                    <a:gd name="connsiteY7" fmla="*/ 0 h 1885950"/>
                    <a:gd name="connsiteX0" fmla="*/ 488950 w 1293111"/>
                    <a:gd name="connsiteY0" fmla="*/ 0 h 1885950"/>
                    <a:gd name="connsiteX1" fmla="*/ 215900 w 1293111"/>
                    <a:gd name="connsiteY1" fmla="*/ 152400 h 1885950"/>
                    <a:gd name="connsiteX2" fmla="*/ 50800 w 1293111"/>
                    <a:gd name="connsiteY2" fmla="*/ 609600 h 1885950"/>
                    <a:gd name="connsiteX3" fmla="*/ 215900 w 1293111"/>
                    <a:gd name="connsiteY3" fmla="*/ 1504950 h 1885950"/>
                    <a:gd name="connsiteX4" fmla="*/ 171450 w 1293111"/>
                    <a:gd name="connsiteY4" fmla="*/ 1714500 h 1885950"/>
                    <a:gd name="connsiteX5" fmla="*/ 0 w 1293111"/>
                    <a:gd name="connsiteY5" fmla="*/ 1885950 h 1885950"/>
                    <a:gd name="connsiteX6" fmla="*/ 1289050 w 1293111"/>
                    <a:gd name="connsiteY6" fmla="*/ 1403350 h 1885950"/>
                    <a:gd name="connsiteX7" fmla="*/ 488950 w 1293111"/>
                    <a:gd name="connsiteY7" fmla="*/ 0 h 1885950"/>
                    <a:gd name="connsiteX0" fmla="*/ 488950 w 1289447"/>
                    <a:gd name="connsiteY0" fmla="*/ 0 h 1885950"/>
                    <a:gd name="connsiteX1" fmla="*/ 215900 w 1289447"/>
                    <a:gd name="connsiteY1" fmla="*/ 152400 h 1885950"/>
                    <a:gd name="connsiteX2" fmla="*/ 50800 w 1289447"/>
                    <a:gd name="connsiteY2" fmla="*/ 609600 h 1885950"/>
                    <a:gd name="connsiteX3" fmla="*/ 215900 w 1289447"/>
                    <a:gd name="connsiteY3" fmla="*/ 1504950 h 1885950"/>
                    <a:gd name="connsiteX4" fmla="*/ 171450 w 1289447"/>
                    <a:gd name="connsiteY4" fmla="*/ 1714500 h 1885950"/>
                    <a:gd name="connsiteX5" fmla="*/ 0 w 1289447"/>
                    <a:gd name="connsiteY5" fmla="*/ 1885950 h 1885950"/>
                    <a:gd name="connsiteX6" fmla="*/ 1289050 w 1289447"/>
                    <a:gd name="connsiteY6" fmla="*/ 1403350 h 1885950"/>
                    <a:gd name="connsiteX7" fmla="*/ 488950 w 1289447"/>
                    <a:gd name="connsiteY7" fmla="*/ 0 h 1885950"/>
                    <a:gd name="connsiteX0" fmla="*/ 488950 w 1289447"/>
                    <a:gd name="connsiteY0" fmla="*/ 0 h 1885950"/>
                    <a:gd name="connsiteX1" fmla="*/ 215900 w 1289447"/>
                    <a:gd name="connsiteY1" fmla="*/ 152400 h 1885950"/>
                    <a:gd name="connsiteX2" fmla="*/ 50800 w 1289447"/>
                    <a:gd name="connsiteY2" fmla="*/ 609600 h 1885950"/>
                    <a:gd name="connsiteX3" fmla="*/ 215900 w 1289447"/>
                    <a:gd name="connsiteY3" fmla="*/ 1504950 h 1885950"/>
                    <a:gd name="connsiteX4" fmla="*/ 171450 w 1289447"/>
                    <a:gd name="connsiteY4" fmla="*/ 1714500 h 1885950"/>
                    <a:gd name="connsiteX5" fmla="*/ 0 w 1289447"/>
                    <a:gd name="connsiteY5" fmla="*/ 1885950 h 1885950"/>
                    <a:gd name="connsiteX6" fmla="*/ 1289050 w 1289447"/>
                    <a:gd name="connsiteY6" fmla="*/ 1403350 h 1885950"/>
                    <a:gd name="connsiteX7" fmla="*/ 488950 w 1289447"/>
                    <a:gd name="connsiteY7" fmla="*/ 0 h 1885950"/>
                    <a:gd name="connsiteX0" fmla="*/ 488950 w 1289447"/>
                    <a:gd name="connsiteY0" fmla="*/ 0 h 1885950"/>
                    <a:gd name="connsiteX1" fmla="*/ 215900 w 1289447"/>
                    <a:gd name="connsiteY1" fmla="*/ 152400 h 1885950"/>
                    <a:gd name="connsiteX2" fmla="*/ 50800 w 1289447"/>
                    <a:gd name="connsiteY2" fmla="*/ 609600 h 1885950"/>
                    <a:gd name="connsiteX3" fmla="*/ 215900 w 1289447"/>
                    <a:gd name="connsiteY3" fmla="*/ 1504950 h 1885950"/>
                    <a:gd name="connsiteX4" fmla="*/ 171450 w 1289447"/>
                    <a:gd name="connsiteY4" fmla="*/ 1714500 h 1885950"/>
                    <a:gd name="connsiteX5" fmla="*/ 0 w 1289447"/>
                    <a:gd name="connsiteY5" fmla="*/ 1885950 h 1885950"/>
                    <a:gd name="connsiteX6" fmla="*/ 1289050 w 1289447"/>
                    <a:gd name="connsiteY6" fmla="*/ 1403350 h 1885950"/>
                    <a:gd name="connsiteX7" fmla="*/ 488950 w 1289447"/>
                    <a:gd name="connsiteY7" fmla="*/ 0 h 1885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89447" h="1885950">
                      <a:moveTo>
                        <a:pt x="488950" y="0"/>
                      </a:moveTo>
                      <a:lnTo>
                        <a:pt x="215900" y="152400"/>
                      </a:lnTo>
                      <a:cubicBezTo>
                        <a:pt x="237067" y="387350"/>
                        <a:pt x="169333" y="501650"/>
                        <a:pt x="50800" y="609600"/>
                      </a:cubicBezTo>
                      <a:lnTo>
                        <a:pt x="215900" y="1504950"/>
                      </a:lnTo>
                      <a:cubicBezTo>
                        <a:pt x="239183" y="1631950"/>
                        <a:pt x="211667" y="1644650"/>
                        <a:pt x="171450" y="1714500"/>
                      </a:cubicBezTo>
                      <a:lnTo>
                        <a:pt x="0" y="1885950"/>
                      </a:lnTo>
                      <a:cubicBezTo>
                        <a:pt x="861483" y="1788583"/>
                        <a:pt x="1183217" y="1665817"/>
                        <a:pt x="1289050" y="1403350"/>
                      </a:cubicBezTo>
                      <a:cubicBezTo>
                        <a:pt x="1301750" y="560917"/>
                        <a:pt x="1009650" y="391583"/>
                        <a:pt x="48895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29" name="Freeform 128"/>
                <p:cNvSpPr/>
                <p:nvPr/>
              </p:nvSpPr>
              <p:spPr bwMode="gray">
                <a:xfrm flipH="1">
                  <a:off x="-3994150" y="3117850"/>
                  <a:ext cx="1289447" cy="1885950"/>
                </a:xfrm>
                <a:custGeom>
                  <a:avLst/>
                  <a:gdLst>
                    <a:gd name="connsiteX0" fmla="*/ 488950 w 1289050"/>
                    <a:gd name="connsiteY0" fmla="*/ 0 h 1885950"/>
                    <a:gd name="connsiteX1" fmla="*/ 215900 w 1289050"/>
                    <a:gd name="connsiteY1" fmla="*/ 152400 h 1885950"/>
                    <a:gd name="connsiteX2" fmla="*/ 50800 w 1289050"/>
                    <a:gd name="connsiteY2" fmla="*/ 609600 h 1885950"/>
                    <a:gd name="connsiteX3" fmla="*/ 215900 w 1289050"/>
                    <a:gd name="connsiteY3" fmla="*/ 1504950 h 1885950"/>
                    <a:gd name="connsiteX4" fmla="*/ 171450 w 1289050"/>
                    <a:gd name="connsiteY4" fmla="*/ 1714500 h 1885950"/>
                    <a:gd name="connsiteX5" fmla="*/ 0 w 1289050"/>
                    <a:gd name="connsiteY5" fmla="*/ 1885950 h 1885950"/>
                    <a:gd name="connsiteX6" fmla="*/ 1289050 w 1289050"/>
                    <a:gd name="connsiteY6" fmla="*/ 1403350 h 1885950"/>
                    <a:gd name="connsiteX7" fmla="*/ 488950 w 1289050"/>
                    <a:gd name="connsiteY7" fmla="*/ 0 h 1885950"/>
                    <a:gd name="connsiteX0" fmla="*/ 488950 w 1289050"/>
                    <a:gd name="connsiteY0" fmla="*/ 0 h 1885950"/>
                    <a:gd name="connsiteX1" fmla="*/ 215900 w 1289050"/>
                    <a:gd name="connsiteY1" fmla="*/ 152400 h 1885950"/>
                    <a:gd name="connsiteX2" fmla="*/ 50800 w 1289050"/>
                    <a:gd name="connsiteY2" fmla="*/ 609600 h 1885950"/>
                    <a:gd name="connsiteX3" fmla="*/ 215900 w 1289050"/>
                    <a:gd name="connsiteY3" fmla="*/ 1504950 h 1885950"/>
                    <a:gd name="connsiteX4" fmla="*/ 171450 w 1289050"/>
                    <a:gd name="connsiteY4" fmla="*/ 1714500 h 1885950"/>
                    <a:gd name="connsiteX5" fmla="*/ 0 w 1289050"/>
                    <a:gd name="connsiteY5" fmla="*/ 1885950 h 1885950"/>
                    <a:gd name="connsiteX6" fmla="*/ 1289050 w 1289050"/>
                    <a:gd name="connsiteY6" fmla="*/ 1403350 h 1885950"/>
                    <a:gd name="connsiteX7" fmla="*/ 488950 w 1289050"/>
                    <a:gd name="connsiteY7" fmla="*/ 0 h 1885950"/>
                    <a:gd name="connsiteX0" fmla="*/ 488950 w 1289050"/>
                    <a:gd name="connsiteY0" fmla="*/ 0 h 1885950"/>
                    <a:gd name="connsiteX1" fmla="*/ 215900 w 1289050"/>
                    <a:gd name="connsiteY1" fmla="*/ 152400 h 1885950"/>
                    <a:gd name="connsiteX2" fmla="*/ 50800 w 1289050"/>
                    <a:gd name="connsiteY2" fmla="*/ 609600 h 1885950"/>
                    <a:gd name="connsiteX3" fmla="*/ 215900 w 1289050"/>
                    <a:gd name="connsiteY3" fmla="*/ 1504950 h 1885950"/>
                    <a:gd name="connsiteX4" fmla="*/ 171450 w 1289050"/>
                    <a:gd name="connsiteY4" fmla="*/ 1714500 h 1885950"/>
                    <a:gd name="connsiteX5" fmla="*/ 0 w 1289050"/>
                    <a:gd name="connsiteY5" fmla="*/ 1885950 h 1885950"/>
                    <a:gd name="connsiteX6" fmla="*/ 1289050 w 1289050"/>
                    <a:gd name="connsiteY6" fmla="*/ 1403350 h 1885950"/>
                    <a:gd name="connsiteX7" fmla="*/ 488950 w 1289050"/>
                    <a:gd name="connsiteY7" fmla="*/ 0 h 1885950"/>
                    <a:gd name="connsiteX0" fmla="*/ 488950 w 1289050"/>
                    <a:gd name="connsiteY0" fmla="*/ 0 h 1885950"/>
                    <a:gd name="connsiteX1" fmla="*/ 215900 w 1289050"/>
                    <a:gd name="connsiteY1" fmla="*/ 152400 h 1885950"/>
                    <a:gd name="connsiteX2" fmla="*/ 50800 w 1289050"/>
                    <a:gd name="connsiteY2" fmla="*/ 609600 h 1885950"/>
                    <a:gd name="connsiteX3" fmla="*/ 215900 w 1289050"/>
                    <a:gd name="connsiteY3" fmla="*/ 1504950 h 1885950"/>
                    <a:gd name="connsiteX4" fmla="*/ 171450 w 1289050"/>
                    <a:gd name="connsiteY4" fmla="*/ 1714500 h 1885950"/>
                    <a:gd name="connsiteX5" fmla="*/ 0 w 1289050"/>
                    <a:gd name="connsiteY5" fmla="*/ 1885950 h 1885950"/>
                    <a:gd name="connsiteX6" fmla="*/ 1289050 w 1289050"/>
                    <a:gd name="connsiteY6" fmla="*/ 1403350 h 1885950"/>
                    <a:gd name="connsiteX7" fmla="*/ 488950 w 1289050"/>
                    <a:gd name="connsiteY7" fmla="*/ 0 h 1885950"/>
                    <a:gd name="connsiteX0" fmla="*/ 488950 w 1289050"/>
                    <a:gd name="connsiteY0" fmla="*/ 0 h 1885950"/>
                    <a:gd name="connsiteX1" fmla="*/ 215900 w 1289050"/>
                    <a:gd name="connsiteY1" fmla="*/ 152400 h 1885950"/>
                    <a:gd name="connsiteX2" fmla="*/ 50800 w 1289050"/>
                    <a:gd name="connsiteY2" fmla="*/ 609600 h 1885950"/>
                    <a:gd name="connsiteX3" fmla="*/ 215900 w 1289050"/>
                    <a:gd name="connsiteY3" fmla="*/ 1504950 h 1885950"/>
                    <a:gd name="connsiteX4" fmla="*/ 171450 w 1289050"/>
                    <a:gd name="connsiteY4" fmla="*/ 1714500 h 1885950"/>
                    <a:gd name="connsiteX5" fmla="*/ 0 w 1289050"/>
                    <a:gd name="connsiteY5" fmla="*/ 1885950 h 1885950"/>
                    <a:gd name="connsiteX6" fmla="*/ 1289050 w 1289050"/>
                    <a:gd name="connsiteY6" fmla="*/ 1403350 h 1885950"/>
                    <a:gd name="connsiteX7" fmla="*/ 488950 w 1289050"/>
                    <a:gd name="connsiteY7" fmla="*/ 0 h 1885950"/>
                    <a:gd name="connsiteX0" fmla="*/ 488950 w 1291475"/>
                    <a:gd name="connsiteY0" fmla="*/ 0 h 1885950"/>
                    <a:gd name="connsiteX1" fmla="*/ 215900 w 1291475"/>
                    <a:gd name="connsiteY1" fmla="*/ 152400 h 1885950"/>
                    <a:gd name="connsiteX2" fmla="*/ 50800 w 1291475"/>
                    <a:gd name="connsiteY2" fmla="*/ 609600 h 1885950"/>
                    <a:gd name="connsiteX3" fmla="*/ 215900 w 1291475"/>
                    <a:gd name="connsiteY3" fmla="*/ 1504950 h 1885950"/>
                    <a:gd name="connsiteX4" fmla="*/ 171450 w 1291475"/>
                    <a:gd name="connsiteY4" fmla="*/ 1714500 h 1885950"/>
                    <a:gd name="connsiteX5" fmla="*/ 0 w 1291475"/>
                    <a:gd name="connsiteY5" fmla="*/ 1885950 h 1885950"/>
                    <a:gd name="connsiteX6" fmla="*/ 1289050 w 1291475"/>
                    <a:gd name="connsiteY6" fmla="*/ 1403350 h 1885950"/>
                    <a:gd name="connsiteX7" fmla="*/ 488950 w 1291475"/>
                    <a:gd name="connsiteY7" fmla="*/ 0 h 1885950"/>
                    <a:gd name="connsiteX0" fmla="*/ 488950 w 1293111"/>
                    <a:gd name="connsiteY0" fmla="*/ 0 h 1885950"/>
                    <a:gd name="connsiteX1" fmla="*/ 215900 w 1293111"/>
                    <a:gd name="connsiteY1" fmla="*/ 152400 h 1885950"/>
                    <a:gd name="connsiteX2" fmla="*/ 50800 w 1293111"/>
                    <a:gd name="connsiteY2" fmla="*/ 609600 h 1885950"/>
                    <a:gd name="connsiteX3" fmla="*/ 215900 w 1293111"/>
                    <a:gd name="connsiteY3" fmla="*/ 1504950 h 1885950"/>
                    <a:gd name="connsiteX4" fmla="*/ 171450 w 1293111"/>
                    <a:gd name="connsiteY4" fmla="*/ 1714500 h 1885950"/>
                    <a:gd name="connsiteX5" fmla="*/ 0 w 1293111"/>
                    <a:gd name="connsiteY5" fmla="*/ 1885950 h 1885950"/>
                    <a:gd name="connsiteX6" fmla="*/ 1289050 w 1293111"/>
                    <a:gd name="connsiteY6" fmla="*/ 1403350 h 1885950"/>
                    <a:gd name="connsiteX7" fmla="*/ 488950 w 1293111"/>
                    <a:gd name="connsiteY7" fmla="*/ 0 h 1885950"/>
                    <a:gd name="connsiteX0" fmla="*/ 488950 w 1289447"/>
                    <a:gd name="connsiteY0" fmla="*/ 0 h 1885950"/>
                    <a:gd name="connsiteX1" fmla="*/ 215900 w 1289447"/>
                    <a:gd name="connsiteY1" fmla="*/ 152400 h 1885950"/>
                    <a:gd name="connsiteX2" fmla="*/ 50800 w 1289447"/>
                    <a:gd name="connsiteY2" fmla="*/ 609600 h 1885950"/>
                    <a:gd name="connsiteX3" fmla="*/ 215900 w 1289447"/>
                    <a:gd name="connsiteY3" fmla="*/ 1504950 h 1885950"/>
                    <a:gd name="connsiteX4" fmla="*/ 171450 w 1289447"/>
                    <a:gd name="connsiteY4" fmla="*/ 1714500 h 1885950"/>
                    <a:gd name="connsiteX5" fmla="*/ 0 w 1289447"/>
                    <a:gd name="connsiteY5" fmla="*/ 1885950 h 1885950"/>
                    <a:gd name="connsiteX6" fmla="*/ 1289050 w 1289447"/>
                    <a:gd name="connsiteY6" fmla="*/ 1403350 h 1885950"/>
                    <a:gd name="connsiteX7" fmla="*/ 488950 w 1289447"/>
                    <a:gd name="connsiteY7" fmla="*/ 0 h 1885950"/>
                    <a:gd name="connsiteX0" fmla="*/ 488950 w 1289447"/>
                    <a:gd name="connsiteY0" fmla="*/ 0 h 1885950"/>
                    <a:gd name="connsiteX1" fmla="*/ 215900 w 1289447"/>
                    <a:gd name="connsiteY1" fmla="*/ 152400 h 1885950"/>
                    <a:gd name="connsiteX2" fmla="*/ 50800 w 1289447"/>
                    <a:gd name="connsiteY2" fmla="*/ 609600 h 1885950"/>
                    <a:gd name="connsiteX3" fmla="*/ 215900 w 1289447"/>
                    <a:gd name="connsiteY3" fmla="*/ 1504950 h 1885950"/>
                    <a:gd name="connsiteX4" fmla="*/ 171450 w 1289447"/>
                    <a:gd name="connsiteY4" fmla="*/ 1714500 h 1885950"/>
                    <a:gd name="connsiteX5" fmla="*/ 0 w 1289447"/>
                    <a:gd name="connsiteY5" fmla="*/ 1885950 h 1885950"/>
                    <a:gd name="connsiteX6" fmla="*/ 1289050 w 1289447"/>
                    <a:gd name="connsiteY6" fmla="*/ 1403350 h 1885950"/>
                    <a:gd name="connsiteX7" fmla="*/ 488950 w 1289447"/>
                    <a:gd name="connsiteY7" fmla="*/ 0 h 1885950"/>
                    <a:gd name="connsiteX0" fmla="*/ 488950 w 1289447"/>
                    <a:gd name="connsiteY0" fmla="*/ 0 h 1885950"/>
                    <a:gd name="connsiteX1" fmla="*/ 215900 w 1289447"/>
                    <a:gd name="connsiteY1" fmla="*/ 152400 h 1885950"/>
                    <a:gd name="connsiteX2" fmla="*/ 50800 w 1289447"/>
                    <a:gd name="connsiteY2" fmla="*/ 609600 h 1885950"/>
                    <a:gd name="connsiteX3" fmla="*/ 215900 w 1289447"/>
                    <a:gd name="connsiteY3" fmla="*/ 1504950 h 1885950"/>
                    <a:gd name="connsiteX4" fmla="*/ 171450 w 1289447"/>
                    <a:gd name="connsiteY4" fmla="*/ 1714500 h 1885950"/>
                    <a:gd name="connsiteX5" fmla="*/ 0 w 1289447"/>
                    <a:gd name="connsiteY5" fmla="*/ 1885950 h 1885950"/>
                    <a:gd name="connsiteX6" fmla="*/ 1289050 w 1289447"/>
                    <a:gd name="connsiteY6" fmla="*/ 1403350 h 1885950"/>
                    <a:gd name="connsiteX7" fmla="*/ 488950 w 1289447"/>
                    <a:gd name="connsiteY7" fmla="*/ 0 h 1885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89447" h="1885950">
                      <a:moveTo>
                        <a:pt x="488950" y="0"/>
                      </a:moveTo>
                      <a:lnTo>
                        <a:pt x="215900" y="152400"/>
                      </a:lnTo>
                      <a:cubicBezTo>
                        <a:pt x="237067" y="387350"/>
                        <a:pt x="169333" y="501650"/>
                        <a:pt x="50800" y="609600"/>
                      </a:cubicBezTo>
                      <a:lnTo>
                        <a:pt x="215900" y="1504950"/>
                      </a:lnTo>
                      <a:cubicBezTo>
                        <a:pt x="239183" y="1631950"/>
                        <a:pt x="211667" y="1644650"/>
                        <a:pt x="171450" y="1714500"/>
                      </a:cubicBezTo>
                      <a:lnTo>
                        <a:pt x="0" y="1885950"/>
                      </a:lnTo>
                      <a:cubicBezTo>
                        <a:pt x="861483" y="1788583"/>
                        <a:pt x="1183217" y="1665817"/>
                        <a:pt x="1289050" y="1403350"/>
                      </a:cubicBezTo>
                      <a:cubicBezTo>
                        <a:pt x="1301750" y="560917"/>
                        <a:pt x="1009650" y="391583"/>
                        <a:pt x="48895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accent6"/>
                    </a:solidFill>
                  </a:endParaRPr>
                </a:p>
              </p:txBody>
            </p:sp>
          </p:grpSp>
        </p:grpSp>
        <p:grpSp>
          <p:nvGrpSpPr>
            <p:cNvPr id="16" name="Group 15"/>
            <p:cNvGrpSpPr>
              <a:grpSpLocks/>
            </p:cNvGrpSpPr>
            <p:nvPr/>
          </p:nvGrpSpPr>
          <p:grpSpPr>
            <a:xfrm>
              <a:off x="2047504" y="3883473"/>
              <a:ext cx="721313" cy="721311"/>
              <a:chOff x="-1054343" y="2964243"/>
              <a:chExt cx="740018" cy="740014"/>
            </a:xfrm>
          </p:grpSpPr>
          <p:sp>
            <p:nvSpPr>
              <p:cNvPr id="117" name="TextBox 478"/>
              <p:cNvSpPr txBox="1"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-1054343" y="2964243"/>
                <a:ext cx="740018" cy="74001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txBody>
              <a:bodyPr vert="horz" wrap="square" lIns="2916" tIns="0" rIns="2916" bIns="0" numCol="1" anchor="t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1000" b="1" dirty="0">
                    <a:solidFill>
                      <a:schemeClr val="bg1">
                        <a:lumMod val="95000"/>
                      </a:schemeClr>
                    </a:solidFill>
                  </a:rPr>
                  <a:t>CST</a:t>
                </a:r>
              </a:p>
            </p:txBody>
          </p:sp>
          <p:grpSp>
            <p:nvGrpSpPr>
              <p:cNvPr id="13" name="Group 12"/>
              <p:cNvGrpSpPr/>
              <p:nvPr/>
            </p:nvGrpSpPr>
            <p:grpSpPr>
              <a:xfrm>
                <a:off x="-797774" y="3311780"/>
                <a:ext cx="266656" cy="322126"/>
                <a:chOff x="-797774" y="3311780"/>
                <a:chExt cx="266656" cy="322126"/>
              </a:xfrm>
            </p:grpSpPr>
            <p:sp>
              <p:nvSpPr>
                <p:cNvPr id="131" name="Rectangle 130"/>
                <p:cNvSpPr/>
                <p:nvPr/>
              </p:nvSpPr>
              <p:spPr bwMode="gray">
                <a:xfrm>
                  <a:off x="-797774" y="3472377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2" name="Rectangle 131"/>
                <p:cNvSpPr/>
                <p:nvPr/>
              </p:nvSpPr>
              <p:spPr bwMode="gray">
                <a:xfrm>
                  <a:off x="-626719" y="3472377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1" name="Rectangle 150"/>
                <p:cNvSpPr/>
                <p:nvPr/>
              </p:nvSpPr>
              <p:spPr bwMode="gray">
                <a:xfrm>
                  <a:off x="-767144" y="3505400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" name="Rectangle 151"/>
                <p:cNvSpPr/>
                <p:nvPr/>
              </p:nvSpPr>
              <p:spPr bwMode="gray">
                <a:xfrm>
                  <a:off x="-710715" y="3505400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3" name="Rectangle 152"/>
                <p:cNvSpPr/>
                <p:nvPr/>
              </p:nvSpPr>
              <p:spPr bwMode="gray">
                <a:xfrm>
                  <a:off x="-654285" y="3505400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8" name="Rectangle 147"/>
                <p:cNvSpPr/>
                <p:nvPr/>
              </p:nvSpPr>
              <p:spPr bwMode="gray">
                <a:xfrm>
                  <a:off x="-767144" y="3571448"/>
                  <a:ext cx="55134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9" name="Rectangle 148"/>
                <p:cNvSpPr/>
                <p:nvPr/>
              </p:nvSpPr>
              <p:spPr bwMode="gray">
                <a:xfrm>
                  <a:off x="-709419" y="3571448"/>
                  <a:ext cx="55134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0" name="Rectangle 149"/>
                <p:cNvSpPr/>
                <p:nvPr/>
              </p:nvSpPr>
              <p:spPr bwMode="gray">
                <a:xfrm>
                  <a:off x="-651694" y="3571448"/>
                  <a:ext cx="55134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4" name="Rectangle 143"/>
                <p:cNvSpPr/>
                <p:nvPr/>
              </p:nvSpPr>
              <p:spPr bwMode="gray">
                <a:xfrm>
                  <a:off x="-797774" y="3538424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5" name="Rectangle 144"/>
                <p:cNvSpPr/>
                <p:nvPr/>
              </p:nvSpPr>
              <p:spPr bwMode="gray">
                <a:xfrm>
                  <a:off x="-740756" y="3538424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6" name="Rectangle 145"/>
                <p:cNvSpPr/>
                <p:nvPr/>
              </p:nvSpPr>
              <p:spPr bwMode="gray">
                <a:xfrm>
                  <a:off x="-683738" y="3538424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7" name="Rectangle 146"/>
                <p:cNvSpPr/>
                <p:nvPr/>
              </p:nvSpPr>
              <p:spPr bwMode="gray">
                <a:xfrm>
                  <a:off x="-626719" y="3538424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0" name="Rectangle 139"/>
                <p:cNvSpPr/>
                <p:nvPr/>
              </p:nvSpPr>
              <p:spPr bwMode="gray">
                <a:xfrm>
                  <a:off x="-797774" y="3604472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1" name="Rectangle 140"/>
                <p:cNvSpPr/>
                <p:nvPr/>
              </p:nvSpPr>
              <p:spPr bwMode="gray">
                <a:xfrm>
                  <a:off x="-740756" y="3604472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2" name="Rectangle 141"/>
                <p:cNvSpPr/>
                <p:nvPr/>
              </p:nvSpPr>
              <p:spPr bwMode="gray">
                <a:xfrm>
                  <a:off x="-683738" y="3604472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3" name="Rectangle 142"/>
                <p:cNvSpPr/>
                <p:nvPr/>
              </p:nvSpPr>
              <p:spPr bwMode="gray">
                <a:xfrm>
                  <a:off x="-626719" y="3604472"/>
                  <a:ext cx="55133" cy="29434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7" name="Freeform 136"/>
                <p:cNvSpPr/>
                <p:nvPr/>
              </p:nvSpPr>
              <p:spPr bwMode="gray">
                <a:xfrm>
                  <a:off x="-755835" y="3409805"/>
                  <a:ext cx="190641" cy="91182"/>
                </a:xfrm>
                <a:custGeom>
                  <a:avLst/>
                  <a:gdLst>
                    <a:gd name="connsiteX0" fmla="*/ 0 w 2540000"/>
                    <a:gd name="connsiteY0" fmla="*/ 803275 h 1228725"/>
                    <a:gd name="connsiteX1" fmla="*/ 215900 w 2540000"/>
                    <a:gd name="connsiteY1" fmla="*/ 803275 h 1228725"/>
                    <a:gd name="connsiteX2" fmla="*/ 215900 w 2540000"/>
                    <a:gd name="connsiteY2" fmla="*/ 1228725 h 1228725"/>
                    <a:gd name="connsiteX3" fmla="*/ 355600 w 2540000"/>
                    <a:gd name="connsiteY3" fmla="*/ 1228725 h 1228725"/>
                    <a:gd name="connsiteX4" fmla="*/ 355600 w 2540000"/>
                    <a:gd name="connsiteY4" fmla="*/ 584200 h 1228725"/>
                    <a:gd name="connsiteX5" fmla="*/ 454025 w 2540000"/>
                    <a:gd name="connsiteY5" fmla="*/ 584200 h 1228725"/>
                    <a:gd name="connsiteX6" fmla="*/ 454025 w 2540000"/>
                    <a:gd name="connsiteY6" fmla="*/ 1225550 h 1228725"/>
                    <a:gd name="connsiteX7" fmla="*/ 1476375 w 2540000"/>
                    <a:gd name="connsiteY7" fmla="*/ 1225550 h 1228725"/>
                    <a:gd name="connsiteX8" fmla="*/ 1476375 w 2540000"/>
                    <a:gd name="connsiteY8" fmla="*/ 577850 h 1228725"/>
                    <a:gd name="connsiteX9" fmla="*/ 1543050 w 2540000"/>
                    <a:gd name="connsiteY9" fmla="*/ 577850 h 1228725"/>
                    <a:gd name="connsiteX10" fmla="*/ 1727200 w 2540000"/>
                    <a:gd name="connsiteY10" fmla="*/ 800100 h 1228725"/>
                    <a:gd name="connsiteX11" fmla="*/ 2263775 w 2540000"/>
                    <a:gd name="connsiteY11" fmla="*/ 800100 h 1228725"/>
                    <a:gd name="connsiteX12" fmla="*/ 2540000 w 2540000"/>
                    <a:gd name="connsiteY12" fmla="*/ 466725 h 1228725"/>
                    <a:gd name="connsiteX13" fmla="*/ 2266950 w 2540000"/>
                    <a:gd name="connsiteY13" fmla="*/ 241300 h 1228725"/>
                    <a:gd name="connsiteX14" fmla="*/ 1993900 w 2540000"/>
                    <a:gd name="connsiteY14" fmla="*/ 571500 h 1228725"/>
                    <a:gd name="connsiteX15" fmla="*/ 1641475 w 2540000"/>
                    <a:gd name="connsiteY15" fmla="*/ 171450 h 1228725"/>
                    <a:gd name="connsiteX16" fmla="*/ 1301750 w 2540000"/>
                    <a:gd name="connsiteY16" fmla="*/ 0 h 1228725"/>
                    <a:gd name="connsiteX17" fmla="*/ 479425 w 2540000"/>
                    <a:gd name="connsiteY17" fmla="*/ 0 h 1228725"/>
                    <a:gd name="connsiteX18" fmla="*/ 6350 w 2540000"/>
                    <a:gd name="connsiteY18" fmla="*/ 428625 h 1228725"/>
                    <a:gd name="connsiteX19" fmla="*/ 0 w 2540000"/>
                    <a:gd name="connsiteY19" fmla="*/ 803275 h 1228725"/>
                    <a:gd name="connsiteX0" fmla="*/ 0 w 2540000"/>
                    <a:gd name="connsiteY0" fmla="*/ 803275 h 1228725"/>
                    <a:gd name="connsiteX1" fmla="*/ 215900 w 2540000"/>
                    <a:gd name="connsiteY1" fmla="*/ 803275 h 1228725"/>
                    <a:gd name="connsiteX2" fmla="*/ 215900 w 2540000"/>
                    <a:gd name="connsiteY2" fmla="*/ 1228725 h 1228725"/>
                    <a:gd name="connsiteX3" fmla="*/ 355600 w 2540000"/>
                    <a:gd name="connsiteY3" fmla="*/ 1228725 h 1228725"/>
                    <a:gd name="connsiteX4" fmla="*/ 355600 w 2540000"/>
                    <a:gd name="connsiteY4" fmla="*/ 584200 h 1228725"/>
                    <a:gd name="connsiteX5" fmla="*/ 454025 w 2540000"/>
                    <a:gd name="connsiteY5" fmla="*/ 584200 h 1228725"/>
                    <a:gd name="connsiteX6" fmla="*/ 454025 w 2540000"/>
                    <a:gd name="connsiteY6" fmla="*/ 1225550 h 1228725"/>
                    <a:gd name="connsiteX7" fmla="*/ 1476375 w 2540000"/>
                    <a:gd name="connsiteY7" fmla="*/ 1225550 h 1228725"/>
                    <a:gd name="connsiteX8" fmla="*/ 1476375 w 2540000"/>
                    <a:gd name="connsiteY8" fmla="*/ 577850 h 1228725"/>
                    <a:gd name="connsiteX9" fmla="*/ 1543050 w 2540000"/>
                    <a:gd name="connsiteY9" fmla="*/ 577850 h 1228725"/>
                    <a:gd name="connsiteX10" fmla="*/ 1727200 w 2540000"/>
                    <a:gd name="connsiteY10" fmla="*/ 800100 h 1228725"/>
                    <a:gd name="connsiteX11" fmla="*/ 2263775 w 2540000"/>
                    <a:gd name="connsiteY11" fmla="*/ 800100 h 1228725"/>
                    <a:gd name="connsiteX12" fmla="*/ 2540000 w 2540000"/>
                    <a:gd name="connsiteY12" fmla="*/ 466725 h 1228725"/>
                    <a:gd name="connsiteX13" fmla="*/ 2266950 w 2540000"/>
                    <a:gd name="connsiteY13" fmla="*/ 241300 h 1228725"/>
                    <a:gd name="connsiteX14" fmla="*/ 1993900 w 2540000"/>
                    <a:gd name="connsiteY14" fmla="*/ 571500 h 1228725"/>
                    <a:gd name="connsiteX15" fmla="*/ 1641475 w 2540000"/>
                    <a:gd name="connsiteY15" fmla="*/ 171450 h 1228725"/>
                    <a:gd name="connsiteX16" fmla="*/ 1301750 w 2540000"/>
                    <a:gd name="connsiteY16" fmla="*/ 0 h 1228725"/>
                    <a:gd name="connsiteX17" fmla="*/ 479425 w 2540000"/>
                    <a:gd name="connsiteY17" fmla="*/ 0 h 1228725"/>
                    <a:gd name="connsiteX18" fmla="*/ 6350 w 2540000"/>
                    <a:gd name="connsiteY18" fmla="*/ 428625 h 1228725"/>
                    <a:gd name="connsiteX19" fmla="*/ 0 w 2540000"/>
                    <a:gd name="connsiteY19" fmla="*/ 803275 h 1228725"/>
                    <a:gd name="connsiteX0" fmla="*/ 0 w 2540000"/>
                    <a:gd name="connsiteY0" fmla="*/ 803275 h 1228725"/>
                    <a:gd name="connsiteX1" fmla="*/ 215900 w 2540000"/>
                    <a:gd name="connsiteY1" fmla="*/ 803275 h 1228725"/>
                    <a:gd name="connsiteX2" fmla="*/ 215900 w 2540000"/>
                    <a:gd name="connsiteY2" fmla="*/ 1228725 h 1228725"/>
                    <a:gd name="connsiteX3" fmla="*/ 355600 w 2540000"/>
                    <a:gd name="connsiteY3" fmla="*/ 1228725 h 1228725"/>
                    <a:gd name="connsiteX4" fmla="*/ 355600 w 2540000"/>
                    <a:gd name="connsiteY4" fmla="*/ 584200 h 1228725"/>
                    <a:gd name="connsiteX5" fmla="*/ 454025 w 2540000"/>
                    <a:gd name="connsiteY5" fmla="*/ 584200 h 1228725"/>
                    <a:gd name="connsiteX6" fmla="*/ 454025 w 2540000"/>
                    <a:gd name="connsiteY6" fmla="*/ 1225550 h 1228725"/>
                    <a:gd name="connsiteX7" fmla="*/ 1476375 w 2540000"/>
                    <a:gd name="connsiteY7" fmla="*/ 1225550 h 1228725"/>
                    <a:gd name="connsiteX8" fmla="*/ 1476375 w 2540000"/>
                    <a:gd name="connsiteY8" fmla="*/ 577850 h 1228725"/>
                    <a:gd name="connsiteX9" fmla="*/ 1543050 w 2540000"/>
                    <a:gd name="connsiteY9" fmla="*/ 577850 h 1228725"/>
                    <a:gd name="connsiteX10" fmla="*/ 1727200 w 2540000"/>
                    <a:gd name="connsiteY10" fmla="*/ 800100 h 1228725"/>
                    <a:gd name="connsiteX11" fmla="*/ 2263775 w 2540000"/>
                    <a:gd name="connsiteY11" fmla="*/ 800100 h 1228725"/>
                    <a:gd name="connsiteX12" fmla="*/ 2540000 w 2540000"/>
                    <a:gd name="connsiteY12" fmla="*/ 466725 h 1228725"/>
                    <a:gd name="connsiteX13" fmla="*/ 2266950 w 2540000"/>
                    <a:gd name="connsiteY13" fmla="*/ 241300 h 1228725"/>
                    <a:gd name="connsiteX14" fmla="*/ 1993900 w 2540000"/>
                    <a:gd name="connsiteY14" fmla="*/ 571500 h 1228725"/>
                    <a:gd name="connsiteX15" fmla="*/ 1641475 w 2540000"/>
                    <a:gd name="connsiteY15" fmla="*/ 171450 h 1228725"/>
                    <a:gd name="connsiteX16" fmla="*/ 1301750 w 2540000"/>
                    <a:gd name="connsiteY16" fmla="*/ 0 h 1228725"/>
                    <a:gd name="connsiteX17" fmla="*/ 479425 w 2540000"/>
                    <a:gd name="connsiteY17" fmla="*/ 0 h 1228725"/>
                    <a:gd name="connsiteX18" fmla="*/ 6350 w 2540000"/>
                    <a:gd name="connsiteY18" fmla="*/ 428625 h 1228725"/>
                    <a:gd name="connsiteX19" fmla="*/ 0 w 2540000"/>
                    <a:gd name="connsiteY19" fmla="*/ 803275 h 1228725"/>
                    <a:gd name="connsiteX0" fmla="*/ 0 w 2540000"/>
                    <a:gd name="connsiteY0" fmla="*/ 803275 h 1228725"/>
                    <a:gd name="connsiteX1" fmla="*/ 215900 w 2540000"/>
                    <a:gd name="connsiteY1" fmla="*/ 803275 h 1228725"/>
                    <a:gd name="connsiteX2" fmla="*/ 215900 w 2540000"/>
                    <a:gd name="connsiteY2" fmla="*/ 1228725 h 1228725"/>
                    <a:gd name="connsiteX3" fmla="*/ 355600 w 2540000"/>
                    <a:gd name="connsiteY3" fmla="*/ 1228725 h 1228725"/>
                    <a:gd name="connsiteX4" fmla="*/ 355600 w 2540000"/>
                    <a:gd name="connsiteY4" fmla="*/ 584200 h 1228725"/>
                    <a:gd name="connsiteX5" fmla="*/ 454025 w 2540000"/>
                    <a:gd name="connsiteY5" fmla="*/ 584200 h 1228725"/>
                    <a:gd name="connsiteX6" fmla="*/ 454025 w 2540000"/>
                    <a:gd name="connsiteY6" fmla="*/ 1225550 h 1228725"/>
                    <a:gd name="connsiteX7" fmla="*/ 1476375 w 2540000"/>
                    <a:gd name="connsiteY7" fmla="*/ 1225550 h 1228725"/>
                    <a:gd name="connsiteX8" fmla="*/ 1476375 w 2540000"/>
                    <a:gd name="connsiteY8" fmla="*/ 577850 h 1228725"/>
                    <a:gd name="connsiteX9" fmla="*/ 1543050 w 2540000"/>
                    <a:gd name="connsiteY9" fmla="*/ 577850 h 1228725"/>
                    <a:gd name="connsiteX10" fmla="*/ 1727200 w 2540000"/>
                    <a:gd name="connsiteY10" fmla="*/ 800100 h 1228725"/>
                    <a:gd name="connsiteX11" fmla="*/ 2263775 w 2540000"/>
                    <a:gd name="connsiteY11" fmla="*/ 800100 h 1228725"/>
                    <a:gd name="connsiteX12" fmla="*/ 2540000 w 2540000"/>
                    <a:gd name="connsiteY12" fmla="*/ 466725 h 1228725"/>
                    <a:gd name="connsiteX13" fmla="*/ 2266950 w 2540000"/>
                    <a:gd name="connsiteY13" fmla="*/ 241300 h 1228725"/>
                    <a:gd name="connsiteX14" fmla="*/ 1993900 w 2540000"/>
                    <a:gd name="connsiteY14" fmla="*/ 571500 h 1228725"/>
                    <a:gd name="connsiteX15" fmla="*/ 1641475 w 2540000"/>
                    <a:gd name="connsiteY15" fmla="*/ 171450 h 1228725"/>
                    <a:gd name="connsiteX16" fmla="*/ 1301750 w 2540000"/>
                    <a:gd name="connsiteY16" fmla="*/ 0 h 1228725"/>
                    <a:gd name="connsiteX17" fmla="*/ 479425 w 2540000"/>
                    <a:gd name="connsiteY17" fmla="*/ 0 h 1228725"/>
                    <a:gd name="connsiteX18" fmla="*/ 6350 w 2540000"/>
                    <a:gd name="connsiteY18" fmla="*/ 428625 h 1228725"/>
                    <a:gd name="connsiteX19" fmla="*/ 0 w 2540000"/>
                    <a:gd name="connsiteY19" fmla="*/ 803275 h 1228725"/>
                    <a:gd name="connsiteX0" fmla="*/ 0 w 2540000"/>
                    <a:gd name="connsiteY0" fmla="*/ 803275 h 1228725"/>
                    <a:gd name="connsiteX1" fmla="*/ 215900 w 2540000"/>
                    <a:gd name="connsiteY1" fmla="*/ 803275 h 1228725"/>
                    <a:gd name="connsiteX2" fmla="*/ 215900 w 2540000"/>
                    <a:gd name="connsiteY2" fmla="*/ 1228725 h 1228725"/>
                    <a:gd name="connsiteX3" fmla="*/ 355600 w 2540000"/>
                    <a:gd name="connsiteY3" fmla="*/ 1228725 h 1228725"/>
                    <a:gd name="connsiteX4" fmla="*/ 355600 w 2540000"/>
                    <a:gd name="connsiteY4" fmla="*/ 584200 h 1228725"/>
                    <a:gd name="connsiteX5" fmla="*/ 454025 w 2540000"/>
                    <a:gd name="connsiteY5" fmla="*/ 584200 h 1228725"/>
                    <a:gd name="connsiteX6" fmla="*/ 454025 w 2540000"/>
                    <a:gd name="connsiteY6" fmla="*/ 1225550 h 1228725"/>
                    <a:gd name="connsiteX7" fmla="*/ 1476375 w 2540000"/>
                    <a:gd name="connsiteY7" fmla="*/ 1225550 h 1228725"/>
                    <a:gd name="connsiteX8" fmla="*/ 1476375 w 2540000"/>
                    <a:gd name="connsiteY8" fmla="*/ 577850 h 1228725"/>
                    <a:gd name="connsiteX9" fmla="*/ 1543050 w 2540000"/>
                    <a:gd name="connsiteY9" fmla="*/ 577850 h 1228725"/>
                    <a:gd name="connsiteX10" fmla="*/ 1727200 w 2540000"/>
                    <a:gd name="connsiteY10" fmla="*/ 800100 h 1228725"/>
                    <a:gd name="connsiteX11" fmla="*/ 2263775 w 2540000"/>
                    <a:gd name="connsiteY11" fmla="*/ 800100 h 1228725"/>
                    <a:gd name="connsiteX12" fmla="*/ 2540000 w 2540000"/>
                    <a:gd name="connsiteY12" fmla="*/ 466725 h 1228725"/>
                    <a:gd name="connsiteX13" fmla="*/ 2266950 w 2540000"/>
                    <a:gd name="connsiteY13" fmla="*/ 241300 h 1228725"/>
                    <a:gd name="connsiteX14" fmla="*/ 1993900 w 2540000"/>
                    <a:gd name="connsiteY14" fmla="*/ 571500 h 1228725"/>
                    <a:gd name="connsiteX15" fmla="*/ 1641475 w 2540000"/>
                    <a:gd name="connsiteY15" fmla="*/ 171450 h 1228725"/>
                    <a:gd name="connsiteX16" fmla="*/ 1301750 w 2540000"/>
                    <a:gd name="connsiteY16" fmla="*/ 0 h 1228725"/>
                    <a:gd name="connsiteX17" fmla="*/ 479425 w 2540000"/>
                    <a:gd name="connsiteY17" fmla="*/ 0 h 1228725"/>
                    <a:gd name="connsiteX18" fmla="*/ 6350 w 2540000"/>
                    <a:gd name="connsiteY18" fmla="*/ 428625 h 1228725"/>
                    <a:gd name="connsiteX19" fmla="*/ 0 w 2540000"/>
                    <a:gd name="connsiteY19" fmla="*/ 803275 h 1228725"/>
                    <a:gd name="connsiteX0" fmla="*/ 0 w 2540000"/>
                    <a:gd name="connsiteY0" fmla="*/ 803275 h 1228725"/>
                    <a:gd name="connsiteX1" fmla="*/ 215900 w 2540000"/>
                    <a:gd name="connsiteY1" fmla="*/ 803275 h 1228725"/>
                    <a:gd name="connsiteX2" fmla="*/ 215900 w 2540000"/>
                    <a:gd name="connsiteY2" fmla="*/ 1228725 h 1228725"/>
                    <a:gd name="connsiteX3" fmla="*/ 355600 w 2540000"/>
                    <a:gd name="connsiteY3" fmla="*/ 1228725 h 1228725"/>
                    <a:gd name="connsiteX4" fmla="*/ 355600 w 2540000"/>
                    <a:gd name="connsiteY4" fmla="*/ 584200 h 1228725"/>
                    <a:gd name="connsiteX5" fmla="*/ 454025 w 2540000"/>
                    <a:gd name="connsiteY5" fmla="*/ 584200 h 1228725"/>
                    <a:gd name="connsiteX6" fmla="*/ 454025 w 2540000"/>
                    <a:gd name="connsiteY6" fmla="*/ 1225550 h 1228725"/>
                    <a:gd name="connsiteX7" fmla="*/ 1476375 w 2540000"/>
                    <a:gd name="connsiteY7" fmla="*/ 1225550 h 1228725"/>
                    <a:gd name="connsiteX8" fmla="*/ 1476375 w 2540000"/>
                    <a:gd name="connsiteY8" fmla="*/ 577850 h 1228725"/>
                    <a:gd name="connsiteX9" fmla="*/ 1543050 w 2540000"/>
                    <a:gd name="connsiteY9" fmla="*/ 577850 h 1228725"/>
                    <a:gd name="connsiteX10" fmla="*/ 1727200 w 2540000"/>
                    <a:gd name="connsiteY10" fmla="*/ 800100 h 1228725"/>
                    <a:gd name="connsiteX11" fmla="*/ 2263775 w 2540000"/>
                    <a:gd name="connsiteY11" fmla="*/ 800100 h 1228725"/>
                    <a:gd name="connsiteX12" fmla="*/ 2540000 w 2540000"/>
                    <a:gd name="connsiteY12" fmla="*/ 466725 h 1228725"/>
                    <a:gd name="connsiteX13" fmla="*/ 2266950 w 2540000"/>
                    <a:gd name="connsiteY13" fmla="*/ 241300 h 1228725"/>
                    <a:gd name="connsiteX14" fmla="*/ 1993900 w 2540000"/>
                    <a:gd name="connsiteY14" fmla="*/ 571500 h 1228725"/>
                    <a:gd name="connsiteX15" fmla="*/ 1641475 w 2540000"/>
                    <a:gd name="connsiteY15" fmla="*/ 171450 h 1228725"/>
                    <a:gd name="connsiteX16" fmla="*/ 1301750 w 2540000"/>
                    <a:gd name="connsiteY16" fmla="*/ 0 h 1228725"/>
                    <a:gd name="connsiteX17" fmla="*/ 479425 w 2540000"/>
                    <a:gd name="connsiteY17" fmla="*/ 0 h 1228725"/>
                    <a:gd name="connsiteX18" fmla="*/ 6350 w 2540000"/>
                    <a:gd name="connsiteY18" fmla="*/ 428625 h 1228725"/>
                    <a:gd name="connsiteX19" fmla="*/ 0 w 2540000"/>
                    <a:gd name="connsiteY19" fmla="*/ 803275 h 1228725"/>
                    <a:gd name="connsiteX0" fmla="*/ 0 w 2568979"/>
                    <a:gd name="connsiteY0" fmla="*/ 803275 h 1228725"/>
                    <a:gd name="connsiteX1" fmla="*/ 215900 w 2568979"/>
                    <a:gd name="connsiteY1" fmla="*/ 803275 h 1228725"/>
                    <a:gd name="connsiteX2" fmla="*/ 215900 w 2568979"/>
                    <a:gd name="connsiteY2" fmla="*/ 1228725 h 1228725"/>
                    <a:gd name="connsiteX3" fmla="*/ 355600 w 2568979"/>
                    <a:gd name="connsiteY3" fmla="*/ 1228725 h 1228725"/>
                    <a:gd name="connsiteX4" fmla="*/ 355600 w 2568979"/>
                    <a:gd name="connsiteY4" fmla="*/ 584200 h 1228725"/>
                    <a:gd name="connsiteX5" fmla="*/ 454025 w 2568979"/>
                    <a:gd name="connsiteY5" fmla="*/ 584200 h 1228725"/>
                    <a:gd name="connsiteX6" fmla="*/ 454025 w 2568979"/>
                    <a:gd name="connsiteY6" fmla="*/ 1225550 h 1228725"/>
                    <a:gd name="connsiteX7" fmla="*/ 1476375 w 2568979"/>
                    <a:gd name="connsiteY7" fmla="*/ 1225550 h 1228725"/>
                    <a:gd name="connsiteX8" fmla="*/ 1476375 w 2568979"/>
                    <a:gd name="connsiteY8" fmla="*/ 577850 h 1228725"/>
                    <a:gd name="connsiteX9" fmla="*/ 1543050 w 2568979"/>
                    <a:gd name="connsiteY9" fmla="*/ 577850 h 1228725"/>
                    <a:gd name="connsiteX10" fmla="*/ 1727200 w 2568979"/>
                    <a:gd name="connsiteY10" fmla="*/ 800100 h 1228725"/>
                    <a:gd name="connsiteX11" fmla="*/ 2263775 w 2568979"/>
                    <a:gd name="connsiteY11" fmla="*/ 800100 h 1228725"/>
                    <a:gd name="connsiteX12" fmla="*/ 2540000 w 2568979"/>
                    <a:gd name="connsiteY12" fmla="*/ 466725 h 1228725"/>
                    <a:gd name="connsiteX13" fmla="*/ 2266950 w 2568979"/>
                    <a:gd name="connsiteY13" fmla="*/ 241300 h 1228725"/>
                    <a:gd name="connsiteX14" fmla="*/ 1993900 w 2568979"/>
                    <a:gd name="connsiteY14" fmla="*/ 571500 h 1228725"/>
                    <a:gd name="connsiteX15" fmla="*/ 1641475 w 2568979"/>
                    <a:gd name="connsiteY15" fmla="*/ 171450 h 1228725"/>
                    <a:gd name="connsiteX16" fmla="*/ 1301750 w 2568979"/>
                    <a:gd name="connsiteY16" fmla="*/ 0 h 1228725"/>
                    <a:gd name="connsiteX17" fmla="*/ 479425 w 2568979"/>
                    <a:gd name="connsiteY17" fmla="*/ 0 h 1228725"/>
                    <a:gd name="connsiteX18" fmla="*/ 6350 w 2568979"/>
                    <a:gd name="connsiteY18" fmla="*/ 428625 h 1228725"/>
                    <a:gd name="connsiteX19" fmla="*/ 0 w 2568979"/>
                    <a:gd name="connsiteY19" fmla="*/ 803275 h 1228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568979" h="1228725">
                      <a:moveTo>
                        <a:pt x="0" y="803275"/>
                      </a:moveTo>
                      <a:lnTo>
                        <a:pt x="215900" y="803275"/>
                      </a:lnTo>
                      <a:lnTo>
                        <a:pt x="215900" y="1228725"/>
                      </a:lnTo>
                      <a:lnTo>
                        <a:pt x="355600" y="1228725"/>
                      </a:lnTo>
                      <a:lnTo>
                        <a:pt x="355600" y="584200"/>
                      </a:lnTo>
                      <a:lnTo>
                        <a:pt x="454025" y="584200"/>
                      </a:lnTo>
                      <a:lnTo>
                        <a:pt x="454025" y="1225550"/>
                      </a:lnTo>
                      <a:lnTo>
                        <a:pt x="1476375" y="1225550"/>
                      </a:lnTo>
                      <a:lnTo>
                        <a:pt x="1476375" y="577850"/>
                      </a:lnTo>
                      <a:lnTo>
                        <a:pt x="1543050" y="577850"/>
                      </a:lnTo>
                      <a:lnTo>
                        <a:pt x="1727200" y="800100"/>
                      </a:lnTo>
                      <a:lnTo>
                        <a:pt x="2263775" y="800100"/>
                      </a:lnTo>
                      <a:lnTo>
                        <a:pt x="2540000" y="466725"/>
                      </a:lnTo>
                      <a:cubicBezTo>
                        <a:pt x="2645833" y="270933"/>
                        <a:pt x="2440517" y="119592"/>
                        <a:pt x="2266950" y="241300"/>
                      </a:cubicBezTo>
                      <a:lnTo>
                        <a:pt x="1993900" y="571500"/>
                      </a:lnTo>
                      <a:lnTo>
                        <a:pt x="1641475" y="171450"/>
                      </a:lnTo>
                      <a:cubicBezTo>
                        <a:pt x="1598083" y="104775"/>
                        <a:pt x="1459442" y="6350"/>
                        <a:pt x="1301750" y="0"/>
                      </a:cubicBezTo>
                      <a:lnTo>
                        <a:pt x="479425" y="0"/>
                      </a:lnTo>
                      <a:cubicBezTo>
                        <a:pt x="366183" y="3175"/>
                        <a:pt x="81492" y="79375"/>
                        <a:pt x="6350" y="428625"/>
                      </a:cubicBezTo>
                      <a:lnTo>
                        <a:pt x="0" y="80327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8" name="Freeform 137"/>
                <p:cNvSpPr/>
                <p:nvPr/>
              </p:nvSpPr>
              <p:spPr bwMode="gray">
                <a:xfrm>
                  <a:off x="-593791" y="3387243"/>
                  <a:ext cx="62673" cy="59846"/>
                </a:xfrm>
                <a:custGeom>
                  <a:avLst/>
                  <a:gdLst>
                    <a:gd name="connsiteX0" fmla="*/ 584200 w 844550"/>
                    <a:gd name="connsiteY0" fmla="*/ 806450 h 806450"/>
                    <a:gd name="connsiteX1" fmla="*/ 844550 w 844550"/>
                    <a:gd name="connsiteY1" fmla="*/ 488950 h 806450"/>
                    <a:gd name="connsiteX2" fmla="*/ 260350 w 844550"/>
                    <a:gd name="connsiteY2" fmla="*/ 0 h 806450"/>
                    <a:gd name="connsiteX3" fmla="*/ 0 w 844550"/>
                    <a:gd name="connsiteY3" fmla="*/ 311150 h 806450"/>
                    <a:gd name="connsiteX4" fmla="*/ 146050 w 844550"/>
                    <a:gd name="connsiteY4" fmla="*/ 428625 h 806450"/>
                    <a:gd name="connsiteX5" fmla="*/ 473075 w 844550"/>
                    <a:gd name="connsiteY5" fmla="*/ 701675 h 806450"/>
                    <a:gd name="connsiteX6" fmla="*/ 584200 w 844550"/>
                    <a:gd name="connsiteY6" fmla="*/ 806450 h 806450"/>
                    <a:gd name="connsiteX0" fmla="*/ 584200 w 844550"/>
                    <a:gd name="connsiteY0" fmla="*/ 806450 h 806450"/>
                    <a:gd name="connsiteX1" fmla="*/ 844550 w 844550"/>
                    <a:gd name="connsiteY1" fmla="*/ 488950 h 806450"/>
                    <a:gd name="connsiteX2" fmla="*/ 260350 w 844550"/>
                    <a:gd name="connsiteY2" fmla="*/ 0 h 806450"/>
                    <a:gd name="connsiteX3" fmla="*/ 0 w 844550"/>
                    <a:gd name="connsiteY3" fmla="*/ 311150 h 806450"/>
                    <a:gd name="connsiteX4" fmla="*/ 146050 w 844550"/>
                    <a:gd name="connsiteY4" fmla="*/ 428625 h 806450"/>
                    <a:gd name="connsiteX5" fmla="*/ 473075 w 844550"/>
                    <a:gd name="connsiteY5" fmla="*/ 701675 h 806450"/>
                    <a:gd name="connsiteX6" fmla="*/ 584200 w 844550"/>
                    <a:gd name="connsiteY6" fmla="*/ 806450 h 806450"/>
                    <a:gd name="connsiteX0" fmla="*/ 584200 w 844550"/>
                    <a:gd name="connsiteY0" fmla="*/ 806450 h 806450"/>
                    <a:gd name="connsiteX1" fmla="*/ 844550 w 844550"/>
                    <a:gd name="connsiteY1" fmla="*/ 488950 h 806450"/>
                    <a:gd name="connsiteX2" fmla="*/ 260350 w 844550"/>
                    <a:gd name="connsiteY2" fmla="*/ 0 h 806450"/>
                    <a:gd name="connsiteX3" fmla="*/ 0 w 844550"/>
                    <a:gd name="connsiteY3" fmla="*/ 311150 h 806450"/>
                    <a:gd name="connsiteX4" fmla="*/ 146050 w 844550"/>
                    <a:gd name="connsiteY4" fmla="*/ 428625 h 806450"/>
                    <a:gd name="connsiteX5" fmla="*/ 473075 w 844550"/>
                    <a:gd name="connsiteY5" fmla="*/ 701675 h 806450"/>
                    <a:gd name="connsiteX6" fmla="*/ 584200 w 844550"/>
                    <a:gd name="connsiteY6" fmla="*/ 806450 h 8064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44550" h="806450">
                      <a:moveTo>
                        <a:pt x="584200" y="806450"/>
                      </a:moveTo>
                      <a:lnTo>
                        <a:pt x="844550" y="488950"/>
                      </a:lnTo>
                      <a:lnTo>
                        <a:pt x="260350" y="0"/>
                      </a:lnTo>
                      <a:lnTo>
                        <a:pt x="0" y="311150"/>
                      </a:lnTo>
                      <a:lnTo>
                        <a:pt x="146050" y="428625"/>
                      </a:lnTo>
                      <a:cubicBezTo>
                        <a:pt x="353483" y="319617"/>
                        <a:pt x="548217" y="518583"/>
                        <a:pt x="473075" y="701675"/>
                      </a:cubicBezTo>
                      <a:lnTo>
                        <a:pt x="584200" y="80645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899BA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9" name="Freeform 138"/>
                <p:cNvSpPr/>
                <p:nvPr/>
              </p:nvSpPr>
              <p:spPr bwMode="gray">
                <a:xfrm>
                  <a:off x="-722967" y="3311780"/>
                  <a:ext cx="77231" cy="944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0736" h="1273310">
                      <a:moveTo>
                        <a:pt x="158752" y="749434"/>
                      </a:moveTo>
                      <a:lnTo>
                        <a:pt x="163515" y="844684"/>
                      </a:lnTo>
                      <a:cubicBezTo>
                        <a:pt x="251621" y="839128"/>
                        <a:pt x="223046" y="874053"/>
                        <a:pt x="227809" y="899453"/>
                      </a:cubicBezTo>
                      <a:cubicBezTo>
                        <a:pt x="215902" y="1197109"/>
                        <a:pt x="444503" y="1220923"/>
                        <a:pt x="527846" y="1220922"/>
                      </a:cubicBezTo>
                      <a:cubicBezTo>
                        <a:pt x="677865" y="1211397"/>
                        <a:pt x="825502" y="1144722"/>
                        <a:pt x="813596" y="899453"/>
                      </a:cubicBezTo>
                      <a:cubicBezTo>
                        <a:pt x="806452" y="870878"/>
                        <a:pt x="801690" y="839922"/>
                        <a:pt x="877890" y="849447"/>
                      </a:cubicBezTo>
                      <a:lnTo>
                        <a:pt x="877890" y="749434"/>
                      </a:lnTo>
                      <a:cubicBezTo>
                        <a:pt x="769146" y="801821"/>
                        <a:pt x="410371" y="847066"/>
                        <a:pt x="158752" y="749434"/>
                      </a:cubicBezTo>
                      <a:close/>
                      <a:moveTo>
                        <a:pt x="414340" y="135"/>
                      </a:moveTo>
                      <a:lnTo>
                        <a:pt x="627065" y="135"/>
                      </a:lnTo>
                      <a:cubicBezTo>
                        <a:pt x="679982" y="-3040"/>
                        <a:pt x="697973" y="50935"/>
                        <a:pt x="700090" y="76335"/>
                      </a:cubicBezTo>
                      <a:lnTo>
                        <a:pt x="700090" y="285885"/>
                      </a:lnTo>
                      <a:cubicBezTo>
                        <a:pt x="704588" y="323985"/>
                        <a:pt x="736867" y="314460"/>
                        <a:pt x="735015" y="285885"/>
                      </a:cubicBezTo>
                      <a:lnTo>
                        <a:pt x="735015" y="85860"/>
                      </a:lnTo>
                      <a:cubicBezTo>
                        <a:pt x="901703" y="170262"/>
                        <a:pt x="954089" y="320810"/>
                        <a:pt x="935040" y="517660"/>
                      </a:cubicBezTo>
                      <a:cubicBezTo>
                        <a:pt x="967319" y="515015"/>
                        <a:pt x="978167" y="531418"/>
                        <a:pt x="989015" y="552585"/>
                      </a:cubicBezTo>
                      <a:cubicBezTo>
                        <a:pt x="956735" y="597829"/>
                        <a:pt x="886357" y="697841"/>
                        <a:pt x="677865" y="695460"/>
                      </a:cubicBezTo>
                      <a:cubicBezTo>
                        <a:pt x="651670" y="699958"/>
                        <a:pt x="654053" y="735411"/>
                        <a:pt x="677865" y="730385"/>
                      </a:cubicBezTo>
                      <a:cubicBezTo>
                        <a:pt x="777084" y="737529"/>
                        <a:pt x="923927" y="699428"/>
                        <a:pt x="1011240" y="587510"/>
                      </a:cubicBezTo>
                      <a:cubicBezTo>
                        <a:pt x="1029232" y="583541"/>
                        <a:pt x="1049604" y="603385"/>
                        <a:pt x="1036640" y="625610"/>
                      </a:cubicBezTo>
                      <a:cubicBezTo>
                        <a:pt x="1009917" y="679849"/>
                        <a:pt x="961763" y="710277"/>
                        <a:pt x="935040" y="724035"/>
                      </a:cubicBezTo>
                      <a:lnTo>
                        <a:pt x="935040" y="851035"/>
                      </a:lnTo>
                      <a:cubicBezTo>
                        <a:pt x="936627" y="903952"/>
                        <a:pt x="912022" y="892574"/>
                        <a:pt x="868365" y="895485"/>
                      </a:cubicBezTo>
                      <a:cubicBezTo>
                        <a:pt x="887679" y="1161920"/>
                        <a:pt x="706969" y="1268812"/>
                        <a:pt x="519115" y="1273310"/>
                      </a:cubicBezTo>
                      <a:cubicBezTo>
                        <a:pt x="285752" y="1270135"/>
                        <a:pt x="152402" y="1097892"/>
                        <a:pt x="176215" y="892310"/>
                      </a:cubicBezTo>
                      <a:cubicBezTo>
                        <a:pt x="119594" y="900512"/>
                        <a:pt x="108217" y="894427"/>
                        <a:pt x="106365" y="866910"/>
                      </a:cubicBezTo>
                      <a:cubicBezTo>
                        <a:pt x="105307" y="818227"/>
                        <a:pt x="104248" y="769543"/>
                        <a:pt x="103190" y="720860"/>
                      </a:cubicBezTo>
                      <a:cubicBezTo>
                        <a:pt x="70382" y="698635"/>
                        <a:pt x="30429" y="669266"/>
                        <a:pt x="4765" y="625610"/>
                      </a:cubicBezTo>
                      <a:cubicBezTo>
                        <a:pt x="-4496" y="613174"/>
                        <a:pt x="-1849" y="598358"/>
                        <a:pt x="26990" y="581160"/>
                      </a:cubicBezTo>
                      <a:cubicBezTo>
                        <a:pt x="133617" y="699958"/>
                        <a:pt x="273582" y="742556"/>
                        <a:pt x="354015" y="730385"/>
                      </a:cubicBezTo>
                      <a:cubicBezTo>
                        <a:pt x="389734" y="729591"/>
                        <a:pt x="387352" y="695460"/>
                        <a:pt x="354015" y="692285"/>
                      </a:cubicBezTo>
                      <a:cubicBezTo>
                        <a:pt x="229661" y="703927"/>
                        <a:pt x="117213" y="629843"/>
                        <a:pt x="52390" y="555760"/>
                      </a:cubicBezTo>
                      <a:cubicBezTo>
                        <a:pt x="65619" y="522952"/>
                        <a:pt x="81229" y="516336"/>
                        <a:pt x="106365" y="514485"/>
                      </a:cubicBezTo>
                      <a:cubicBezTo>
                        <a:pt x="104248" y="393835"/>
                        <a:pt x="89432" y="203335"/>
                        <a:pt x="300040" y="85860"/>
                      </a:cubicBezTo>
                      <a:lnTo>
                        <a:pt x="300040" y="285885"/>
                      </a:lnTo>
                      <a:cubicBezTo>
                        <a:pt x="307978" y="314460"/>
                        <a:pt x="339727" y="307316"/>
                        <a:pt x="338140" y="285885"/>
                      </a:cubicBezTo>
                      <a:lnTo>
                        <a:pt x="338140" y="82685"/>
                      </a:lnTo>
                      <a:cubicBezTo>
                        <a:pt x="341315" y="39293"/>
                        <a:pt x="357190" y="8602"/>
                        <a:pt x="414340" y="13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7" name="Group 6"/>
            <p:cNvGrpSpPr>
              <a:grpSpLocks/>
            </p:cNvGrpSpPr>
            <p:nvPr/>
          </p:nvGrpSpPr>
          <p:grpSpPr>
            <a:xfrm>
              <a:off x="755639" y="3063241"/>
              <a:ext cx="721313" cy="721311"/>
              <a:chOff x="-1054343" y="4664037"/>
              <a:chExt cx="740018" cy="740014"/>
            </a:xfrm>
          </p:grpSpPr>
          <p:sp>
            <p:nvSpPr>
              <p:cNvPr id="119" name="TextBox 478"/>
              <p:cNvSpPr txBox="1"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-1054343" y="4664037"/>
                <a:ext cx="740018" cy="74001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  <a:effectLst/>
            </p:spPr>
            <p:txBody>
              <a:bodyPr vert="horz" wrap="square" lIns="2916" tIns="0" rIns="2916" bIns="0" numCol="1" anchor="t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1000" b="1" dirty="0">
                    <a:solidFill>
                      <a:schemeClr val="bg1">
                        <a:lumMod val="95000"/>
                      </a:schemeClr>
                    </a:solidFill>
                  </a:rPr>
                  <a:t>FHWA</a:t>
                </a:r>
              </a:p>
            </p:txBody>
          </p:sp>
          <p:grpSp>
            <p:nvGrpSpPr>
              <p:cNvPr id="154" name="Group 153"/>
              <p:cNvGrpSpPr/>
              <p:nvPr/>
            </p:nvGrpSpPr>
            <p:grpSpPr bwMode="gray">
              <a:xfrm>
                <a:off x="-851103" y="5045641"/>
                <a:ext cx="333538" cy="235186"/>
                <a:chOff x="4713288" y="2338388"/>
                <a:chExt cx="990600" cy="698500"/>
              </a:xfrm>
              <a:solidFill>
                <a:schemeClr val="bg1"/>
              </a:solidFill>
            </p:grpSpPr>
            <p:sp>
              <p:nvSpPr>
                <p:cNvPr id="155" name="Freeform 31"/>
                <p:cNvSpPr>
                  <a:spLocks/>
                </p:cNvSpPr>
                <p:nvPr/>
              </p:nvSpPr>
              <p:spPr bwMode="gray">
                <a:xfrm>
                  <a:off x="5068888" y="2557463"/>
                  <a:ext cx="279400" cy="139700"/>
                </a:xfrm>
                <a:custGeom>
                  <a:avLst/>
                  <a:gdLst>
                    <a:gd name="T0" fmla="*/ 556 w 556"/>
                    <a:gd name="T1" fmla="*/ 0 h 277"/>
                    <a:gd name="T2" fmla="*/ 477 w 556"/>
                    <a:gd name="T3" fmla="*/ 0 h 277"/>
                    <a:gd name="T4" fmla="*/ 477 w 556"/>
                    <a:gd name="T5" fmla="*/ 198 h 277"/>
                    <a:gd name="T6" fmla="*/ 396 w 556"/>
                    <a:gd name="T7" fmla="*/ 198 h 277"/>
                    <a:gd name="T8" fmla="*/ 396 w 556"/>
                    <a:gd name="T9" fmla="*/ 0 h 277"/>
                    <a:gd name="T10" fmla="*/ 318 w 556"/>
                    <a:gd name="T11" fmla="*/ 0 h 277"/>
                    <a:gd name="T12" fmla="*/ 318 w 556"/>
                    <a:gd name="T13" fmla="*/ 199 h 277"/>
                    <a:gd name="T14" fmla="*/ 254 w 556"/>
                    <a:gd name="T15" fmla="*/ 199 h 277"/>
                    <a:gd name="T16" fmla="*/ 237 w 556"/>
                    <a:gd name="T17" fmla="*/ 183 h 277"/>
                    <a:gd name="T18" fmla="*/ 238 w 556"/>
                    <a:gd name="T19" fmla="*/ 26 h 277"/>
                    <a:gd name="T20" fmla="*/ 238 w 556"/>
                    <a:gd name="T21" fmla="*/ 1 h 277"/>
                    <a:gd name="T22" fmla="*/ 158 w 556"/>
                    <a:gd name="T23" fmla="*/ 1 h 277"/>
                    <a:gd name="T24" fmla="*/ 158 w 556"/>
                    <a:gd name="T25" fmla="*/ 198 h 277"/>
                    <a:gd name="T26" fmla="*/ 78 w 556"/>
                    <a:gd name="T27" fmla="*/ 198 h 277"/>
                    <a:gd name="T28" fmla="*/ 78 w 556"/>
                    <a:gd name="T29" fmla="*/ 0 h 277"/>
                    <a:gd name="T30" fmla="*/ 0 w 556"/>
                    <a:gd name="T31" fmla="*/ 0 h 277"/>
                    <a:gd name="T32" fmla="*/ 0 w 556"/>
                    <a:gd name="T33" fmla="*/ 277 h 277"/>
                    <a:gd name="T34" fmla="*/ 556 w 556"/>
                    <a:gd name="T35" fmla="*/ 277 h 277"/>
                    <a:gd name="T36" fmla="*/ 556 w 556"/>
                    <a:gd name="T37" fmla="*/ 0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56" h="277">
                      <a:moveTo>
                        <a:pt x="556" y="0"/>
                      </a:moveTo>
                      <a:cubicBezTo>
                        <a:pt x="529" y="0"/>
                        <a:pt x="504" y="0"/>
                        <a:pt x="477" y="0"/>
                      </a:cubicBezTo>
                      <a:cubicBezTo>
                        <a:pt x="477" y="67"/>
                        <a:pt x="477" y="132"/>
                        <a:pt x="477" y="198"/>
                      </a:cubicBezTo>
                      <a:cubicBezTo>
                        <a:pt x="449" y="198"/>
                        <a:pt x="424" y="198"/>
                        <a:pt x="396" y="198"/>
                      </a:cubicBezTo>
                      <a:cubicBezTo>
                        <a:pt x="396" y="131"/>
                        <a:pt x="396" y="65"/>
                        <a:pt x="396" y="0"/>
                      </a:cubicBezTo>
                      <a:cubicBezTo>
                        <a:pt x="370" y="0"/>
                        <a:pt x="345" y="0"/>
                        <a:pt x="318" y="0"/>
                      </a:cubicBezTo>
                      <a:cubicBezTo>
                        <a:pt x="318" y="67"/>
                        <a:pt x="318" y="132"/>
                        <a:pt x="318" y="199"/>
                      </a:cubicBezTo>
                      <a:cubicBezTo>
                        <a:pt x="295" y="199"/>
                        <a:pt x="275" y="198"/>
                        <a:pt x="254" y="199"/>
                      </a:cubicBezTo>
                      <a:cubicBezTo>
                        <a:pt x="242" y="200"/>
                        <a:pt x="237" y="196"/>
                        <a:pt x="237" y="183"/>
                      </a:cubicBezTo>
                      <a:cubicBezTo>
                        <a:pt x="238" y="130"/>
                        <a:pt x="238" y="78"/>
                        <a:pt x="238" y="26"/>
                      </a:cubicBezTo>
                      <a:cubicBezTo>
                        <a:pt x="238" y="17"/>
                        <a:pt x="238" y="9"/>
                        <a:pt x="238" y="1"/>
                      </a:cubicBezTo>
                      <a:cubicBezTo>
                        <a:pt x="210" y="1"/>
                        <a:pt x="185" y="1"/>
                        <a:pt x="158" y="1"/>
                      </a:cubicBezTo>
                      <a:cubicBezTo>
                        <a:pt x="158" y="67"/>
                        <a:pt x="158" y="132"/>
                        <a:pt x="158" y="198"/>
                      </a:cubicBezTo>
                      <a:cubicBezTo>
                        <a:pt x="131" y="198"/>
                        <a:pt x="106" y="198"/>
                        <a:pt x="78" y="198"/>
                      </a:cubicBezTo>
                      <a:cubicBezTo>
                        <a:pt x="78" y="131"/>
                        <a:pt x="78" y="66"/>
                        <a:pt x="78" y="0"/>
                      </a:cubicBezTo>
                      <a:cubicBezTo>
                        <a:pt x="51" y="0"/>
                        <a:pt x="27" y="0"/>
                        <a:pt x="0" y="0"/>
                      </a:cubicBezTo>
                      <a:cubicBezTo>
                        <a:pt x="0" y="93"/>
                        <a:pt x="0" y="184"/>
                        <a:pt x="0" y="277"/>
                      </a:cubicBezTo>
                      <a:cubicBezTo>
                        <a:pt x="185" y="277"/>
                        <a:pt x="369" y="277"/>
                        <a:pt x="556" y="277"/>
                      </a:cubicBezTo>
                      <a:cubicBezTo>
                        <a:pt x="556" y="184"/>
                        <a:pt x="556" y="93"/>
                        <a:pt x="556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dirty="0"/>
                </a:p>
              </p:txBody>
            </p:sp>
            <p:sp>
              <p:nvSpPr>
                <p:cNvPr id="156" name="Freeform 32"/>
                <p:cNvSpPr>
                  <a:spLocks/>
                </p:cNvSpPr>
                <p:nvPr/>
              </p:nvSpPr>
              <p:spPr bwMode="gray">
                <a:xfrm>
                  <a:off x="5087938" y="2338388"/>
                  <a:ext cx="241300" cy="198438"/>
                </a:xfrm>
                <a:custGeom>
                  <a:avLst/>
                  <a:gdLst>
                    <a:gd name="T0" fmla="*/ 450 w 480"/>
                    <a:gd name="T1" fmla="*/ 282 h 397"/>
                    <a:gd name="T2" fmla="*/ 286 w 480"/>
                    <a:gd name="T3" fmla="*/ 163 h 397"/>
                    <a:gd name="T4" fmla="*/ 263 w 480"/>
                    <a:gd name="T5" fmla="*/ 30 h 397"/>
                    <a:gd name="T6" fmla="*/ 241 w 480"/>
                    <a:gd name="T7" fmla="*/ 0 h 397"/>
                    <a:gd name="T8" fmla="*/ 219 w 480"/>
                    <a:gd name="T9" fmla="*/ 29 h 397"/>
                    <a:gd name="T10" fmla="*/ 202 w 480"/>
                    <a:gd name="T11" fmla="*/ 143 h 397"/>
                    <a:gd name="T12" fmla="*/ 182 w 480"/>
                    <a:gd name="T13" fmla="*/ 167 h 397"/>
                    <a:gd name="T14" fmla="*/ 12 w 480"/>
                    <a:gd name="T15" fmla="*/ 331 h 397"/>
                    <a:gd name="T16" fmla="*/ 0 w 480"/>
                    <a:gd name="T17" fmla="*/ 397 h 397"/>
                    <a:gd name="T18" fmla="*/ 479 w 480"/>
                    <a:gd name="T19" fmla="*/ 397 h 397"/>
                    <a:gd name="T20" fmla="*/ 450 w 480"/>
                    <a:gd name="T21" fmla="*/ 282 h 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80" h="397">
                      <a:moveTo>
                        <a:pt x="450" y="282"/>
                      </a:moveTo>
                      <a:cubicBezTo>
                        <a:pt x="412" y="217"/>
                        <a:pt x="356" y="177"/>
                        <a:pt x="286" y="163"/>
                      </a:cubicBezTo>
                      <a:cubicBezTo>
                        <a:pt x="278" y="116"/>
                        <a:pt x="272" y="73"/>
                        <a:pt x="263" y="30"/>
                      </a:cubicBezTo>
                      <a:cubicBezTo>
                        <a:pt x="261" y="19"/>
                        <a:pt x="249" y="10"/>
                        <a:pt x="241" y="0"/>
                      </a:cubicBezTo>
                      <a:cubicBezTo>
                        <a:pt x="234" y="10"/>
                        <a:pt x="221" y="18"/>
                        <a:pt x="219" y="29"/>
                      </a:cubicBezTo>
                      <a:cubicBezTo>
                        <a:pt x="211" y="66"/>
                        <a:pt x="206" y="104"/>
                        <a:pt x="202" y="143"/>
                      </a:cubicBezTo>
                      <a:cubicBezTo>
                        <a:pt x="200" y="158"/>
                        <a:pt x="196" y="163"/>
                        <a:pt x="182" y="167"/>
                      </a:cubicBezTo>
                      <a:cubicBezTo>
                        <a:pt x="95" y="190"/>
                        <a:pt x="38" y="246"/>
                        <a:pt x="12" y="331"/>
                      </a:cubicBezTo>
                      <a:cubicBezTo>
                        <a:pt x="5" y="352"/>
                        <a:pt x="4" y="374"/>
                        <a:pt x="0" y="397"/>
                      </a:cubicBezTo>
                      <a:cubicBezTo>
                        <a:pt x="162" y="397"/>
                        <a:pt x="320" y="397"/>
                        <a:pt x="479" y="397"/>
                      </a:cubicBezTo>
                      <a:cubicBezTo>
                        <a:pt x="480" y="355"/>
                        <a:pt x="470" y="317"/>
                        <a:pt x="450" y="28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dirty="0"/>
                </a:p>
              </p:txBody>
            </p:sp>
            <p:sp>
              <p:nvSpPr>
                <p:cNvPr id="157" name="Freeform 33"/>
                <p:cNvSpPr>
                  <a:spLocks noEditPoints="1"/>
                </p:cNvSpPr>
                <p:nvPr/>
              </p:nvSpPr>
              <p:spPr bwMode="gray">
                <a:xfrm>
                  <a:off x="4713288" y="2717800"/>
                  <a:ext cx="990600" cy="319088"/>
                </a:xfrm>
                <a:custGeom>
                  <a:avLst/>
                  <a:gdLst>
                    <a:gd name="T0" fmla="*/ 1942 w 1975"/>
                    <a:gd name="T1" fmla="*/ 539 h 634"/>
                    <a:gd name="T2" fmla="*/ 1942 w 1975"/>
                    <a:gd name="T3" fmla="*/ 237 h 634"/>
                    <a:gd name="T4" fmla="*/ 1746 w 1975"/>
                    <a:gd name="T5" fmla="*/ 237 h 634"/>
                    <a:gd name="T6" fmla="*/ 1650 w 1975"/>
                    <a:gd name="T7" fmla="*/ 120 h 634"/>
                    <a:gd name="T8" fmla="*/ 1543 w 1975"/>
                    <a:gd name="T9" fmla="*/ 236 h 634"/>
                    <a:gd name="T10" fmla="*/ 1386 w 1975"/>
                    <a:gd name="T11" fmla="*/ 236 h 634"/>
                    <a:gd name="T12" fmla="*/ 1386 w 1975"/>
                    <a:gd name="T13" fmla="*/ 158 h 634"/>
                    <a:gd name="T14" fmla="*/ 1346 w 1975"/>
                    <a:gd name="T15" fmla="*/ 156 h 634"/>
                    <a:gd name="T16" fmla="*/ 1346 w 1975"/>
                    <a:gd name="T17" fmla="*/ 0 h 634"/>
                    <a:gd name="T18" fmla="*/ 629 w 1975"/>
                    <a:gd name="T19" fmla="*/ 0 h 634"/>
                    <a:gd name="T20" fmla="*/ 629 w 1975"/>
                    <a:gd name="T21" fmla="*/ 156 h 634"/>
                    <a:gd name="T22" fmla="*/ 589 w 1975"/>
                    <a:gd name="T23" fmla="*/ 158 h 634"/>
                    <a:gd name="T24" fmla="*/ 589 w 1975"/>
                    <a:gd name="T25" fmla="*/ 236 h 634"/>
                    <a:gd name="T26" fmla="*/ 433 w 1975"/>
                    <a:gd name="T27" fmla="*/ 236 h 634"/>
                    <a:gd name="T28" fmla="*/ 338 w 1975"/>
                    <a:gd name="T29" fmla="*/ 119 h 634"/>
                    <a:gd name="T30" fmla="*/ 229 w 1975"/>
                    <a:gd name="T31" fmla="*/ 238 h 634"/>
                    <a:gd name="T32" fmla="*/ 34 w 1975"/>
                    <a:gd name="T33" fmla="*/ 238 h 634"/>
                    <a:gd name="T34" fmla="*/ 34 w 1975"/>
                    <a:gd name="T35" fmla="*/ 539 h 634"/>
                    <a:gd name="T36" fmla="*/ 0 w 1975"/>
                    <a:gd name="T37" fmla="*/ 586 h 634"/>
                    <a:gd name="T38" fmla="*/ 49 w 1975"/>
                    <a:gd name="T39" fmla="*/ 634 h 634"/>
                    <a:gd name="T40" fmla="*/ 1927 w 1975"/>
                    <a:gd name="T41" fmla="*/ 634 h 634"/>
                    <a:gd name="T42" fmla="*/ 1975 w 1975"/>
                    <a:gd name="T43" fmla="*/ 586 h 634"/>
                    <a:gd name="T44" fmla="*/ 1942 w 1975"/>
                    <a:gd name="T45" fmla="*/ 539 h 634"/>
                    <a:gd name="T46" fmla="*/ 1246 w 1975"/>
                    <a:gd name="T47" fmla="*/ 218 h 634"/>
                    <a:gd name="T48" fmla="*/ 1326 w 1975"/>
                    <a:gd name="T49" fmla="*/ 218 h 634"/>
                    <a:gd name="T50" fmla="*/ 1345 w 1975"/>
                    <a:gd name="T51" fmla="*/ 269 h 634"/>
                    <a:gd name="T52" fmla="*/ 1346 w 1975"/>
                    <a:gd name="T53" fmla="*/ 537 h 634"/>
                    <a:gd name="T54" fmla="*/ 1227 w 1975"/>
                    <a:gd name="T55" fmla="*/ 537 h 634"/>
                    <a:gd name="T56" fmla="*/ 1227 w 1975"/>
                    <a:gd name="T57" fmla="*/ 279 h 634"/>
                    <a:gd name="T58" fmla="*/ 1246 w 1975"/>
                    <a:gd name="T59" fmla="*/ 218 h 634"/>
                    <a:gd name="T60" fmla="*/ 1048 w 1975"/>
                    <a:gd name="T61" fmla="*/ 217 h 634"/>
                    <a:gd name="T62" fmla="*/ 1127 w 1975"/>
                    <a:gd name="T63" fmla="*/ 219 h 634"/>
                    <a:gd name="T64" fmla="*/ 1146 w 1975"/>
                    <a:gd name="T65" fmla="*/ 272 h 634"/>
                    <a:gd name="T66" fmla="*/ 1147 w 1975"/>
                    <a:gd name="T67" fmla="*/ 537 h 634"/>
                    <a:gd name="T68" fmla="*/ 1028 w 1975"/>
                    <a:gd name="T69" fmla="*/ 537 h 634"/>
                    <a:gd name="T70" fmla="*/ 1028 w 1975"/>
                    <a:gd name="T71" fmla="*/ 279 h 634"/>
                    <a:gd name="T72" fmla="*/ 1048 w 1975"/>
                    <a:gd name="T73" fmla="*/ 217 h 634"/>
                    <a:gd name="T74" fmla="*/ 829 w 1975"/>
                    <a:gd name="T75" fmla="*/ 276 h 634"/>
                    <a:gd name="T76" fmla="*/ 850 w 1975"/>
                    <a:gd name="T77" fmla="*/ 216 h 634"/>
                    <a:gd name="T78" fmla="*/ 926 w 1975"/>
                    <a:gd name="T79" fmla="*/ 216 h 634"/>
                    <a:gd name="T80" fmla="*/ 946 w 1975"/>
                    <a:gd name="T81" fmla="*/ 261 h 634"/>
                    <a:gd name="T82" fmla="*/ 947 w 1975"/>
                    <a:gd name="T83" fmla="*/ 537 h 634"/>
                    <a:gd name="T84" fmla="*/ 828 w 1975"/>
                    <a:gd name="T85" fmla="*/ 537 h 634"/>
                    <a:gd name="T86" fmla="*/ 829 w 1975"/>
                    <a:gd name="T87" fmla="*/ 276 h 634"/>
                    <a:gd name="T88" fmla="*/ 630 w 1975"/>
                    <a:gd name="T89" fmla="*/ 279 h 634"/>
                    <a:gd name="T90" fmla="*/ 649 w 1975"/>
                    <a:gd name="T91" fmla="*/ 220 h 634"/>
                    <a:gd name="T92" fmla="*/ 729 w 1975"/>
                    <a:gd name="T93" fmla="*/ 219 h 634"/>
                    <a:gd name="T94" fmla="*/ 748 w 1975"/>
                    <a:gd name="T95" fmla="*/ 267 h 634"/>
                    <a:gd name="T96" fmla="*/ 749 w 1975"/>
                    <a:gd name="T97" fmla="*/ 537 h 634"/>
                    <a:gd name="T98" fmla="*/ 629 w 1975"/>
                    <a:gd name="T99" fmla="*/ 537 h 634"/>
                    <a:gd name="T100" fmla="*/ 630 w 1975"/>
                    <a:gd name="T101" fmla="*/ 279 h 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975" h="634">
                      <a:moveTo>
                        <a:pt x="1942" y="539"/>
                      </a:moveTo>
                      <a:cubicBezTo>
                        <a:pt x="1942" y="439"/>
                        <a:pt x="1942" y="338"/>
                        <a:pt x="1942" y="237"/>
                      </a:cubicBezTo>
                      <a:cubicBezTo>
                        <a:pt x="1876" y="237"/>
                        <a:pt x="1811" y="237"/>
                        <a:pt x="1746" y="237"/>
                      </a:cubicBezTo>
                      <a:cubicBezTo>
                        <a:pt x="1737" y="177"/>
                        <a:pt x="1717" y="123"/>
                        <a:pt x="1650" y="120"/>
                      </a:cubicBezTo>
                      <a:cubicBezTo>
                        <a:pt x="1575" y="117"/>
                        <a:pt x="1553" y="174"/>
                        <a:pt x="1543" y="236"/>
                      </a:cubicBezTo>
                      <a:cubicBezTo>
                        <a:pt x="1490" y="236"/>
                        <a:pt x="1439" y="236"/>
                        <a:pt x="1386" y="236"/>
                      </a:cubicBezTo>
                      <a:cubicBezTo>
                        <a:pt x="1386" y="209"/>
                        <a:pt x="1386" y="184"/>
                        <a:pt x="1386" y="158"/>
                      </a:cubicBezTo>
                      <a:cubicBezTo>
                        <a:pt x="1372" y="157"/>
                        <a:pt x="1360" y="156"/>
                        <a:pt x="1346" y="156"/>
                      </a:cubicBezTo>
                      <a:cubicBezTo>
                        <a:pt x="1346" y="103"/>
                        <a:pt x="1346" y="52"/>
                        <a:pt x="1346" y="0"/>
                      </a:cubicBezTo>
                      <a:cubicBezTo>
                        <a:pt x="1106" y="0"/>
                        <a:pt x="869" y="0"/>
                        <a:pt x="629" y="0"/>
                      </a:cubicBezTo>
                      <a:cubicBezTo>
                        <a:pt x="629" y="52"/>
                        <a:pt x="629" y="104"/>
                        <a:pt x="629" y="156"/>
                      </a:cubicBezTo>
                      <a:cubicBezTo>
                        <a:pt x="616" y="156"/>
                        <a:pt x="603" y="157"/>
                        <a:pt x="589" y="158"/>
                      </a:cubicBezTo>
                      <a:cubicBezTo>
                        <a:pt x="589" y="185"/>
                        <a:pt x="589" y="210"/>
                        <a:pt x="589" y="236"/>
                      </a:cubicBezTo>
                      <a:cubicBezTo>
                        <a:pt x="535" y="236"/>
                        <a:pt x="483" y="236"/>
                        <a:pt x="433" y="236"/>
                      </a:cubicBezTo>
                      <a:cubicBezTo>
                        <a:pt x="414" y="157"/>
                        <a:pt x="386" y="120"/>
                        <a:pt x="338" y="119"/>
                      </a:cubicBezTo>
                      <a:cubicBezTo>
                        <a:pt x="262" y="119"/>
                        <a:pt x="240" y="173"/>
                        <a:pt x="229" y="238"/>
                      </a:cubicBezTo>
                      <a:cubicBezTo>
                        <a:pt x="163" y="238"/>
                        <a:pt x="98" y="238"/>
                        <a:pt x="34" y="238"/>
                      </a:cubicBezTo>
                      <a:cubicBezTo>
                        <a:pt x="34" y="339"/>
                        <a:pt x="34" y="439"/>
                        <a:pt x="34" y="539"/>
                      </a:cubicBezTo>
                      <a:cubicBezTo>
                        <a:pt x="14" y="546"/>
                        <a:pt x="0" y="564"/>
                        <a:pt x="0" y="586"/>
                      </a:cubicBezTo>
                      <a:cubicBezTo>
                        <a:pt x="0" y="612"/>
                        <a:pt x="22" y="634"/>
                        <a:pt x="49" y="634"/>
                      </a:cubicBezTo>
                      <a:cubicBezTo>
                        <a:pt x="1927" y="634"/>
                        <a:pt x="1927" y="634"/>
                        <a:pt x="1927" y="634"/>
                      </a:cubicBezTo>
                      <a:cubicBezTo>
                        <a:pt x="1954" y="634"/>
                        <a:pt x="1975" y="612"/>
                        <a:pt x="1975" y="586"/>
                      </a:cubicBezTo>
                      <a:cubicBezTo>
                        <a:pt x="1975" y="564"/>
                        <a:pt x="1961" y="546"/>
                        <a:pt x="1942" y="539"/>
                      </a:cubicBezTo>
                      <a:close/>
                      <a:moveTo>
                        <a:pt x="1246" y="218"/>
                      </a:moveTo>
                      <a:cubicBezTo>
                        <a:pt x="1268" y="190"/>
                        <a:pt x="1305" y="189"/>
                        <a:pt x="1326" y="218"/>
                      </a:cubicBezTo>
                      <a:cubicBezTo>
                        <a:pt x="1336" y="232"/>
                        <a:pt x="1345" y="252"/>
                        <a:pt x="1345" y="269"/>
                      </a:cubicBezTo>
                      <a:cubicBezTo>
                        <a:pt x="1346" y="358"/>
                        <a:pt x="1346" y="448"/>
                        <a:pt x="1346" y="537"/>
                      </a:cubicBezTo>
                      <a:cubicBezTo>
                        <a:pt x="1227" y="537"/>
                        <a:pt x="1227" y="537"/>
                        <a:pt x="1227" y="537"/>
                      </a:cubicBezTo>
                      <a:cubicBezTo>
                        <a:pt x="1227" y="451"/>
                        <a:pt x="1227" y="365"/>
                        <a:pt x="1227" y="279"/>
                      </a:cubicBezTo>
                      <a:cubicBezTo>
                        <a:pt x="1226" y="256"/>
                        <a:pt x="1232" y="236"/>
                        <a:pt x="1246" y="218"/>
                      </a:cubicBezTo>
                      <a:close/>
                      <a:moveTo>
                        <a:pt x="1048" y="217"/>
                      </a:moveTo>
                      <a:cubicBezTo>
                        <a:pt x="1072" y="190"/>
                        <a:pt x="1107" y="189"/>
                        <a:pt x="1127" y="219"/>
                      </a:cubicBezTo>
                      <a:cubicBezTo>
                        <a:pt x="1138" y="234"/>
                        <a:pt x="1146" y="254"/>
                        <a:pt x="1146" y="272"/>
                      </a:cubicBezTo>
                      <a:cubicBezTo>
                        <a:pt x="1148" y="360"/>
                        <a:pt x="1148" y="448"/>
                        <a:pt x="1147" y="537"/>
                      </a:cubicBezTo>
                      <a:cubicBezTo>
                        <a:pt x="1028" y="537"/>
                        <a:pt x="1028" y="537"/>
                        <a:pt x="1028" y="537"/>
                      </a:cubicBezTo>
                      <a:cubicBezTo>
                        <a:pt x="1028" y="451"/>
                        <a:pt x="1028" y="365"/>
                        <a:pt x="1028" y="279"/>
                      </a:cubicBezTo>
                      <a:cubicBezTo>
                        <a:pt x="1028" y="256"/>
                        <a:pt x="1033" y="235"/>
                        <a:pt x="1048" y="217"/>
                      </a:cubicBezTo>
                      <a:close/>
                      <a:moveTo>
                        <a:pt x="829" y="276"/>
                      </a:moveTo>
                      <a:cubicBezTo>
                        <a:pt x="829" y="254"/>
                        <a:pt x="834" y="233"/>
                        <a:pt x="850" y="216"/>
                      </a:cubicBezTo>
                      <a:cubicBezTo>
                        <a:pt x="873" y="191"/>
                        <a:pt x="905" y="190"/>
                        <a:pt x="926" y="216"/>
                      </a:cubicBezTo>
                      <a:cubicBezTo>
                        <a:pt x="936" y="229"/>
                        <a:pt x="946" y="246"/>
                        <a:pt x="946" y="261"/>
                      </a:cubicBezTo>
                      <a:cubicBezTo>
                        <a:pt x="947" y="352"/>
                        <a:pt x="947" y="444"/>
                        <a:pt x="947" y="537"/>
                      </a:cubicBezTo>
                      <a:cubicBezTo>
                        <a:pt x="828" y="537"/>
                        <a:pt x="828" y="537"/>
                        <a:pt x="828" y="537"/>
                      </a:cubicBezTo>
                      <a:cubicBezTo>
                        <a:pt x="828" y="450"/>
                        <a:pt x="828" y="363"/>
                        <a:pt x="829" y="276"/>
                      </a:cubicBezTo>
                      <a:close/>
                      <a:moveTo>
                        <a:pt x="630" y="279"/>
                      </a:moveTo>
                      <a:cubicBezTo>
                        <a:pt x="631" y="259"/>
                        <a:pt x="638" y="237"/>
                        <a:pt x="649" y="220"/>
                      </a:cubicBezTo>
                      <a:cubicBezTo>
                        <a:pt x="669" y="189"/>
                        <a:pt x="708" y="188"/>
                        <a:pt x="729" y="219"/>
                      </a:cubicBezTo>
                      <a:cubicBezTo>
                        <a:pt x="739" y="233"/>
                        <a:pt x="748" y="251"/>
                        <a:pt x="748" y="267"/>
                      </a:cubicBezTo>
                      <a:cubicBezTo>
                        <a:pt x="749" y="356"/>
                        <a:pt x="749" y="446"/>
                        <a:pt x="749" y="537"/>
                      </a:cubicBezTo>
                      <a:cubicBezTo>
                        <a:pt x="629" y="537"/>
                        <a:pt x="629" y="537"/>
                        <a:pt x="629" y="537"/>
                      </a:cubicBezTo>
                      <a:cubicBezTo>
                        <a:pt x="629" y="451"/>
                        <a:pt x="629" y="365"/>
                        <a:pt x="630" y="27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 dirty="0"/>
                </a:p>
              </p:txBody>
            </p:sp>
          </p:grpSp>
        </p:grpSp>
      </p:grpSp>
      <p:sp>
        <p:nvSpPr>
          <p:cNvPr id="100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rgbClr val="899BAD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dirty="0">
                <a:solidFill>
                  <a:srgbClr val="FFFFFF"/>
                </a:solidFill>
                <a:latin typeface="Franklin Gothic Demi" panose="020B0703020102020204" pitchFamily="34" charset="0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775352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916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7839"/>
            <a:r>
              <a:rPr lang="en-US" b="1" dirty="0"/>
              <a:t>Example risks to successful delivery of projects through PD&amp;G</a:t>
            </a:r>
            <a:endParaRPr lang="en-US" dirty="0"/>
          </a:p>
        </p:txBody>
      </p:sp>
      <p:sp>
        <p:nvSpPr>
          <p:cNvPr id="17" name="Freeform 8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186221" y="1018481"/>
            <a:ext cx="2883377" cy="32456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1356" tIns="45678" rIns="91356" bIns="45678">
            <a:noAutofit/>
          </a:bodyPr>
          <a:lstStyle/>
          <a:p>
            <a:pPr algn="l">
              <a:buClr>
                <a:srgbClr val="234062"/>
              </a:buClr>
            </a:pPr>
            <a:endParaRPr lang="en-US" sz="16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8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186221" y="1017294"/>
            <a:ext cx="2883377" cy="353612"/>
          </a:xfrm>
          <a:prstGeom prst="rect">
            <a:avLst/>
          </a:prstGeom>
          <a:solidFill>
            <a:schemeClr val="accent2"/>
          </a:solidFill>
          <a:ln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vert="horz" wrap="square" lIns="91356" tIns="91356" rIns="91356" bIns="91356" rtlCol="0" anchor="ctr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b="1" kern="0" dirty="0" smtClean="0">
                <a:solidFill>
                  <a:schemeClr val="bg1"/>
                </a:solidFill>
              </a:rPr>
              <a:t>Implications</a:t>
            </a:r>
            <a:endParaRPr lang="en-US" b="1" kern="0" dirty="0">
              <a:solidFill>
                <a:schemeClr val="bg1"/>
              </a:solidFill>
            </a:endParaRPr>
          </a:p>
        </p:txBody>
      </p:sp>
      <p:sp>
        <p:nvSpPr>
          <p:cNvPr id="19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979241" y="1018481"/>
            <a:ext cx="4244287" cy="3245688"/>
          </a:xfrm>
          <a:custGeom>
            <a:avLst/>
            <a:gdLst>
              <a:gd name="T0" fmla="*/ 1905 w 2113"/>
              <a:gd name="T1" fmla="*/ 0 h 2147"/>
              <a:gd name="T2" fmla="*/ 0 w 2113"/>
              <a:gd name="T3" fmla="*/ 0 h 2147"/>
              <a:gd name="T4" fmla="*/ 0 w 2113"/>
              <a:gd name="T5" fmla="*/ 2147 h 2147"/>
              <a:gd name="T6" fmla="*/ 1857 w 2113"/>
              <a:gd name="T7" fmla="*/ 2147 h 2147"/>
              <a:gd name="T8" fmla="*/ 2113 w 2113"/>
              <a:gd name="T9" fmla="*/ 963 h 2147"/>
              <a:gd name="T10" fmla="*/ 1905 w 2113"/>
              <a:gd name="T11" fmla="*/ 0 h 2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13" h="2147">
                <a:moveTo>
                  <a:pt x="1905" y="0"/>
                </a:moveTo>
                <a:lnTo>
                  <a:pt x="0" y="0"/>
                </a:lnTo>
                <a:lnTo>
                  <a:pt x="0" y="2147"/>
                </a:lnTo>
                <a:lnTo>
                  <a:pt x="1857" y="2147"/>
                </a:lnTo>
                <a:lnTo>
                  <a:pt x="2113" y="963"/>
                </a:lnTo>
                <a:lnTo>
                  <a:pt x="1905" y="0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lIns="91356" tIns="45678" rIns="91356" bIns="45678">
            <a:noAutofit/>
          </a:bodyPr>
          <a:lstStyle/>
          <a:p>
            <a:pPr algn="l">
              <a:buClr>
                <a:srgbClr val="234062"/>
              </a:buClr>
            </a:pPr>
            <a:endParaRPr lang="en-US" sz="16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Rectangle 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79240" y="1017294"/>
            <a:ext cx="3930693" cy="353612"/>
          </a:xfrm>
          <a:custGeom>
            <a:avLst/>
            <a:gdLst>
              <a:gd name="connsiteX0" fmla="*/ 0 w 3935896"/>
              <a:gd name="connsiteY0" fmla="*/ 0 h 352425"/>
              <a:gd name="connsiteX1" fmla="*/ 3935896 w 3935896"/>
              <a:gd name="connsiteY1" fmla="*/ 0 h 352425"/>
              <a:gd name="connsiteX2" fmla="*/ 3935896 w 3935896"/>
              <a:gd name="connsiteY2" fmla="*/ 352425 h 352425"/>
              <a:gd name="connsiteX3" fmla="*/ 0 w 3935896"/>
              <a:gd name="connsiteY3" fmla="*/ 352425 h 352425"/>
              <a:gd name="connsiteX4" fmla="*/ 0 w 3935896"/>
              <a:gd name="connsiteY4" fmla="*/ 0 h 352425"/>
              <a:gd name="connsiteX0" fmla="*/ 0 w 3935896"/>
              <a:gd name="connsiteY0" fmla="*/ 1187 h 353612"/>
              <a:gd name="connsiteX1" fmla="*/ 3074505 w 3935896"/>
              <a:gd name="connsiteY1" fmla="*/ 0 h 353612"/>
              <a:gd name="connsiteX2" fmla="*/ 3935896 w 3935896"/>
              <a:gd name="connsiteY2" fmla="*/ 1187 h 353612"/>
              <a:gd name="connsiteX3" fmla="*/ 3935896 w 3935896"/>
              <a:gd name="connsiteY3" fmla="*/ 353612 h 353612"/>
              <a:gd name="connsiteX4" fmla="*/ 0 w 3935896"/>
              <a:gd name="connsiteY4" fmla="*/ 353612 h 353612"/>
              <a:gd name="connsiteX5" fmla="*/ 0 w 3935896"/>
              <a:gd name="connsiteY5" fmla="*/ 1187 h 353612"/>
              <a:gd name="connsiteX0" fmla="*/ 0 w 3935896"/>
              <a:gd name="connsiteY0" fmla="*/ 1187 h 353612"/>
              <a:gd name="connsiteX1" fmla="*/ 3074505 w 3935896"/>
              <a:gd name="connsiteY1" fmla="*/ 0 h 353612"/>
              <a:gd name="connsiteX2" fmla="*/ 3935896 w 3935896"/>
              <a:gd name="connsiteY2" fmla="*/ 1187 h 353612"/>
              <a:gd name="connsiteX3" fmla="*/ 3935896 w 3935896"/>
              <a:gd name="connsiteY3" fmla="*/ 353612 h 353612"/>
              <a:gd name="connsiteX4" fmla="*/ 3157849 w 3935896"/>
              <a:gd name="connsiteY4" fmla="*/ 350043 h 353612"/>
              <a:gd name="connsiteX5" fmla="*/ 0 w 3935896"/>
              <a:gd name="connsiteY5" fmla="*/ 353612 h 353612"/>
              <a:gd name="connsiteX6" fmla="*/ 0 w 3935896"/>
              <a:gd name="connsiteY6" fmla="*/ 1187 h 353612"/>
              <a:gd name="connsiteX0" fmla="*/ 0 w 3935896"/>
              <a:gd name="connsiteY0" fmla="*/ 1187 h 353612"/>
              <a:gd name="connsiteX1" fmla="*/ 3074505 w 3935896"/>
              <a:gd name="connsiteY1" fmla="*/ 0 h 353612"/>
              <a:gd name="connsiteX2" fmla="*/ 3935896 w 3935896"/>
              <a:gd name="connsiteY2" fmla="*/ 353612 h 353612"/>
              <a:gd name="connsiteX3" fmla="*/ 3157849 w 3935896"/>
              <a:gd name="connsiteY3" fmla="*/ 350043 h 353612"/>
              <a:gd name="connsiteX4" fmla="*/ 0 w 3935896"/>
              <a:gd name="connsiteY4" fmla="*/ 353612 h 353612"/>
              <a:gd name="connsiteX5" fmla="*/ 0 w 3935896"/>
              <a:gd name="connsiteY5" fmla="*/ 1187 h 353612"/>
              <a:gd name="connsiteX0" fmla="*/ 0 w 3157849"/>
              <a:gd name="connsiteY0" fmla="*/ 1187 h 353612"/>
              <a:gd name="connsiteX1" fmla="*/ 3074505 w 3157849"/>
              <a:gd name="connsiteY1" fmla="*/ 0 h 353612"/>
              <a:gd name="connsiteX2" fmla="*/ 3157849 w 3157849"/>
              <a:gd name="connsiteY2" fmla="*/ 350043 h 353612"/>
              <a:gd name="connsiteX3" fmla="*/ 0 w 3157849"/>
              <a:gd name="connsiteY3" fmla="*/ 353612 h 353612"/>
              <a:gd name="connsiteX4" fmla="*/ 0 w 3157849"/>
              <a:gd name="connsiteY4" fmla="*/ 1187 h 353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57849" h="353612">
                <a:moveTo>
                  <a:pt x="0" y="1187"/>
                </a:moveTo>
                <a:lnTo>
                  <a:pt x="3074505" y="0"/>
                </a:lnTo>
                <a:lnTo>
                  <a:pt x="3157849" y="350043"/>
                </a:lnTo>
                <a:lnTo>
                  <a:pt x="0" y="353612"/>
                </a:lnTo>
                <a:lnTo>
                  <a:pt x="0" y="1187"/>
                </a:lnTo>
                <a:close/>
              </a:path>
            </a:pathLst>
          </a:custGeom>
          <a:solidFill>
            <a:schemeClr val="accent1"/>
          </a:solidFill>
          <a:ln>
            <a:noFill/>
            <a:miter lim="800000"/>
            <a:headEnd/>
            <a:tailEnd/>
          </a:ln>
          <a:effectLst/>
          <a:extLst/>
        </p:spPr>
        <p:txBody>
          <a:bodyPr vert="horz" wrap="square" lIns="91356" tIns="91356" rIns="91356" bIns="91356" rtlCol="0" anchor="ctr">
            <a:noAutofit/>
          </a:bodyPr>
          <a:lstStyle>
            <a:defPPr>
              <a:defRPr lang="en-US"/>
            </a:defPPr>
            <a:lvl1pPr marL="0" indent="0" defTabSz="1193817" eaLnBrk="1" hangingPunct="1">
              <a:buClr>
                <a:schemeClr val="tx2"/>
              </a:buClr>
              <a:buSzPct val="100000"/>
              <a:defRPr sz="1800" b="1" kern="0" baseline="0">
                <a:solidFill>
                  <a:schemeClr val="bg1"/>
                </a:solidFill>
                <a:latin typeface="+mn-lt"/>
              </a:defRPr>
            </a:lvl1pPr>
            <a:lvl2pPr marL="194393" indent="-190793" defTabSz="1193817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609608" indent="-349255" defTabSz="1193817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819162" indent="-207436" defTabSz="1193817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999757" indent="-173569" defTabSz="1193817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600" dirty="0"/>
              <a:t>Potential Complication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55427" y="1400746"/>
            <a:ext cx="3680408" cy="28315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b="1" kern="0" dirty="0"/>
              <a:t>Advancing ROW activities</a:t>
            </a:r>
            <a:r>
              <a:rPr lang="en-US" kern="0" dirty="0"/>
              <a:t> - ROW </a:t>
            </a:r>
            <a:r>
              <a:rPr lang="en-US" kern="0" dirty="0" smtClean="0"/>
              <a:t>title work and appraisals </a:t>
            </a:r>
            <a:r>
              <a:rPr lang="en-US" kern="0" dirty="0"/>
              <a:t>aren’t carried out in parallel to environmental clearance</a:t>
            </a:r>
          </a:p>
          <a:p>
            <a:pPr lvl="1">
              <a:spcBef>
                <a:spcPct val="50000"/>
              </a:spcBef>
            </a:pPr>
            <a:r>
              <a:rPr lang="en-US" b="1" kern="0" dirty="0"/>
              <a:t>Accurate tracking of progress and milestones </a:t>
            </a:r>
            <a:r>
              <a:rPr lang="en-US" kern="0" dirty="0"/>
              <a:t>- lack of visibility </a:t>
            </a:r>
            <a:r>
              <a:rPr lang="en-US" kern="0" dirty="0" smtClean="0"/>
              <a:t>to </a:t>
            </a:r>
            <a:r>
              <a:rPr lang="en-US" kern="0" dirty="0"/>
              <a:t>all stakeholders early in the process</a:t>
            </a:r>
          </a:p>
          <a:p>
            <a:pPr lvl="1">
              <a:spcBef>
                <a:spcPct val="50000"/>
              </a:spcBef>
            </a:pPr>
            <a:r>
              <a:rPr lang="en-US" b="1" kern="0" dirty="0"/>
              <a:t>Advancing long lead time </a:t>
            </a:r>
            <a:r>
              <a:rPr lang="en-US" b="1" kern="0" dirty="0" smtClean="0"/>
              <a:t>activities </a:t>
            </a:r>
            <a:r>
              <a:rPr lang="en-US" kern="0" dirty="0"/>
              <a:t>- Railroad agreements are executed late</a:t>
            </a:r>
          </a:p>
          <a:p>
            <a:pPr lvl="1">
              <a:spcBef>
                <a:spcPct val="50000"/>
              </a:spcBef>
            </a:pPr>
            <a:r>
              <a:rPr lang="en-US" b="1" kern="0" dirty="0"/>
              <a:t>Continuous effective collaboration </a:t>
            </a:r>
            <a:r>
              <a:rPr lang="en-US" kern="0" dirty="0"/>
              <a:t>- lack of cooperation between all </a:t>
            </a:r>
            <a:r>
              <a:rPr lang="en-US" kern="0" dirty="0" smtClean="0"/>
              <a:t>stakeholders</a:t>
            </a:r>
            <a:endParaRPr lang="en-US" kern="0" dirty="0"/>
          </a:p>
        </p:txBody>
      </p:sp>
      <p:sp>
        <p:nvSpPr>
          <p:cNvPr id="22" name="TextBox 21"/>
          <p:cNvSpPr txBox="1"/>
          <p:nvPr/>
        </p:nvSpPr>
        <p:spPr>
          <a:xfrm>
            <a:off x="5255741" y="1400746"/>
            <a:ext cx="2744308" cy="28931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dirty="0"/>
              <a:t>ROW </a:t>
            </a:r>
            <a:r>
              <a:rPr lang="en-US" dirty="0" smtClean="0"/>
              <a:t>clearances </a:t>
            </a:r>
            <a:r>
              <a:rPr lang="en-US" dirty="0"/>
              <a:t>are executed late and project gets delayed</a:t>
            </a:r>
          </a:p>
          <a:p>
            <a:pPr lvl="1">
              <a:spcBef>
                <a:spcPct val="25000"/>
              </a:spcBef>
            </a:pPr>
            <a:r>
              <a:rPr lang="en-US" dirty="0" smtClean="0"/>
              <a:t>Finding </a:t>
            </a:r>
            <a:r>
              <a:rPr lang="en-US" dirty="0"/>
              <a:t>that some activities need more time to complete than initially expected</a:t>
            </a:r>
          </a:p>
          <a:p>
            <a:pPr lvl="1">
              <a:spcBef>
                <a:spcPct val="25000"/>
              </a:spcBef>
            </a:pPr>
            <a:r>
              <a:rPr lang="en-US" dirty="0" smtClean="0"/>
              <a:t>Significant delay in Letting date</a:t>
            </a:r>
            <a:endParaRPr lang="en-US" dirty="0"/>
          </a:p>
          <a:p>
            <a:pPr lvl="1">
              <a:spcBef>
                <a:spcPct val="25000"/>
              </a:spcBef>
            </a:pPr>
            <a:r>
              <a:rPr lang="en-US" dirty="0"/>
              <a:t>Changes are not communicated and create rework</a:t>
            </a:r>
          </a:p>
        </p:txBody>
      </p:sp>
      <p:sp>
        <p:nvSpPr>
          <p:cNvPr id="24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rgbClr val="899BAD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dirty="0">
                <a:solidFill>
                  <a:srgbClr val="FFFFFF"/>
                </a:solidFill>
                <a:latin typeface="Franklin Gothic Demi" panose="020B0703020102020204" pitchFamily="34" charset="0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1437209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4931008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178" name="think-cell Slide" r:id="rId13" imgW="353" imgH="353" progId="TCLayout.ActiveDocument.1">
                  <p:embed/>
                </p:oleObj>
              </mc:Choice>
              <mc:Fallback>
                <p:oleObj name="think-cell Slide" r:id="rId1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latin typeface="Franklin Gothic Book" panose="020B0503020102090204" pitchFamily="34" charset="0"/>
              <a:sym typeface="Franklin Gothic Book" panose="020B050302010209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947161" y="482600"/>
            <a:ext cx="5196841" cy="4229100"/>
            <a:chOff x="3947159" y="482600"/>
            <a:chExt cx="5196841" cy="4229100"/>
          </a:xfrm>
        </p:grpSpPr>
        <p:pic>
          <p:nvPicPr>
            <p:cNvPr id="3" name="Picture 2"/>
            <p:cNvPicPr>
              <a:picLocks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39" r="9039"/>
            <a:stretch/>
          </p:blipFill>
          <p:spPr>
            <a:xfrm>
              <a:off x="3947160" y="482600"/>
              <a:ext cx="5196840" cy="4229100"/>
            </a:xfrm>
            <a:prstGeom prst="rect">
              <a:avLst/>
            </a:prstGeom>
          </p:spPr>
        </p:pic>
        <p:sp>
          <p:nvSpPr>
            <p:cNvPr id="7" name="Rectangle 6"/>
            <p:cNvSpPr>
              <a:spLocks/>
            </p:cNvSpPr>
            <p:nvPr/>
          </p:nvSpPr>
          <p:spPr>
            <a:xfrm>
              <a:off x="3947159" y="482600"/>
              <a:ext cx="3930015" cy="42291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fld id="{736AB9FE-D634-405C-BC98-8B45F0377B79}" type="datetime'Contents'">
              <a:rPr lang="en-US" altLang="en-US"/>
              <a:pPr/>
              <a:t>Contents</a:t>
            </a:fld>
            <a:endParaRPr lang="en-US" dirty="0"/>
          </a:p>
        </p:txBody>
      </p:sp>
      <p:sp>
        <p:nvSpPr>
          <p:cNvPr id="23" name="Text Placeholder 2">
            <a:hlinkClick r:id="rId16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1926" y="1147763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1: Overview of Project Development and </a:t>
            </a:r>
            <a:r>
              <a:rPr lang="en-US" altLang="en-US" dirty="0" smtClean="0"/>
              <a:t>Delivery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1926" y="1554163"/>
            <a:ext cx="5260975" cy="406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xtLst/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altLang="en-US" b="1" dirty="0">
                <a:solidFill>
                  <a:schemeClr val="bg1"/>
                </a:solidFill>
              </a:rPr>
              <a:t>Chapter 2: Project </a:t>
            </a:r>
            <a:r>
              <a:rPr lang="en-US" altLang="en-US" b="1" dirty="0" smtClean="0">
                <a:solidFill>
                  <a:schemeClr val="bg1"/>
                </a:solidFill>
              </a:rPr>
              <a:t>Initiation /Planning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hlinkClick r:id="" action="ppaction://noaction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1926" y="1960563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3: Preliminary Engineering</a:t>
            </a:r>
            <a:endParaRPr lang="en-US" dirty="0"/>
          </a:p>
        </p:txBody>
      </p:sp>
      <p:sp>
        <p:nvSpPr>
          <p:cNvPr id="56" name="Text Placeholder 2">
            <a:hlinkClick r:id="" action="ppaction://noaction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1926" y="2368550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4: Plans, Specifications, and </a:t>
            </a:r>
            <a:r>
              <a:rPr lang="en-US" altLang="en-US" dirty="0" smtClean="0"/>
              <a:t>Estimate </a:t>
            </a:r>
            <a:r>
              <a:rPr lang="en-US" altLang="en-US" dirty="0"/>
              <a:t>(PS&amp;E)</a:t>
            </a:r>
          </a:p>
        </p:txBody>
      </p:sp>
      <p:sp>
        <p:nvSpPr>
          <p:cNvPr id="61" name="Text Placeholder 2">
            <a:hlinkClick r:id="" action="ppaction://noaction"/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1926" y="2774950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2480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5: Letting </a:t>
            </a:r>
          </a:p>
        </p:txBody>
      </p:sp>
      <p:sp>
        <p:nvSpPr>
          <p:cNvPr id="66" name="Text Placeholder 2">
            <a:hlinkClick r:id="" action="ppaction://noaction"/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61926" y="3182938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6: Construction </a:t>
            </a:r>
          </a:p>
        </p:txBody>
      </p:sp>
      <p:sp>
        <p:nvSpPr>
          <p:cNvPr id="71" name="Text Placeholder 2">
            <a:hlinkClick r:id="" action="ppaction://noaction"/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1926" y="3589338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6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878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498"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7534501" y="1154726"/>
            <a:ext cx="1609513" cy="3576953"/>
          </a:xfrm>
          <a:prstGeom prst="rect">
            <a:avLst/>
          </a:prstGeom>
          <a:noFill/>
          <a:ln>
            <a:solidFill>
              <a:srgbClr val="0A1B2B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2" name="Picture 3" descr="Roadma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" t="1381" r="389" b="11241"/>
          <a:stretch>
            <a:fillRect/>
          </a:stretch>
        </p:blipFill>
        <p:spPr bwMode="gray">
          <a:xfrm>
            <a:off x="14" y="2771651"/>
            <a:ext cx="7534487" cy="195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Connector 12"/>
          <p:cNvCxnSpPr>
            <a:cxnSpLocks/>
            <a:stCxn id="16" idx="2"/>
          </p:cNvCxnSpPr>
          <p:nvPr/>
        </p:nvCxnSpPr>
        <p:spPr>
          <a:xfrm>
            <a:off x="2748780" y="3097239"/>
            <a:ext cx="0" cy="48187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>
          <a:xfrm>
            <a:off x="6365984" y="1995972"/>
            <a:ext cx="0" cy="88464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cxnSpLocks/>
          </p:cNvCxnSpPr>
          <p:nvPr/>
        </p:nvCxnSpPr>
        <p:spPr>
          <a:xfrm flipV="1">
            <a:off x="4373416" y="3757842"/>
            <a:ext cx="0" cy="28619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>
            <a:spLocks/>
          </p:cNvSpPr>
          <p:nvPr/>
        </p:nvSpPr>
        <p:spPr>
          <a:xfrm>
            <a:off x="1611427" y="2642051"/>
            <a:ext cx="2274706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2. Project Authorization</a:t>
            </a:r>
          </a:p>
        </p:txBody>
      </p:sp>
      <p:sp>
        <p:nvSpPr>
          <p:cNvPr id="25" name="TextBox 24"/>
          <p:cNvSpPr txBox="1">
            <a:spLocks/>
          </p:cNvSpPr>
          <p:nvPr/>
        </p:nvSpPr>
        <p:spPr>
          <a:xfrm>
            <a:off x="2761524" y="4044033"/>
            <a:ext cx="2001937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3. Compliance with planning documents</a:t>
            </a: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5365016" y="1565920"/>
            <a:ext cx="2051025" cy="44133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5. Agreements &amp; funding identification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7712708" y="2181981"/>
            <a:ext cx="1319908" cy="1468434"/>
            <a:chOff x="660425" y="531856"/>
            <a:chExt cx="1319908" cy="1468434"/>
          </a:xfrm>
        </p:grpSpPr>
        <p:sp>
          <p:nvSpPr>
            <p:cNvPr id="28" name="TextBox 27"/>
            <p:cNvSpPr txBox="1"/>
            <p:nvPr/>
          </p:nvSpPr>
          <p:spPr>
            <a:xfrm>
              <a:off x="660425" y="1446292"/>
              <a:ext cx="1319908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17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4393" lvl="1" indent="-190793" defTabSz="1193817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609608" lvl="2" indent="-349255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819162" lvl="3" indent="-207436" defTabSz="1193817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999757" lvl="4" indent="-173569" defTabSz="1193817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6pPr>
              <a:lvl7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7pPr>
              <a:lvl8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8pPr>
              <a:lvl9pPr marL="999757" indent="-173569" defTabSz="1193817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33" baseline="0">
                  <a:latin typeface="+mn-lt"/>
                </a:defRPr>
              </a:lvl9pPr>
            </a:lstStyle>
            <a:p>
              <a:pPr algn="ctr"/>
              <a:r>
                <a:rPr lang="en-US" sz="1800" b="1" dirty="0"/>
                <a:t>Early </a:t>
              </a:r>
            </a:p>
            <a:p>
              <a:pPr algn="ctr"/>
              <a:r>
                <a:rPr lang="en-US" sz="1800" b="1" dirty="0"/>
                <a:t>involvement</a:t>
              </a:r>
            </a:p>
          </p:txBody>
        </p:sp>
        <p:grpSp>
          <p:nvGrpSpPr>
            <p:cNvPr id="29" name="Group 28"/>
            <p:cNvGrpSpPr>
              <a:grpSpLocks/>
            </p:cNvGrpSpPr>
            <p:nvPr/>
          </p:nvGrpSpPr>
          <p:grpSpPr>
            <a:xfrm>
              <a:off x="848366" y="531856"/>
              <a:ext cx="920674" cy="920674"/>
              <a:chOff x="1275929" y="959633"/>
              <a:chExt cx="567573" cy="567573"/>
            </a:xfrm>
          </p:grpSpPr>
          <p:sp>
            <p:nvSpPr>
              <p:cNvPr id="30" name="Oval 29"/>
              <p:cNvSpPr>
                <a:spLocks/>
              </p:cNvSpPr>
              <p:nvPr/>
            </p:nvSpPr>
            <p:spPr>
              <a:xfrm>
                <a:off x="1275929" y="959633"/>
                <a:ext cx="567573" cy="56757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344065" y="1130117"/>
                <a:ext cx="431300" cy="226604"/>
                <a:chOff x="3949080" y="4210929"/>
                <a:chExt cx="1381556" cy="725868"/>
              </a:xfrm>
            </p:grpSpPr>
            <p:sp>
              <p:nvSpPr>
                <p:cNvPr id="32" name="Freeform 394"/>
                <p:cNvSpPr>
                  <a:spLocks/>
                </p:cNvSpPr>
                <p:nvPr/>
              </p:nvSpPr>
              <p:spPr bwMode="gray">
                <a:xfrm>
                  <a:off x="3949080" y="4500163"/>
                  <a:ext cx="264532" cy="436634"/>
                </a:xfrm>
                <a:custGeom>
                  <a:avLst/>
                  <a:gdLst>
                    <a:gd name="T0" fmla="*/ 32 w 334"/>
                    <a:gd name="T1" fmla="*/ 532 h 532"/>
                    <a:gd name="T2" fmla="*/ 65 w 334"/>
                    <a:gd name="T3" fmla="*/ 500 h 532"/>
                    <a:gd name="T4" fmla="*/ 47 w 334"/>
                    <a:gd name="T5" fmla="*/ 471 h 532"/>
                    <a:gd name="T6" fmla="*/ 47 w 334"/>
                    <a:gd name="T7" fmla="*/ 459 h 532"/>
                    <a:gd name="T8" fmla="*/ 150 w 334"/>
                    <a:gd name="T9" fmla="*/ 425 h 532"/>
                    <a:gd name="T10" fmla="*/ 154 w 334"/>
                    <a:gd name="T11" fmla="*/ 469 h 532"/>
                    <a:gd name="T12" fmla="*/ 133 w 334"/>
                    <a:gd name="T13" fmla="*/ 500 h 532"/>
                    <a:gd name="T14" fmla="*/ 165 w 334"/>
                    <a:gd name="T15" fmla="*/ 532 h 532"/>
                    <a:gd name="T16" fmla="*/ 198 w 334"/>
                    <a:gd name="T17" fmla="*/ 500 h 532"/>
                    <a:gd name="T18" fmla="*/ 180 w 334"/>
                    <a:gd name="T19" fmla="*/ 471 h 532"/>
                    <a:gd name="T20" fmla="*/ 184 w 334"/>
                    <a:gd name="T21" fmla="*/ 425 h 532"/>
                    <a:gd name="T22" fmla="*/ 269 w 334"/>
                    <a:gd name="T23" fmla="*/ 444 h 532"/>
                    <a:gd name="T24" fmla="*/ 286 w 334"/>
                    <a:gd name="T25" fmla="*/ 456 h 532"/>
                    <a:gd name="T26" fmla="*/ 288 w 334"/>
                    <a:gd name="T27" fmla="*/ 459 h 532"/>
                    <a:gd name="T28" fmla="*/ 288 w 334"/>
                    <a:gd name="T29" fmla="*/ 470 h 532"/>
                    <a:gd name="T30" fmla="*/ 269 w 334"/>
                    <a:gd name="T31" fmla="*/ 500 h 532"/>
                    <a:gd name="T32" fmla="*/ 301 w 334"/>
                    <a:gd name="T33" fmla="*/ 532 h 532"/>
                    <a:gd name="T34" fmla="*/ 334 w 334"/>
                    <a:gd name="T35" fmla="*/ 500 h 532"/>
                    <a:gd name="T36" fmla="*/ 312 w 334"/>
                    <a:gd name="T37" fmla="*/ 470 h 532"/>
                    <a:gd name="T38" fmla="*/ 312 w 334"/>
                    <a:gd name="T39" fmla="*/ 451 h 532"/>
                    <a:gd name="T40" fmla="*/ 310 w 334"/>
                    <a:gd name="T41" fmla="*/ 448 h 532"/>
                    <a:gd name="T42" fmla="*/ 186 w 334"/>
                    <a:gd name="T43" fmla="*/ 401 h 532"/>
                    <a:gd name="T44" fmla="*/ 193 w 334"/>
                    <a:gd name="T45" fmla="*/ 326 h 532"/>
                    <a:gd name="T46" fmla="*/ 306 w 334"/>
                    <a:gd name="T47" fmla="*/ 326 h 532"/>
                    <a:gd name="T48" fmla="*/ 318 w 334"/>
                    <a:gd name="T49" fmla="*/ 314 h 532"/>
                    <a:gd name="T50" fmla="*/ 318 w 334"/>
                    <a:gd name="T51" fmla="*/ 269 h 532"/>
                    <a:gd name="T52" fmla="*/ 306 w 334"/>
                    <a:gd name="T53" fmla="*/ 257 h 532"/>
                    <a:gd name="T54" fmla="*/ 165 w 334"/>
                    <a:gd name="T55" fmla="*/ 268 h 532"/>
                    <a:gd name="T56" fmla="*/ 73 w 334"/>
                    <a:gd name="T57" fmla="*/ 263 h 532"/>
                    <a:gd name="T58" fmla="*/ 64 w 334"/>
                    <a:gd name="T59" fmla="*/ 209 h 532"/>
                    <a:gd name="T60" fmla="*/ 87 w 334"/>
                    <a:gd name="T61" fmla="*/ 12 h 532"/>
                    <a:gd name="T62" fmla="*/ 75 w 334"/>
                    <a:gd name="T63" fmla="*/ 0 h 532"/>
                    <a:gd name="T64" fmla="*/ 22 w 334"/>
                    <a:gd name="T65" fmla="*/ 0 h 532"/>
                    <a:gd name="T66" fmla="*/ 10 w 334"/>
                    <a:gd name="T67" fmla="*/ 12 h 532"/>
                    <a:gd name="T68" fmla="*/ 10 w 334"/>
                    <a:gd name="T69" fmla="*/ 314 h 532"/>
                    <a:gd name="T70" fmla="*/ 22 w 334"/>
                    <a:gd name="T71" fmla="*/ 326 h 532"/>
                    <a:gd name="T72" fmla="*/ 46 w 334"/>
                    <a:gd name="T73" fmla="*/ 326 h 532"/>
                    <a:gd name="T74" fmla="*/ 75 w 334"/>
                    <a:gd name="T75" fmla="*/ 326 h 532"/>
                    <a:gd name="T76" fmla="*/ 142 w 334"/>
                    <a:gd name="T77" fmla="*/ 326 h 532"/>
                    <a:gd name="T78" fmla="*/ 148 w 334"/>
                    <a:gd name="T79" fmla="*/ 401 h 532"/>
                    <a:gd name="T80" fmla="*/ 24 w 334"/>
                    <a:gd name="T81" fmla="*/ 448 h 532"/>
                    <a:gd name="T82" fmla="*/ 23 w 334"/>
                    <a:gd name="T83" fmla="*/ 451 h 532"/>
                    <a:gd name="T84" fmla="*/ 23 w 334"/>
                    <a:gd name="T85" fmla="*/ 469 h 532"/>
                    <a:gd name="T86" fmla="*/ 0 w 334"/>
                    <a:gd name="T87" fmla="*/ 500 h 532"/>
                    <a:gd name="T88" fmla="*/ 32 w 334"/>
                    <a:gd name="T89" fmla="*/ 532 h 5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34" h="532">
                      <a:moveTo>
                        <a:pt x="32" y="532"/>
                      </a:moveTo>
                      <a:cubicBezTo>
                        <a:pt x="50" y="532"/>
                        <a:pt x="65" y="518"/>
                        <a:pt x="65" y="500"/>
                      </a:cubicBezTo>
                      <a:cubicBezTo>
                        <a:pt x="65" y="487"/>
                        <a:pt x="57" y="476"/>
                        <a:pt x="47" y="471"/>
                      </a:cubicBezTo>
                      <a:cubicBezTo>
                        <a:pt x="47" y="459"/>
                        <a:pt x="47" y="459"/>
                        <a:pt x="47" y="459"/>
                      </a:cubicBezTo>
                      <a:cubicBezTo>
                        <a:pt x="53" y="451"/>
                        <a:pt x="78" y="428"/>
                        <a:pt x="150" y="425"/>
                      </a:cubicBezTo>
                      <a:cubicBezTo>
                        <a:pt x="154" y="469"/>
                        <a:pt x="154" y="469"/>
                        <a:pt x="154" y="469"/>
                      </a:cubicBezTo>
                      <a:cubicBezTo>
                        <a:pt x="142" y="474"/>
                        <a:pt x="133" y="486"/>
                        <a:pt x="133" y="500"/>
                      </a:cubicBezTo>
                      <a:cubicBezTo>
                        <a:pt x="133" y="518"/>
                        <a:pt x="147" y="532"/>
                        <a:pt x="165" y="532"/>
                      </a:cubicBezTo>
                      <a:cubicBezTo>
                        <a:pt x="183" y="532"/>
                        <a:pt x="198" y="518"/>
                        <a:pt x="198" y="500"/>
                      </a:cubicBezTo>
                      <a:cubicBezTo>
                        <a:pt x="198" y="487"/>
                        <a:pt x="191" y="477"/>
                        <a:pt x="180" y="471"/>
                      </a:cubicBezTo>
                      <a:cubicBezTo>
                        <a:pt x="184" y="425"/>
                        <a:pt x="184" y="425"/>
                        <a:pt x="184" y="425"/>
                      </a:cubicBezTo>
                      <a:cubicBezTo>
                        <a:pt x="227" y="427"/>
                        <a:pt x="253" y="436"/>
                        <a:pt x="269" y="444"/>
                      </a:cubicBezTo>
                      <a:cubicBezTo>
                        <a:pt x="277" y="449"/>
                        <a:pt x="283" y="453"/>
                        <a:pt x="286" y="456"/>
                      </a:cubicBezTo>
                      <a:cubicBezTo>
                        <a:pt x="287" y="457"/>
                        <a:pt x="288" y="458"/>
                        <a:pt x="288" y="459"/>
                      </a:cubicBezTo>
                      <a:cubicBezTo>
                        <a:pt x="288" y="470"/>
                        <a:pt x="288" y="470"/>
                        <a:pt x="288" y="470"/>
                      </a:cubicBezTo>
                      <a:cubicBezTo>
                        <a:pt x="277" y="475"/>
                        <a:pt x="269" y="487"/>
                        <a:pt x="269" y="500"/>
                      </a:cubicBezTo>
                      <a:cubicBezTo>
                        <a:pt x="269" y="518"/>
                        <a:pt x="283" y="532"/>
                        <a:pt x="301" y="532"/>
                      </a:cubicBezTo>
                      <a:cubicBezTo>
                        <a:pt x="319" y="532"/>
                        <a:pt x="334" y="518"/>
                        <a:pt x="334" y="500"/>
                      </a:cubicBezTo>
                      <a:cubicBezTo>
                        <a:pt x="334" y="486"/>
                        <a:pt x="325" y="474"/>
                        <a:pt x="312" y="470"/>
                      </a:cubicBezTo>
                      <a:cubicBezTo>
                        <a:pt x="312" y="451"/>
                        <a:pt x="312" y="451"/>
                        <a:pt x="312" y="451"/>
                      </a:cubicBezTo>
                      <a:cubicBezTo>
                        <a:pt x="310" y="448"/>
                        <a:pt x="310" y="448"/>
                        <a:pt x="310" y="448"/>
                      </a:cubicBezTo>
                      <a:cubicBezTo>
                        <a:pt x="309" y="445"/>
                        <a:pt x="282" y="405"/>
                        <a:pt x="186" y="401"/>
                      </a:cubicBezTo>
                      <a:cubicBezTo>
                        <a:pt x="193" y="326"/>
                        <a:pt x="193" y="326"/>
                        <a:pt x="193" y="326"/>
                      </a:cubicBezTo>
                      <a:cubicBezTo>
                        <a:pt x="306" y="326"/>
                        <a:pt x="306" y="326"/>
                        <a:pt x="306" y="326"/>
                      </a:cubicBezTo>
                      <a:cubicBezTo>
                        <a:pt x="313" y="326"/>
                        <a:pt x="318" y="320"/>
                        <a:pt x="318" y="314"/>
                      </a:cubicBezTo>
                      <a:cubicBezTo>
                        <a:pt x="318" y="269"/>
                        <a:pt x="318" y="269"/>
                        <a:pt x="318" y="269"/>
                      </a:cubicBezTo>
                      <a:cubicBezTo>
                        <a:pt x="318" y="263"/>
                        <a:pt x="313" y="257"/>
                        <a:pt x="306" y="257"/>
                      </a:cubicBezTo>
                      <a:cubicBezTo>
                        <a:pt x="306" y="257"/>
                        <a:pt x="258" y="268"/>
                        <a:pt x="165" y="268"/>
                      </a:cubicBezTo>
                      <a:cubicBezTo>
                        <a:pt x="120" y="268"/>
                        <a:pt x="91" y="265"/>
                        <a:pt x="73" y="263"/>
                      </a:cubicBezTo>
                      <a:cubicBezTo>
                        <a:pt x="69" y="246"/>
                        <a:pt x="66" y="227"/>
                        <a:pt x="64" y="209"/>
                      </a:cubicBezTo>
                      <a:cubicBezTo>
                        <a:pt x="59" y="157"/>
                        <a:pt x="87" y="12"/>
                        <a:pt x="87" y="12"/>
                      </a:cubicBezTo>
                      <a:cubicBezTo>
                        <a:pt x="87" y="5"/>
                        <a:pt x="81" y="0"/>
                        <a:pt x="75" y="0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16" y="0"/>
                        <a:pt x="10" y="5"/>
                        <a:pt x="10" y="12"/>
                      </a:cubicBezTo>
                      <a:cubicBezTo>
                        <a:pt x="10" y="314"/>
                        <a:pt x="10" y="314"/>
                        <a:pt x="10" y="314"/>
                      </a:cubicBezTo>
                      <a:cubicBezTo>
                        <a:pt x="10" y="320"/>
                        <a:pt x="16" y="326"/>
                        <a:pt x="22" y="326"/>
                      </a:cubicBezTo>
                      <a:cubicBezTo>
                        <a:pt x="46" y="326"/>
                        <a:pt x="46" y="326"/>
                        <a:pt x="46" y="326"/>
                      </a:cubicBezTo>
                      <a:cubicBezTo>
                        <a:pt x="75" y="326"/>
                        <a:pt x="75" y="326"/>
                        <a:pt x="75" y="326"/>
                      </a:cubicBezTo>
                      <a:cubicBezTo>
                        <a:pt x="142" y="326"/>
                        <a:pt x="142" y="326"/>
                        <a:pt x="142" y="326"/>
                      </a:cubicBezTo>
                      <a:cubicBezTo>
                        <a:pt x="148" y="401"/>
                        <a:pt x="148" y="401"/>
                        <a:pt x="148" y="401"/>
                      </a:cubicBezTo>
                      <a:cubicBezTo>
                        <a:pt x="53" y="405"/>
                        <a:pt x="26" y="445"/>
                        <a:pt x="24" y="448"/>
                      </a:cubicBezTo>
                      <a:cubicBezTo>
                        <a:pt x="23" y="451"/>
                        <a:pt x="23" y="451"/>
                        <a:pt x="23" y="451"/>
                      </a:cubicBezTo>
                      <a:cubicBezTo>
                        <a:pt x="23" y="469"/>
                        <a:pt x="23" y="469"/>
                        <a:pt x="23" y="469"/>
                      </a:cubicBezTo>
                      <a:cubicBezTo>
                        <a:pt x="9" y="473"/>
                        <a:pt x="0" y="486"/>
                        <a:pt x="0" y="500"/>
                      </a:cubicBezTo>
                      <a:cubicBezTo>
                        <a:pt x="0" y="518"/>
                        <a:pt x="15" y="532"/>
                        <a:pt x="32" y="5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" name="Freeform 395"/>
                <p:cNvSpPr>
                  <a:spLocks/>
                </p:cNvSpPr>
                <p:nvPr/>
              </p:nvSpPr>
              <p:spPr bwMode="gray">
                <a:xfrm>
                  <a:off x="4048954" y="4363890"/>
                  <a:ext cx="261832" cy="542315"/>
                </a:xfrm>
                <a:custGeom>
                  <a:avLst/>
                  <a:gdLst>
                    <a:gd name="T0" fmla="*/ 86 w 327"/>
                    <a:gd name="T1" fmla="*/ 412 h 659"/>
                    <a:gd name="T2" fmla="*/ 93 w 327"/>
                    <a:gd name="T3" fmla="*/ 412 h 659"/>
                    <a:gd name="T4" fmla="*/ 228 w 327"/>
                    <a:gd name="T5" fmla="*/ 414 h 659"/>
                    <a:gd name="T6" fmla="*/ 264 w 327"/>
                    <a:gd name="T7" fmla="*/ 633 h 659"/>
                    <a:gd name="T8" fmla="*/ 276 w 327"/>
                    <a:gd name="T9" fmla="*/ 659 h 659"/>
                    <a:gd name="T10" fmla="*/ 327 w 327"/>
                    <a:gd name="T11" fmla="*/ 400 h 659"/>
                    <a:gd name="T12" fmla="*/ 320 w 327"/>
                    <a:gd name="T13" fmla="*/ 356 h 659"/>
                    <a:gd name="T14" fmla="*/ 294 w 327"/>
                    <a:gd name="T15" fmla="*/ 319 h 659"/>
                    <a:gd name="T16" fmla="*/ 276 w 327"/>
                    <a:gd name="T17" fmla="*/ 319 h 659"/>
                    <a:gd name="T18" fmla="*/ 261 w 327"/>
                    <a:gd name="T19" fmla="*/ 314 h 659"/>
                    <a:gd name="T20" fmla="*/ 161 w 327"/>
                    <a:gd name="T21" fmla="*/ 313 h 659"/>
                    <a:gd name="T22" fmla="*/ 187 w 327"/>
                    <a:gd name="T23" fmla="*/ 178 h 659"/>
                    <a:gd name="T24" fmla="*/ 153 w 327"/>
                    <a:gd name="T25" fmla="*/ 154 h 659"/>
                    <a:gd name="T26" fmla="*/ 110 w 327"/>
                    <a:gd name="T27" fmla="*/ 103 h 659"/>
                    <a:gd name="T28" fmla="*/ 107 w 327"/>
                    <a:gd name="T29" fmla="*/ 72 h 659"/>
                    <a:gd name="T30" fmla="*/ 126 w 327"/>
                    <a:gd name="T31" fmla="*/ 49 h 659"/>
                    <a:gd name="T32" fmla="*/ 145 w 327"/>
                    <a:gd name="T33" fmla="*/ 44 h 659"/>
                    <a:gd name="T34" fmla="*/ 181 w 327"/>
                    <a:gd name="T35" fmla="*/ 65 h 659"/>
                    <a:gd name="T36" fmla="*/ 181 w 327"/>
                    <a:gd name="T37" fmla="*/ 66 h 659"/>
                    <a:gd name="T38" fmla="*/ 186 w 327"/>
                    <a:gd name="T39" fmla="*/ 73 h 659"/>
                    <a:gd name="T40" fmla="*/ 186 w 327"/>
                    <a:gd name="T41" fmla="*/ 73 h 659"/>
                    <a:gd name="T42" fmla="*/ 205 w 327"/>
                    <a:gd name="T43" fmla="*/ 94 h 659"/>
                    <a:gd name="T44" fmla="*/ 211 w 327"/>
                    <a:gd name="T45" fmla="*/ 98 h 659"/>
                    <a:gd name="T46" fmla="*/ 213 w 327"/>
                    <a:gd name="T47" fmla="*/ 100 h 659"/>
                    <a:gd name="T48" fmla="*/ 210 w 327"/>
                    <a:gd name="T49" fmla="*/ 85 h 659"/>
                    <a:gd name="T50" fmla="*/ 178 w 327"/>
                    <a:gd name="T51" fmla="*/ 27 h 659"/>
                    <a:gd name="T52" fmla="*/ 55 w 327"/>
                    <a:gd name="T53" fmla="*/ 78 h 659"/>
                    <a:gd name="T54" fmla="*/ 1 w 327"/>
                    <a:gd name="T55" fmla="*/ 312 h 659"/>
                    <a:gd name="T56" fmla="*/ 86 w 327"/>
                    <a:gd name="T57" fmla="*/ 412 h 6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27" h="659">
                      <a:moveTo>
                        <a:pt x="86" y="412"/>
                      </a:moveTo>
                      <a:cubicBezTo>
                        <a:pt x="88" y="412"/>
                        <a:pt x="91" y="412"/>
                        <a:pt x="93" y="412"/>
                      </a:cubicBezTo>
                      <a:cubicBezTo>
                        <a:pt x="228" y="414"/>
                        <a:pt x="228" y="414"/>
                        <a:pt x="228" y="414"/>
                      </a:cubicBezTo>
                      <a:cubicBezTo>
                        <a:pt x="264" y="633"/>
                        <a:pt x="264" y="633"/>
                        <a:pt x="264" y="633"/>
                      </a:cubicBezTo>
                      <a:cubicBezTo>
                        <a:pt x="266" y="643"/>
                        <a:pt x="270" y="652"/>
                        <a:pt x="276" y="659"/>
                      </a:cubicBezTo>
                      <a:cubicBezTo>
                        <a:pt x="282" y="573"/>
                        <a:pt x="306" y="473"/>
                        <a:pt x="327" y="400"/>
                      </a:cubicBezTo>
                      <a:cubicBezTo>
                        <a:pt x="320" y="356"/>
                        <a:pt x="320" y="356"/>
                        <a:pt x="320" y="356"/>
                      </a:cubicBezTo>
                      <a:cubicBezTo>
                        <a:pt x="318" y="340"/>
                        <a:pt x="307" y="327"/>
                        <a:pt x="294" y="319"/>
                      </a:cubicBezTo>
                      <a:cubicBezTo>
                        <a:pt x="276" y="319"/>
                        <a:pt x="276" y="319"/>
                        <a:pt x="276" y="319"/>
                      </a:cubicBezTo>
                      <a:cubicBezTo>
                        <a:pt x="270" y="319"/>
                        <a:pt x="265" y="317"/>
                        <a:pt x="261" y="314"/>
                      </a:cubicBezTo>
                      <a:cubicBezTo>
                        <a:pt x="161" y="313"/>
                        <a:pt x="161" y="313"/>
                        <a:pt x="161" y="313"/>
                      </a:cubicBezTo>
                      <a:cubicBezTo>
                        <a:pt x="162" y="267"/>
                        <a:pt x="171" y="221"/>
                        <a:pt x="187" y="178"/>
                      </a:cubicBezTo>
                      <a:cubicBezTo>
                        <a:pt x="173" y="170"/>
                        <a:pt x="161" y="161"/>
                        <a:pt x="153" y="154"/>
                      </a:cubicBezTo>
                      <a:cubicBezTo>
                        <a:pt x="128" y="132"/>
                        <a:pt x="115" y="111"/>
                        <a:pt x="110" y="103"/>
                      </a:cubicBezTo>
                      <a:cubicBezTo>
                        <a:pt x="105" y="93"/>
                        <a:pt x="104" y="82"/>
                        <a:pt x="107" y="72"/>
                      </a:cubicBezTo>
                      <a:cubicBezTo>
                        <a:pt x="110" y="62"/>
                        <a:pt x="117" y="54"/>
                        <a:pt x="126" y="49"/>
                      </a:cubicBezTo>
                      <a:cubicBezTo>
                        <a:pt x="132" y="45"/>
                        <a:pt x="139" y="44"/>
                        <a:pt x="145" y="44"/>
                      </a:cubicBezTo>
                      <a:cubicBezTo>
                        <a:pt x="160" y="44"/>
                        <a:pt x="174" y="52"/>
                        <a:pt x="181" y="65"/>
                      </a:cubicBezTo>
                      <a:cubicBezTo>
                        <a:pt x="181" y="65"/>
                        <a:pt x="181" y="66"/>
                        <a:pt x="181" y="66"/>
                      </a:cubicBezTo>
                      <a:cubicBezTo>
                        <a:pt x="182" y="67"/>
                        <a:pt x="183" y="70"/>
                        <a:pt x="186" y="73"/>
                      </a:cubicBezTo>
                      <a:cubicBezTo>
                        <a:pt x="186" y="73"/>
                        <a:pt x="186" y="73"/>
                        <a:pt x="186" y="73"/>
                      </a:cubicBezTo>
                      <a:cubicBezTo>
                        <a:pt x="190" y="78"/>
                        <a:pt x="196" y="86"/>
                        <a:pt x="205" y="94"/>
                      </a:cubicBezTo>
                      <a:cubicBezTo>
                        <a:pt x="207" y="95"/>
                        <a:pt x="209" y="96"/>
                        <a:pt x="211" y="98"/>
                      </a:cubicBezTo>
                      <a:cubicBezTo>
                        <a:pt x="211" y="98"/>
                        <a:pt x="212" y="99"/>
                        <a:pt x="213" y="100"/>
                      </a:cubicBezTo>
                      <a:cubicBezTo>
                        <a:pt x="212" y="94"/>
                        <a:pt x="211" y="89"/>
                        <a:pt x="210" y="85"/>
                      </a:cubicBezTo>
                      <a:cubicBezTo>
                        <a:pt x="207" y="63"/>
                        <a:pt x="196" y="42"/>
                        <a:pt x="178" y="27"/>
                      </a:cubicBezTo>
                      <a:cubicBezTo>
                        <a:pt x="144" y="0"/>
                        <a:pt x="83" y="19"/>
                        <a:pt x="55" y="78"/>
                      </a:cubicBezTo>
                      <a:cubicBezTo>
                        <a:pt x="21" y="151"/>
                        <a:pt x="3" y="231"/>
                        <a:pt x="1" y="312"/>
                      </a:cubicBezTo>
                      <a:cubicBezTo>
                        <a:pt x="0" y="375"/>
                        <a:pt x="44" y="419"/>
                        <a:pt x="86" y="41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" name="Freeform 396"/>
                <p:cNvSpPr>
                  <a:spLocks/>
                </p:cNvSpPr>
                <p:nvPr/>
              </p:nvSpPr>
              <p:spPr bwMode="gray">
                <a:xfrm>
                  <a:off x="4148829" y="4227616"/>
                  <a:ext cx="159258" cy="164086"/>
                </a:xfrm>
                <a:custGeom>
                  <a:avLst/>
                  <a:gdLst>
                    <a:gd name="T0" fmla="*/ 79 w 198"/>
                    <a:gd name="T1" fmla="*/ 186 h 197"/>
                    <a:gd name="T2" fmla="*/ 187 w 198"/>
                    <a:gd name="T3" fmla="*/ 119 h 197"/>
                    <a:gd name="T4" fmla="*/ 120 w 198"/>
                    <a:gd name="T5" fmla="*/ 11 h 197"/>
                    <a:gd name="T6" fmla="*/ 12 w 198"/>
                    <a:gd name="T7" fmla="*/ 78 h 197"/>
                    <a:gd name="T8" fmla="*/ 79 w 198"/>
                    <a:gd name="T9" fmla="*/ 186 h 1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" h="197">
                      <a:moveTo>
                        <a:pt x="79" y="186"/>
                      </a:moveTo>
                      <a:cubicBezTo>
                        <a:pt x="127" y="197"/>
                        <a:pt x="176" y="167"/>
                        <a:pt x="187" y="119"/>
                      </a:cubicBezTo>
                      <a:cubicBezTo>
                        <a:pt x="198" y="71"/>
                        <a:pt x="168" y="22"/>
                        <a:pt x="120" y="11"/>
                      </a:cubicBezTo>
                      <a:cubicBezTo>
                        <a:pt x="71" y="0"/>
                        <a:pt x="23" y="30"/>
                        <a:pt x="12" y="78"/>
                      </a:cubicBezTo>
                      <a:cubicBezTo>
                        <a:pt x="0" y="126"/>
                        <a:pt x="30" y="175"/>
                        <a:pt x="79" y="18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5" name="Freeform 397"/>
                <p:cNvSpPr>
                  <a:spLocks/>
                </p:cNvSpPr>
                <p:nvPr/>
              </p:nvSpPr>
              <p:spPr bwMode="gray">
                <a:xfrm>
                  <a:off x="4200115" y="4514070"/>
                  <a:ext cx="32392" cy="80653"/>
                </a:xfrm>
                <a:custGeom>
                  <a:avLst/>
                  <a:gdLst>
                    <a:gd name="T0" fmla="*/ 0 w 39"/>
                    <a:gd name="T1" fmla="*/ 54 h 98"/>
                    <a:gd name="T2" fmla="*/ 14 w 39"/>
                    <a:gd name="T3" fmla="*/ 98 h 98"/>
                    <a:gd name="T4" fmla="*/ 38 w 39"/>
                    <a:gd name="T5" fmla="*/ 57 h 98"/>
                    <a:gd name="T6" fmla="*/ 36 w 39"/>
                    <a:gd name="T7" fmla="*/ 12 h 98"/>
                    <a:gd name="T8" fmla="*/ 6 w 39"/>
                    <a:gd name="T9" fmla="*/ 0 h 98"/>
                    <a:gd name="T10" fmla="*/ 0 w 39"/>
                    <a:gd name="T11" fmla="*/ 54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" h="98">
                      <a:moveTo>
                        <a:pt x="0" y="54"/>
                      </a:moveTo>
                      <a:cubicBezTo>
                        <a:pt x="5" y="68"/>
                        <a:pt x="10" y="83"/>
                        <a:pt x="14" y="98"/>
                      </a:cubicBezTo>
                      <a:cubicBezTo>
                        <a:pt x="22" y="85"/>
                        <a:pt x="31" y="71"/>
                        <a:pt x="38" y="57"/>
                      </a:cubicBezTo>
                      <a:cubicBezTo>
                        <a:pt x="39" y="45"/>
                        <a:pt x="38" y="29"/>
                        <a:pt x="36" y="12"/>
                      </a:cubicBezTo>
                      <a:cubicBezTo>
                        <a:pt x="25" y="8"/>
                        <a:pt x="15" y="4"/>
                        <a:pt x="6" y="0"/>
                      </a:cubicBezTo>
                      <a:cubicBezTo>
                        <a:pt x="5" y="18"/>
                        <a:pt x="3" y="36"/>
                        <a:pt x="0" y="5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6" name="Freeform 398"/>
                <p:cNvSpPr>
                  <a:spLocks/>
                </p:cNvSpPr>
                <p:nvPr/>
              </p:nvSpPr>
              <p:spPr bwMode="gray">
                <a:xfrm>
                  <a:off x="4135332" y="4402826"/>
                  <a:ext cx="232141" cy="122368"/>
                </a:xfrm>
                <a:custGeom>
                  <a:avLst/>
                  <a:gdLst>
                    <a:gd name="T0" fmla="*/ 91 w 291"/>
                    <a:gd name="T1" fmla="*/ 53 h 149"/>
                    <a:gd name="T2" fmla="*/ 84 w 291"/>
                    <a:gd name="T3" fmla="*/ 46 h 149"/>
                    <a:gd name="T4" fmla="*/ 70 w 291"/>
                    <a:gd name="T5" fmla="*/ 30 h 149"/>
                    <a:gd name="T6" fmla="*/ 65 w 291"/>
                    <a:gd name="T7" fmla="*/ 23 h 149"/>
                    <a:gd name="T8" fmla="*/ 64 w 291"/>
                    <a:gd name="T9" fmla="*/ 22 h 149"/>
                    <a:gd name="T10" fmla="*/ 64 w 291"/>
                    <a:gd name="T11" fmla="*/ 22 h 149"/>
                    <a:gd name="T12" fmla="*/ 21 w 291"/>
                    <a:gd name="T13" fmla="*/ 9 h 149"/>
                    <a:gd name="T14" fmla="*/ 8 w 291"/>
                    <a:gd name="T15" fmla="*/ 52 h 149"/>
                    <a:gd name="T16" fmla="*/ 50 w 291"/>
                    <a:gd name="T17" fmla="*/ 101 h 149"/>
                    <a:gd name="T18" fmla="*/ 81 w 291"/>
                    <a:gd name="T19" fmla="*/ 123 h 149"/>
                    <a:gd name="T20" fmla="*/ 88 w 291"/>
                    <a:gd name="T21" fmla="*/ 127 h 149"/>
                    <a:gd name="T22" fmla="*/ 117 w 291"/>
                    <a:gd name="T23" fmla="*/ 139 h 149"/>
                    <a:gd name="T24" fmla="*/ 181 w 291"/>
                    <a:gd name="T25" fmla="*/ 149 h 149"/>
                    <a:gd name="T26" fmla="*/ 181 w 291"/>
                    <a:gd name="T27" fmla="*/ 149 h 149"/>
                    <a:gd name="T28" fmla="*/ 265 w 291"/>
                    <a:gd name="T29" fmla="*/ 135 h 149"/>
                    <a:gd name="T30" fmla="*/ 285 w 291"/>
                    <a:gd name="T31" fmla="*/ 95 h 149"/>
                    <a:gd name="T32" fmla="*/ 245 w 291"/>
                    <a:gd name="T33" fmla="*/ 74 h 149"/>
                    <a:gd name="T34" fmla="*/ 181 w 291"/>
                    <a:gd name="T35" fmla="*/ 85 h 149"/>
                    <a:gd name="T36" fmla="*/ 106 w 291"/>
                    <a:gd name="T37" fmla="*/ 64 h 149"/>
                    <a:gd name="T38" fmla="*/ 101 w 291"/>
                    <a:gd name="T39" fmla="*/ 60 h 149"/>
                    <a:gd name="T40" fmla="*/ 91 w 291"/>
                    <a:gd name="T41" fmla="*/ 53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91" h="149">
                      <a:moveTo>
                        <a:pt x="91" y="53"/>
                      </a:moveTo>
                      <a:cubicBezTo>
                        <a:pt x="89" y="50"/>
                        <a:pt x="86" y="48"/>
                        <a:pt x="84" y="46"/>
                      </a:cubicBezTo>
                      <a:cubicBezTo>
                        <a:pt x="78" y="40"/>
                        <a:pt x="73" y="35"/>
                        <a:pt x="70" y="30"/>
                      </a:cubicBezTo>
                      <a:cubicBezTo>
                        <a:pt x="68" y="27"/>
                        <a:pt x="66" y="25"/>
                        <a:pt x="65" y="23"/>
                      </a:cubicBezTo>
                      <a:cubicBezTo>
                        <a:pt x="65" y="23"/>
                        <a:pt x="65" y="22"/>
                        <a:pt x="64" y="22"/>
                      </a:cubicBezTo>
                      <a:cubicBezTo>
                        <a:pt x="64" y="22"/>
                        <a:pt x="64" y="22"/>
                        <a:pt x="64" y="22"/>
                      </a:cubicBezTo>
                      <a:cubicBezTo>
                        <a:pt x="56" y="6"/>
                        <a:pt x="37" y="0"/>
                        <a:pt x="21" y="9"/>
                      </a:cubicBezTo>
                      <a:cubicBezTo>
                        <a:pt x="6" y="17"/>
                        <a:pt x="0" y="36"/>
                        <a:pt x="8" y="52"/>
                      </a:cubicBezTo>
                      <a:cubicBezTo>
                        <a:pt x="9" y="54"/>
                        <a:pt x="22" y="77"/>
                        <a:pt x="50" y="101"/>
                      </a:cubicBezTo>
                      <a:cubicBezTo>
                        <a:pt x="58" y="109"/>
                        <a:pt x="69" y="116"/>
                        <a:pt x="81" y="123"/>
                      </a:cubicBezTo>
                      <a:cubicBezTo>
                        <a:pt x="83" y="125"/>
                        <a:pt x="86" y="126"/>
                        <a:pt x="88" y="127"/>
                      </a:cubicBezTo>
                      <a:cubicBezTo>
                        <a:pt x="97" y="132"/>
                        <a:pt x="107" y="136"/>
                        <a:pt x="117" y="139"/>
                      </a:cubicBezTo>
                      <a:cubicBezTo>
                        <a:pt x="136" y="145"/>
                        <a:pt x="157" y="149"/>
                        <a:pt x="181" y="149"/>
                      </a:cubicBezTo>
                      <a:cubicBezTo>
                        <a:pt x="181" y="149"/>
                        <a:pt x="181" y="149"/>
                        <a:pt x="181" y="149"/>
                      </a:cubicBezTo>
                      <a:cubicBezTo>
                        <a:pt x="207" y="149"/>
                        <a:pt x="235" y="145"/>
                        <a:pt x="265" y="135"/>
                      </a:cubicBezTo>
                      <a:cubicBezTo>
                        <a:pt x="281" y="130"/>
                        <a:pt x="291" y="112"/>
                        <a:pt x="285" y="95"/>
                      </a:cubicBezTo>
                      <a:cubicBezTo>
                        <a:pt x="280" y="78"/>
                        <a:pt x="262" y="69"/>
                        <a:pt x="245" y="74"/>
                      </a:cubicBezTo>
                      <a:cubicBezTo>
                        <a:pt x="221" y="82"/>
                        <a:pt x="200" y="85"/>
                        <a:pt x="181" y="85"/>
                      </a:cubicBezTo>
                      <a:cubicBezTo>
                        <a:pt x="149" y="85"/>
                        <a:pt x="125" y="76"/>
                        <a:pt x="106" y="64"/>
                      </a:cubicBezTo>
                      <a:cubicBezTo>
                        <a:pt x="105" y="63"/>
                        <a:pt x="103" y="62"/>
                        <a:pt x="101" y="60"/>
                      </a:cubicBezTo>
                      <a:cubicBezTo>
                        <a:pt x="98" y="58"/>
                        <a:pt x="94" y="55"/>
                        <a:pt x="91" y="5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7" name="Freeform 399"/>
                <p:cNvSpPr>
                  <a:spLocks/>
                </p:cNvSpPr>
                <p:nvPr/>
              </p:nvSpPr>
              <p:spPr bwMode="gray">
                <a:xfrm>
                  <a:off x="4488942" y="4694840"/>
                  <a:ext cx="140364" cy="241957"/>
                </a:xfrm>
                <a:custGeom>
                  <a:avLst/>
                  <a:gdLst>
                    <a:gd name="T0" fmla="*/ 170 w 176"/>
                    <a:gd name="T1" fmla="*/ 174 h 296"/>
                    <a:gd name="T2" fmla="*/ 108 w 176"/>
                    <a:gd name="T3" fmla="*/ 165 h 296"/>
                    <a:gd name="T4" fmla="*/ 115 w 176"/>
                    <a:gd name="T5" fmla="*/ 79 h 296"/>
                    <a:gd name="T6" fmla="*/ 164 w 176"/>
                    <a:gd name="T7" fmla="*/ 79 h 296"/>
                    <a:gd name="T8" fmla="*/ 155 w 176"/>
                    <a:gd name="T9" fmla="*/ 39 h 296"/>
                    <a:gd name="T10" fmla="*/ 154 w 176"/>
                    <a:gd name="T11" fmla="*/ 35 h 296"/>
                    <a:gd name="T12" fmla="*/ 150 w 176"/>
                    <a:gd name="T13" fmla="*/ 24 h 296"/>
                    <a:gd name="T14" fmla="*/ 138 w 176"/>
                    <a:gd name="T15" fmla="*/ 0 h 296"/>
                    <a:gd name="T16" fmla="*/ 100 w 176"/>
                    <a:gd name="T17" fmla="*/ 27 h 296"/>
                    <a:gd name="T18" fmla="*/ 90 w 176"/>
                    <a:gd name="T19" fmla="*/ 35 h 296"/>
                    <a:gd name="T20" fmla="*/ 41 w 176"/>
                    <a:gd name="T21" fmla="*/ 79 h 296"/>
                    <a:gd name="T22" fmla="*/ 63 w 176"/>
                    <a:gd name="T23" fmla="*/ 79 h 296"/>
                    <a:gd name="T24" fmla="*/ 70 w 176"/>
                    <a:gd name="T25" fmla="*/ 165 h 296"/>
                    <a:gd name="T26" fmla="*/ 7 w 176"/>
                    <a:gd name="T27" fmla="*/ 175 h 296"/>
                    <a:gd name="T28" fmla="*/ 7 w 176"/>
                    <a:gd name="T29" fmla="*/ 175 h 296"/>
                    <a:gd name="T30" fmla="*/ 0 w 176"/>
                    <a:gd name="T31" fmla="*/ 202 h 296"/>
                    <a:gd name="T32" fmla="*/ 72 w 176"/>
                    <a:gd name="T33" fmla="*/ 189 h 296"/>
                    <a:gd name="T34" fmla="*/ 76 w 176"/>
                    <a:gd name="T35" fmla="*/ 233 h 296"/>
                    <a:gd name="T36" fmla="*/ 54 w 176"/>
                    <a:gd name="T37" fmla="*/ 264 h 296"/>
                    <a:gd name="T38" fmla="*/ 87 w 176"/>
                    <a:gd name="T39" fmla="*/ 296 h 296"/>
                    <a:gd name="T40" fmla="*/ 119 w 176"/>
                    <a:gd name="T41" fmla="*/ 264 h 296"/>
                    <a:gd name="T42" fmla="*/ 102 w 176"/>
                    <a:gd name="T43" fmla="*/ 235 h 296"/>
                    <a:gd name="T44" fmla="*/ 106 w 176"/>
                    <a:gd name="T45" fmla="*/ 189 h 296"/>
                    <a:gd name="T46" fmla="*/ 176 w 176"/>
                    <a:gd name="T47" fmla="*/ 202 h 296"/>
                    <a:gd name="T48" fmla="*/ 170 w 176"/>
                    <a:gd name="T49" fmla="*/ 175 h 296"/>
                    <a:gd name="T50" fmla="*/ 170 w 176"/>
                    <a:gd name="T51" fmla="*/ 174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76" h="296">
                      <a:moveTo>
                        <a:pt x="170" y="174"/>
                      </a:moveTo>
                      <a:cubicBezTo>
                        <a:pt x="153" y="169"/>
                        <a:pt x="133" y="166"/>
                        <a:pt x="108" y="165"/>
                      </a:cubicBezTo>
                      <a:cubicBezTo>
                        <a:pt x="115" y="79"/>
                        <a:pt x="115" y="79"/>
                        <a:pt x="115" y="79"/>
                      </a:cubicBezTo>
                      <a:cubicBezTo>
                        <a:pt x="164" y="79"/>
                        <a:pt x="164" y="79"/>
                        <a:pt x="164" y="79"/>
                      </a:cubicBezTo>
                      <a:cubicBezTo>
                        <a:pt x="161" y="62"/>
                        <a:pt x="158" y="48"/>
                        <a:pt x="155" y="39"/>
                      </a:cubicBezTo>
                      <a:cubicBezTo>
                        <a:pt x="155" y="37"/>
                        <a:pt x="155" y="36"/>
                        <a:pt x="154" y="35"/>
                      </a:cubicBezTo>
                      <a:cubicBezTo>
                        <a:pt x="153" y="31"/>
                        <a:pt x="152" y="27"/>
                        <a:pt x="150" y="24"/>
                      </a:cubicBezTo>
                      <a:cubicBezTo>
                        <a:pt x="146" y="14"/>
                        <a:pt x="142" y="6"/>
                        <a:pt x="138" y="0"/>
                      </a:cubicBezTo>
                      <a:cubicBezTo>
                        <a:pt x="124" y="9"/>
                        <a:pt x="112" y="18"/>
                        <a:pt x="100" y="27"/>
                      </a:cubicBezTo>
                      <a:cubicBezTo>
                        <a:pt x="96" y="30"/>
                        <a:pt x="93" y="32"/>
                        <a:pt x="90" y="35"/>
                      </a:cubicBezTo>
                      <a:cubicBezTo>
                        <a:pt x="72" y="50"/>
                        <a:pt x="56" y="64"/>
                        <a:pt x="41" y="79"/>
                      </a:cubicBezTo>
                      <a:cubicBezTo>
                        <a:pt x="63" y="79"/>
                        <a:pt x="63" y="79"/>
                        <a:pt x="63" y="79"/>
                      </a:cubicBezTo>
                      <a:cubicBezTo>
                        <a:pt x="70" y="165"/>
                        <a:pt x="70" y="165"/>
                        <a:pt x="70" y="165"/>
                      </a:cubicBezTo>
                      <a:cubicBezTo>
                        <a:pt x="44" y="166"/>
                        <a:pt x="24" y="170"/>
                        <a:pt x="7" y="175"/>
                      </a:cubicBezTo>
                      <a:cubicBezTo>
                        <a:pt x="7" y="175"/>
                        <a:pt x="7" y="175"/>
                        <a:pt x="7" y="175"/>
                      </a:cubicBezTo>
                      <a:cubicBezTo>
                        <a:pt x="7" y="185"/>
                        <a:pt x="4" y="194"/>
                        <a:pt x="0" y="202"/>
                      </a:cubicBezTo>
                      <a:cubicBezTo>
                        <a:pt x="16" y="196"/>
                        <a:pt x="39" y="190"/>
                        <a:pt x="72" y="189"/>
                      </a:cubicBezTo>
                      <a:cubicBezTo>
                        <a:pt x="76" y="233"/>
                        <a:pt x="76" y="233"/>
                        <a:pt x="76" y="233"/>
                      </a:cubicBezTo>
                      <a:cubicBezTo>
                        <a:pt x="63" y="238"/>
                        <a:pt x="54" y="250"/>
                        <a:pt x="54" y="264"/>
                      </a:cubicBezTo>
                      <a:cubicBezTo>
                        <a:pt x="54" y="282"/>
                        <a:pt x="69" y="296"/>
                        <a:pt x="87" y="296"/>
                      </a:cubicBezTo>
                      <a:cubicBezTo>
                        <a:pt x="105" y="296"/>
                        <a:pt x="119" y="282"/>
                        <a:pt x="119" y="264"/>
                      </a:cubicBezTo>
                      <a:cubicBezTo>
                        <a:pt x="119" y="251"/>
                        <a:pt x="112" y="241"/>
                        <a:pt x="102" y="235"/>
                      </a:cubicBezTo>
                      <a:cubicBezTo>
                        <a:pt x="106" y="189"/>
                        <a:pt x="106" y="189"/>
                        <a:pt x="106" y="189"/>
                      </a:cubicBezTo>
                      <a:cubicBezTo>
                        <a:pt x="138" y="190"/>
                        <a:pt x="160" y="196"/>
                        <a:pt x="176" y="202"/>
                      </a:cubicBezTo>
                      <a:cubicBezTo>
                        <a:pt x="172" y="194"/>
                        <a:pt x="170" y="185"/>
                        <a:pt x="170" y="175"/>
                      </a:cubicBezTo>
                      <a:cubicBezTo>
                        <a:pt x="170" y="175"/>
                        <a:pt x="170" y="175"/>
                        <a:pt x="170" y="174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8" name="Freeform 400"/>
                <p:cNvSpPr>
                  <a:spLocks/>
                </p:cNvSpPr>
                <p:nvPr/>
              </p:nvSpPr>
              <p:spPr bwMode="gray">
                <a:xfrm>
                  <a:off x="4426857" y="4881175"/>
                  <a:ext cx="51286" cy="55622"/>
                </a:xfrm>
                <a:custGeom>
                  <a:avLst/>
                  <a:gdLst>
                    <a:gd name="T0" fmla="*/ 22 w 64"/>
                    <a:gd name="T1" fmla="*/ 3 h 68"/>
                    <a:gd name="T2" fmla="*/ 22 w 64"/>
                    <a:gd name="T3" fmla="*/ 5 h 68"/>
                    <a:gd name="T4" fmla="*/ 0 w 64"/>
                    <a:gd name="T5" fmla="*/ 36 h 68"/>
                    <a:gd name="T6" fmla="*/ 32 w 64"/>
                    <a:gd name="T7" fmla="*/ 68 h 68"/>
                    <a:gd name="T8" fmla="*/ 64 w 64"/>
                    <a:gd name="T9" fmla="*/ 36 h 68"/>
                    <a:gd name="T10" fmla="*/ 46 w 64"/>
                    <a:gd name="T11" fmla="*/ 7 h 68"/>
                    <a:gd name="T12" fmla="*/ 46 w 64"/>
                    <a:gd name="T13" fmla="*/ 0 h 68"/>
                    <a:gd name="T14" fmla="*/ 29 w 64"/>
                    <a:gd name="T15" fmla="*/ 3 h 68"/>
                    <a:gd name="T16" fmla="*/ 22 w 64"/>
                    <a:gd name="T17" fmla="*/ 3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4" h="68">
                      <a:moveTo>
                        <a:pt x="22" y="3"/>
                      </a:moveTo>
                      <a:cubicBezTo>
                        <a:pt x="22" y="5"/>
                        <a:pt x="22" y="5"/>
                        <a:pt x="22" y="5"/>
                      </a:cubicBezTo>
                      <a:cubicBezTo>
                        <a:pt x="9" y="9"/>
                        <a:pt x="0" y="22"/>
                        <a:pt x="0" y="36"/>
                      </a:cubicBezTo>
                      <a:cubicBezTo>
                        <a:pt x="0" y="54"/>
                        <a:pt x="14" y="68"/>
                        <a:pt x="32" y="68"/>
                      </a:cubicBezTo>
                      <a:cubicBezTo>
                        <a:pt x="50" y="68"/>
                        <a:pt x="64" y="54"/>
                        <a:pt x="64" y="36"/>
                      </a:cubicBezTo>
                      <a:cubicBezTo>
                        <a:pt x="64" y="23"/>
                        <a:pt x="57" y="12"/>
                        <a:pt x="46" y="7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1" y="2"/>
                        <a:pt x="35" y="3"/>
                        <a:pt x="29" y="3"/>
                      </a:cubicBezTo>
                      <a:cubicBezTo>
                        <a:pt x="27" y="3"/>
                        <a:pt x="24" y="3"/>
                        <a:pt x="22" y="3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9" name="Freeform 401"/>
                <p:cNvSpPr>
                  <a:spLocks/>
                </p:cNvSpPr>
                <p:nvPr/>
              </p:nvSpPr>
              <p:spPr bwMode="gray">
                <a:xfrm>
                  <a:off x="4640104" y="4881175"/>
                  <a:ext cx="26993" cy="55622"/>
                </a:xfrm>
                <a:custGeom>
                  <a:avLst/>
                  <a:gdLst>
                    <a:gd name="T0" fmla="*/ 14 w 31"/>
                    <a:gd name="T1" fmla="*/ 35 h 67"/>
                    <a:gd name="T2" fmla="*/ 20 w 31"/>
                    <a:gd name="T3" fmla="*/ 14 h 67"/>
                    <a:gd name="T4" fmla="*/ 30 w 31"/>
                    <a:gd name="T5" fmla="*/ 3 h 67"/>
                    <a:gd name="T6" fmla="*/ 31 w 31"/>
                    <a:gd name="T7" fmla="*/ 2 h 67"/>
                    <a:gd name="T8" fmla="*/ 20 w 31"/>
                    <a:gd name="T9" fmla="*/ 0 h 67"/>
                    <a:gd name="T10" fmla="*/ 20 w 31"/>
                    <a:gd name="T11" fmla="*/ 5 h 67"/>
                    <a:gd name="T12" fmla="*/ 0 w 31"/>
                    <a:gd name="T13" fmla="*/ 35 h 67"/>
                    <a:gd name="T14" fmla="*/ 30 w 31"/>
                    <a:gd name="T15" fmla="*/ 67 h 67"/>
                    <a:gd name="T16" fmla="*/ 14 w 31"/>
                    <a:gd name="T1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" h="67">
                      <a:moveTo>
                        <a:pt x="14" y="35"/>
                      </a:moveTo>
                      <a:cubicBezTo>
                        <a:pt x="14" y="27"/>
                        <a:pt x="16" y="20"/>
                        <a:pt x="20" y="14"/>
                      </a:cubicBezTo>
                      <a:cubicBezTo>
                        <a:pt x="22" y="10"/>
                        <a:pt x="26" y="6"/>
                        <a:pt x="30" y="3"/>
                      </a:cubicBezTo>
                      <a:cubicBezTo>
                        <a:pt x="31" y="2"/>
                        <a:pt x="31" y="2"/>
                        <a:pt x="31" y="2"/>
                      </a:cubicBezTo>
                      <a:cubicBezTo>
                        <a:pt x="27" y="2"/>
                        <a:pt x="23" y="1"/>
                        <a:pt x="20" y="0"/>
                      </a:cubicBezTo>
                      <a:cubicBezTo>
                        <a:pt x="20" y="5"/>
                        <a:pt x="20" y="5"/>
                        <a:pt x="20" y="5"/>
                      </a:cubicBezTo>
                      <a:cubicBezTo>
                        <a:pt x="8" y="10"/>
                        <a:pt x="0" y="22"/>
                        <a:pt x="0" y="35"/>
                      </a:cubicBezTo>
                      <a:cubicBezTo>
                        <a:pt x="0" y="52"/>
                        <a:pt x="13" y="66"/>
                        <a:pt x="30" y="67"/>
                      </a:cubicBezTo>
                      <a:cubicBezTo>
                        <a:pt x="20" y="60"/>
                        <a:pt x="14" y="48"/>
                        <a:pt x="14" y="35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0" name="Freeform 402"/>
                <p:cNvSpPr>
                  <a:spLocks/>
                </p:cNvSpPr>
                <p:nvPr/>
              </p:nvSpPr>
              <p:spPr bwMode="gray">
                <a:xfrm>
                  <a:off x="4478145" y="4210929"/>
                  <a:ext cx="164657" cy="169648"/>
                </a:xfrm>
                <a:custGeom>
                  <a:avLst/>
                  <a:gdLst>
                    <a:gd name="T0" fmla="*/ 125 w 207"/>
                    <a:gd name="T1" fmla="*/ 194 h 206"/>
                    <a:gd name="T2" fmla="*/ 195 w 207"/>
                    <a:gd name="T3" fmla="*/ 82 h 206"/>
                    <a:gd name="T4" fmla="*/ 82 w 207"/>
                    <a:gd name="T5" fmla="*/ 11 h 206"/>
                    <a:gd name="T6" fmla="*/ 12 w 207"/>
                    <a:gd name="T7" fmla="*/ 124 h 206"/>
                    <a:gd name="T8" fmla="*/ 125 w 207"/>
                    <a:gd name="T9" fmla="*/ 194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7" h="206">
                      <a:moveTo>
                        <a:pt x="125" y="194"/>
                      </a:moveTo>
                      <a:cubicBezTo>
                        <a:pt x="175" y="183"/>
                        <a:pt x="207" y="132"/>
                        <a:pt x="195" y="82"/>
                      </a:cubicBezTo>
                      <a:cubicBezTo>
                        <a:pt x="183" y="31"/>
                        <a:pt x="133" y="0"/>
                        <a:pt x="82" y="11"/>
                      </a:cubicBezTo>
                      <a:cubicBezTo>
                        <a:pt x="32" y="23"/>
                        <a:pt x="0" y="74"/>
                        <a:pt x="12" y="124"/>
                      </a:cubicBezTo>
                      <a:cubicBezTo>
                        <a:pt x="24" y="175"/>
                        <a:pt x="74" y="206"/>
                        <a:pt x="125" y="194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1" name="Freeform 403"/>
                <p:cNvSpPr>
                  <a:spLocks/>
                </p:cNvSpPr>
                <p:nvPr/>
              </p:nvSpPr>
              <p:spPr bwMode="gray">
                <a:xfrm>
                  <a:off x="4440355" y="4797742"/>
                  <a:ext cx="48588" cy="80653"/>
                </a:xfrm>
                <a:custGeom>
                  <a:avLst/>
                  <a:gdLst>
                    <a:gd name="T0" fmla="*/ 62 w 62"/>
                    <a:gd name="T1" fmla="*/ 0 h 97"/>
                    <a:gd name="T2" fmla="*/ 0 w 62"/>
                    <a:gd name="T3" fmla="*/ 95 h 97"/>
                    <a:gd name="T4" fmla="*/ 6 w 62"/>
                    <a:gd name="T5" fmla="*/ 97 h 97"/>
                    <a:gd name="T6" fmla="*/ 13 w 62"/>
                    <a:gd name="T7" fmla="*/ 97 h 97"/>
                    <a:gd name="T8" fmla="*/ 35 w 62"/>
                    <a:gd name="T9" fmla="*/ 92 h 97"/>
                    <a:gd name="T10" fmla="*/ 46 w 62"/>
                    <a:gd name="T11" fmla="*/ 84 h 97"/>
                    <a:gd name="T12" fmla="*/ 61 w 62"/>
                    <a:gd name="T13" fmla="*/ 51 h 97"/>
                    <a:gd name="T14" fmla="*/ 61 w 62"/>
                    <a:gd name="T15" fmla="*/ 49 h 97"/>
                    <a:gd name="T16" fmla="*/ 62 w 62"/>
                    <a:gd name="T17" fmla="*/ 0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2" h="97">
                      <a:moveTo>
                        <a:pt x="62" y="0"/>
                      </a:moveTo>
                      <a:cubicBezTo>
                        <a:pt x="35" y="34"/>
                        <a:pt x="15" y="68"/>
                        <a:pt x="0" y="95"/>
                      </a:cubicBezTo>
                      <a:cubicBezTo>
                        <a:pt x="2" y="96"/>
                        <a:pt x="4" y="96"/>
                        <a:pt x="6" y="97"/>
                      </a:cubicBezTo>
                      <a:cubicBezTo>
                        <a:pt x="8" y="97"/>
                        <a:pt x="11" y="97"/>
                        <a:pt x="13" y="97"/>
                      </a:cubicBezTo>
                      <a:cubicBezTo>
                        <a:pt x="21" y="97"/>
                        <a:pt x="28" y="95"/>
                        <a:pt x="35" y="92"/>
                      </a:cubicBezTo>
                      <a:cubicBezTo>
                        <a:pt x="39" y="90"/>
                        <a:pt x="43" y="87"/>
                        <a:pt x="46" y="84"/>
                      </a:cubicBezTo>
                      <a:cubicBezTo>
                        <a:pt x="55" y="76"/>
                        <a:pt x="60" y="64"/>
                        <a:pt x="61" y="51"/>
                      </a:cubicBezTo>
                      <a:cubicBezTo>
                        <a:pt x="61" y="50"/>
                        <a:pt x="61" y="50"/>
                        <a:pt x="61" y="49"/>
                      </a:cubicBezTo>
                      <a:cubicBezTo>
                        <a:pt x="61" y="31"/>
                        <a:pt x="61" y="15"/>
                        <a:pt x="62" y="0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" name="Freeform 404"/>
                <p:cNvSpPr>
                  <a:spLocks/>
                </p:cNvSpPr>
                <p:nvPr/>
              </p:nvSpPr>
              <p:spPr bwMode="gray">
                <a:xfrm>
                  <a:off x="4605012" y="4655905"/>
                  <a:ext cx="64783" cy="219708"/>
                </a:xfrm>
                <a:custGeom>
                  <a:avLst/>
                  <a:gdLst>
                    <a:gd name="T0" fmla="*/ 42 w 83"/>
                    <a:gd name="T1" fmla="*/ 226 h 266"/>
                    <a:gd name="T2" fmla="*/ 42 w 83"/>
                    <a:gd name="T3" fmla="*/ 221 h 266"/>
                    <a:gd name="T4" fmla="*/ 47 w 83"/>
                    <a:gd name="T5" fmla="*/ 125 h 266"/>
                    <a:gd name="T6" fmla="*/ 54 w 83"/>
                    <a:gd name="T7" fmla="*/ 81 h 266"/>
                    <a:gd name="T8" fmla="*/ 58 w 83"/>
                    <a:gd name="T9" fmla="*/ 64 h 266"/>
                    <a:gd name="T10" fmla="*/ 61 w 83"/>
                    <a:gd name="T11" fmla="*/ 53 h 266"/>
                    <a:gd name="T12" fmla="*/ 73 w 83"/>
                    <a:gd name="T13" fmla="*/ 20 h 266"/>
                    <a:gd name="T14" fmla="*/ 83 w 83"/>
                    <a:gd name="T15" fmla="*/ 0 h 266"/>
                    <a:gd name="T16" fmla="*/ 73 w 83"/>
                    <a:gd name="T17" fmla="*/ 4 h 266"/>
                    <a:gd name="T18" fmla="*/ 0 w 83"/>
                    <a:gd name="T19" fmla="*/ 42 h 266"/>
                    <a:gd name="T20" fmla="*/ 14 w 83"/>
                    <a:gd name="T21" fmla="*/ 69 h 266"/>
                    <a:gd name="T22" fmla="*/ 19 w 83"/>
                    <a:gd name="T23" fmla="*/ 81 h 266"/>
                    <a:gd name="T24" fmla="*/ 19 w 83"/>
                    <a:gd name="T25" fmla="*/ 82 h 266"/>
                    <a:gd name="T26" fmla="*/ 28 w 83"/>
                    <a:gd name="T27" fmla="*/ 125 h 266"/>
                    <a:gd name="T28" fmla="*/ 34 w 83"/>
                    <a:gd name="T29" fmla="*/ 221 h 266"/>
                    <a:gd name="T30" fmla="*/ 34 w 83"/>
                    <a:gd name="T31" fmla="*/ 223 h 266"/>
                    <a:gd name="T32" fmla="*/ 47 w 83"/>
                    <a:gd name="T33" fmla="*/ 255 h 266"/>
                    <a:gd name="T34" fmla="*/ 62 w 83"/>
                    <a:gd name="T35" fmla="*/ 265 h 266"/>
                    <a:gd name="T36" fmla="*/ 64 w 83"/>
                    <a:gd name="T37" fmla="*/ 266 h 266"/>
                    <a:gd name="T38" fmla="*/ 42 w 83"/>
                    <a:gd name="T39" fmla="*/ 226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3" h="266">
                      <a:moveTo>
                        <a:pt x="42" y="226"/>
                      </a:moveTo>
                      <a:cubicBezTo>
                        <a:pt x="42" y="224"/>
                        <a:pt x="42" y="223"/>
                        <a:pt x="42" y="221"/>
                      </a:cubicBezTo>
                      <a:cubicBezTo>
                        <a:pt x="42" y="186"/>
                        <a:pt x="43" y="154"/>
                        <a:pt x="47" y="125"/>
                      </a:cubicBezTo>
                      <a:cubicBezTo>
                        <a:pt x="48" y="110"/>
                        <a:pt x="51" y="95"/>
                        <a:pt x="54" y="81"/>
                      </a:cubicBezTo>
                      <a:cubicBezTo>
                        <a:pt x="55" y="75"/>
                        <a:pt x="56" y="70"/>
                        <a:pt x="58" y="64"/>
                      </a:cubicBezTo>
                      <a:cubicBezTo>
                        <a:pt x="59" y="60"/>
                        <a:pt x="59" y="57"/>
                        <a:pt x="61" y="53"/>
                      </a:cubicBezTo>
                      <a:cubicBezTo>
                        <a:pt x="64" y="41"/>
                        <a:pt x="68" y="30"/>
                        <a:pt x="73" y="20"/>
                      </a:cubicBezTo>
                      <a:cubicBezTo>
                        <a:pt x="76" y="13"/>
                        <a:pt x="79" y="6"/>
                        <a:pt x="83" y="0"/>
                      </a:cubicBezTo>
                      <a:cubicBezTo>
                        <a:pt x="79" y="1"/>
                        <a:pt x="76" y="2"/>
                        <a:pt x="73" y="4"/>
                      </a:cubicBezTo>
                      <a:cubicBezTo>
                        <a:pt x="46" y="15"/>
                        <a:pt x="22" y="28"/>
                        <a:pt x="0" y="42"/>
                      </a:cubicBezTo>
                      <a:cubicBezTo>
                        <a:pt x="5" y="48"/>
                        <a:pt x="10" y="56"/>
                        <a:pt x="14" y="69"/>
                      </a:cubicBezTo>
                      <a:cubicBezTo>
                        <a:pt x="16" y="73"/>
                        <a:pt x="17" y="77"/>
                        <a:pt x="19" y="81"/>
                      </a:cubicBezTo>
                      <a:cubicBezTo>
                        <a:pt x="19" y="82"/>
                        <a:pt x="19" y="82"/>
                        <a:pt x="19" y="82"/>
                      </a:cubicBezTo>
                      <a:cubicBezTo>
                        <a:pt x="22" y="94"/>
                        <a:pt x="25" y="108"/>
                        <a:pt x="28" y="125"/>
                      </a:cubicBezTo>
                      <a:cubicBezTo>
                        <a:pt x="31" y="151"/>
                        <a:pt x="34" y="182"/>
                        <a:pt x="34" y="221"/>
                      </a:cubicBezTo>
                      <a:cubicBezTo>
                        <a:pt x="34" y="222"/>
                        <a:pt x="34" y="222"/>
                        <a:pt x="34" y="223"/>
                      </a:cubicBezTo>
                      <a:cubicBezTo>
                        <a:pt x="34" y="235"/>
                        <a:pt x="39" y="246"/>
                        <a:pt x="47" y="255"/>
                      </a:cubicBezTo>
                      <a:cubicBezTo>
                        <a:pt x="52" y="259"/>
                        <a:pt x="57" y="263"/>
                        <a:pt x="62" y="265"/>
                      </a:cubicBezTo>
                      <a:cubicBezTo>
                        <a:pt x="63" y="265"/>
                        <a:pt x="63" y="265"/>
                        <a:pt x="64" y="266"/>
                      </a:cubicBezTo>
                      <a:cubicBezTo>
                        <a:pt x="51" y="256"/>
                        <a:pt x="43" y="242"/>
                        <a:pt x="42" y="226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" name="Freeform 405"/>
                <p:cNvSpPr>
                  <a:spLocks noEditPoints="1"/>
                </p:cNvSpPr>
                <p:nvPr/>
              </p:nvSpPr>
              <p:spPr bwMode="gray">
                <a:xfrm>
                  <a:off x="4383668" y="4388919"/>
                  <a:ext cx="286127" cy="147399"/>
                </a:xfrm>
                <a:custGeom>
                  <a:avLst/>
                  <a:gdLst>
                    <a:gd name="T0" fmla="*/ 1 w 359"/>
                    <a:gd name="T1" fmla="*/ 113 h 178"/>
                    <a:gd name="T2" fmla="*/ 6 w 359"/>
                    <a:gd name="T3" fmla="*/ 134 h 178"/>
                    <a:gd name="T4" fmla="*/ 31 w 359"/>
                    <a:gd name="T5" fmla="*/ 159 h 178"/>
                    <a:gd name="T6" fmla="*/ 85 w 359"/>
                    <a:gd name="T7" fmla="*/ 174 h 178"/>
                    <a:gd name="T8" fmla="*/ 93 w 359"/>
                    <a:gd name="T9" fmla="*/ 174 h 178"/>
                    <a:gd name="T10" fmla="*/ 106 w 359"/>
                    <a:gd name="T11" fmla="*/ 176 h 178"/>
                    <a:gd name="T12" fmla="*/ 114 w 359"/>
                    <a:gd name="T13" fmla="*/ 176 h 178"/>
                    <a:gd name="T14" fmla="*/ 142 w 359"/>
                    <a:gd name="T15" fmla="*/ 178 h 178"/>
                    <a:gd name="T16" fmla="*/ 176 w 359"/>
                    <a:gd name="T17" fmla="*/ 178 h 178"/>
                    <a:gd name="T18" fmla="*/ 195 w 359"/>
                    <a:gd name="T19" fmla="*/ 167 h 178"/>
                    <a:gd name="T20" fmla="*/ 203 w 359"/>
                    <a:gd name="T21" fmla="*/ 146 h 178"/>
                    <a:gd name="T22" fmla="*/ 201 w 359"/>
                    <a:gd name="T23" fmla="*/ 134 h 178"/>
                    <a:gd name="T24" fmla="*/ 200 w 359"/>
                    <a:gd name="T25" fmla="*/ 133 h 178"/>
                    <a:gd name="T26" fmla="*/ 171 w 359"/>
                    <a:gd name="T27" fmla="*/ 114 h 178"/>
                    <a:gd name="T28" fmla="*/ 114 w 359"/>
                    <a:gd name="T29" fmla="*/ 112 h 178"/>
                    <a:gd name="T30" fmla="*/ 106 w 359"/>
                    <a:gd name="T31" fmla="*/ 112 h 178"/>
                    <a:gd name="T32" fmla="*/ 75 w 359"/>
                    <a:gd name="T33" fmla="*/ 107 h 178"/>
                    <a:gd name="T34" fmla="*/ 85 w 359"/>
                    <a:gd name="T35" fmla="*/ 99 h 178"/>
                    <a:gd name="T36" fmla="*/ 106 w 359"/>
                    <a:gd name="T37" fmla="*/ 86 h 178"/>
                    <a:gd name="T38" fmla="*/ 114 w 359"/>
                    <a:gd name="T39" fmla="*/ 81 h 178"/>
                    <a:gd name="T40" fmla="*/ 114 w 359"/>
                    <a:gd name="T41" fmla="*/ 104 h 178"/>
                    <a:gd name="T42" fmla="*/ 169 w 359"/>
                    <a:gd name="T43" fmla="*/ 106 h 178"/>
                    <a:gd name="T44" fmla="*/ 171 w 359"/>
                    <a:gd name="T45" fmla="*/ 106 h 178"/>
                    <a:gd name="T46" fmla="*/ 202 w 359"/>
                    <a:gd name="T47" fmla="*/ 121 h 178"/>
                    <a:gd name="T48" fmla="*/ 206 w 359"/>
                    <a:gd name="T49" fmla="*/ 87 h 178"/>
                    <a:gd name="T50" fmla="*/ 222 w 359"/>
                    <a:gd name="T51" fmla="*/ 90 h 178"/>
                    <a:gd name="T52" fmla="*/ 222 w 359"/>
                    <a:gd name="T53" fmla="*/ 90 h 178"/>
                    <a:gd name="T54" fmla="*/ 222 w 359"/>
                    <a:gd name="T55" fmla="*/ 90 h 178"/>
                    <a:gd name="T56" fmla="*/ 238 w 359"/>
                    <a:gd name="T57" fmla="*/ 87 h 178"/>
                    <a:gd name="T58" fmla="*/ 243 w 359"/>
                    <a:gd name="T59" fmla="*/ 121 h 178"/>
                    <a:gd name="T60" fmla="*/ 274 w 359"/>
                    <a:gd name="T61" fmla="*/ 106 h 178"/>
                    <a:gd name="T62" fmla="*/ 274 w 359"/>
                    <a:gd name="T63" fmla="*/ 106 h 178"/>
                    <a:gd name="T64" fmla="*/ 284 w 359"/>
                    <a:gd name="T65" fmla="*/ 106 h 178"/>
                    <a:gd name="T66" fmla="*/ 294 w 359"/>
                    <a:gd name="T67" fmla="*/ 78 h 178"/>
                    <a:gd name="T68" fmla="*/ 303 w 359"/>
                    <a:gd name="T69" fmla="*/ 67 h 178"/>
                    <a:gd name="T70" fmla="*/ 313 w 359"/>
                    <a:gd name="T71" fmla="*/ 57 h 178"/>
                    <a:gd name="T72" fmla="*/ 331 w 359"/>
                    <a:gd name="T73" fmla="*/ 43 h 178"/>
                    <a:gd name="T74" fmla="*/ 339 w 359"/>
                    <a:gd name="T75" fmla="*/ 37 h 178"/>
                    <a:gd name="T76" fmla="*/ 356 w 359"/>
                    <a:gd name="T77" fmla="*/ 26 h 178"/>
                    <a:gd name="T78" fmla="*/ 359 w 359"/>
                    <a:gd name="T79" fmla="*/ 24 h 178"/>
                    <a:gd name="T80" fmla="*/ 333 w 359"/>
                    <a:gd name="T81" fmla="*/ 11 h 178"/>
                    <a:gd name="T82" fmla="*/ 318 w 359"/>
                    <a:gd name="T83" fmla="*/ 4 h 178"/>
                    <a:gd name="T84" fmla="*/ 309 w 359"/>
                    <a:gd name="T85" fmla="*/ 1 h 178"/>
                    <a:gd name="T86" fmla="*/ 300 w 359"/>
                    <a:gd name="T87" fmla="*/ 0 h 178"/>
                    <a:gd name="T88" fmla="*/ 145 w 359"/>
                    <a:gd name="T89" fmla="*/ 0 h 178"/>
                    <a:gd name="T90" fmla="*/ 136 w 359"/>
                    <a:gd name="T91" fmla="*/ 1 h 178"/>
                    <a:gd name="T92" fmla="*/ 127 w 359"/>
                    <a:gd name="T93" fmla="*/ 4 h 178"/>
                    <a:gd name="T94" fmla="*/ 127 w 359"/>
                    <a:gd name="T95" fmla="*/ 4 h 178"/>
                    <a:gd name="T96" fmla="*/ 112 w 359"/>
                    <a:gd name="T97" fmla="*/ 11 h 178"/>
                    <a:gd name="T98" fmla="*/ 70 w 359"/>
                    <a:gd name="T99" fmla="*/ 33 h 178"/>
                    <a:gd name="T100" fmla="*/ 28 w 359"/>
                    <a:gd name="T101" fmla="*/ 63 h 178"/>
                    <a:gd name="T102" fmla="*/ 12 w 359"/>
                    <a:gd name="T103" fmla="*/ 80 h 178"/>
                    <a:gd name="T104" fmla="*/ 10 w 359"/>
                    <a:gd name="T105" fmla="*/ 82 h 178"/>
                    <a:gd name="T106" fmla="*/ 1 w 359"/>
                    <a:gd name="T107" fmla="*/ 113 h 178"/>
                    <a:gd name="T108" fmla="*/ 207 w 359"/>
                    <a:gd name="T109" fmla="*/ 38 h 178"/>
                    <a:gd name="T110" fmla="*/ 222 w 359"/>
                    <a:gd name="T111" fmla="*/ 38 h 178"/>
                    <a:gd name="T112" fmla="*/ 238 w 359"/>
                    <a:gd name="T113" fmla="*/ 38 h 178"/>
                    <a:gd name="T114" fmla="*/ 245 w 359"/>
                    <a:gd name="T115" fmla="*/ 68 h 178"/>
                    <a:gd name="T116" fmla="*/ 244 w 359"/>
                    <a:gd name="T117" fmla="*/ 70 h 178"/>
                    <a:gd name="T118" fmla="*/ 222 w 359"/>
                    <a:gd name="T119" fmla="*/ 78 h 178"/>
                    <a:gd name="T120" fmla="*/ 201 w 359"/>
                    <a:gd name="T121" fmla="*/ 70 h 178"/>
                    <a:gd name="T122" fmla="*/ 200 w 359"/>
                    <a:gd name="T123" fmla="*/ 68 h 178"/>
                    <a:gd name="T124" fmla="*/ 207 w 359"/>
                    <a:gd name="T125" fmla="*/ 38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59" h="178">
                      <a:moveTo>
                        <a:pt x="1" y="113"/>
                      </a:moveTo>
                      <a:cubicBezTo>
                        <a:pt x="0" y="120"/>
                        <a:pt x="2" y="128"/>
                        <a:pt x="6" y="134"/>
                      </a:cubicBezTo>
                      <a:cubicBezTo>
                        <a:pt x="12" y="146"/>
                        <a:pt x="21" y="153"/>
                        <a:pt x="31" y="159"/>
                      </a:cubicBezTo>
                      <a:cubicBezTo>
                        <a:pt x="46" y="166"/>
                        <a:pt x="63" y="170"/>
                        <a:pt x="85" y="174"/>
                      </a:cubicBezTo>
                      <a:cubicBezTo>
                        <a:pt x="88" y="174"/>
                        <a:pt x="90" y="174"/>
                        <a:pt x="93" y="174"/>
                      </a:cubicBezTo>
                      <a:cubicBezTo>
                        <a:pt x="97" y="175"/>
                        <a:pt x="101" y="175"/>
                        <a:pt x="106" y="176"/>
                      </a:cubicBezTo>
                      <a:cubicBezTo>
                        <a:pt x="109" y="176"/>
                        <a:pt x="111" y="176"/>
                        <a:pt x="114" y="176"/>
                      </a:cubicBezTo>
                      <a:cubicBezTo>
                        <a:pt x="123" y="177"/>
                        <a:pt x="132" y="177"/>
                        <a:pt x="142" y="178"/>
                      </a:cubicBezTo>
                      <a:cubicBezTo>
                        <a:pt x="176" y="178"/>
                        <a:pt x="176" y="178"/>
                        <a:pt x="176" y="178"/>
                      </a:cubicBezTo>
                      <a:cubicBezTo>
                        <a:pt x="184" y="177"/>
                        <a:pt x="191" y="172"/>
                        <a:pt x="195" y="167"/>
                      </a:cubicBezTo>
                      <a:cubicBezTo>
                        <a:pt x="200" y="161"/>
                        <a:pt x="203" y="154"/>
                        <a:pt x="203" y="146"/>
                      </a:cubicBezTo>
                      <a:cubicBezTo>
                        <a:pt x="203" y="142"/>
                        <a:pt x="202" y="138"/>
                        <a:pt x="201" y="134"/>
                      </a:cubicBezTo>
                      <a:cubicBezTo>
                        <a:pt x="200" y="134"/>
                        <a:pt x="200" y="133"/>
                        <a:pt x="200" y="133"/>
                      </a:cubicBezTo>
                      <a:cubicBezTo>
                        <a:pt x="195" y="122"/>
                        <a:pt x="184" y="114"/>
                        <a:pt x="171" y="114"/>
                      </a:cubicBezTo>
                      <a:cubicBezTo>
                        <a:pt x="149" y="114"/>
                        <a:pt x="130" y="113"/>
                        <a:pt x="114" y="112"/>
                      </a:cubicBezTo>
                      <a:cubicBezTo>
                        <a:pt x="111" y="112"/>
                        <a:pt x="109" y="112"/>
                        <a:pt x="106" y="112"/>
                      </a:cubicBezTo>
                      <a:cubicBezTo>
                        <a:pt x="93" y="110"/>
                        <a:pt x="82" y="109"/>
                        <a:pt x="75" y="107"/>
                      </a:cubicBezTo>
                      <a:cubicBezTo>
                        <a:pt x="78" y="104"/>
                        <a:pt x="81" y="102"/>
                        <a:pt x="85" y="99"/>
                      </a:cubicBezTo>
                      <a:cubicBezTo>
                        <a:pt x="91" y="95"/>
                        <a:pt x="99" y="90"/>
                        <a:pt x="106" y="86"/>
                      </a:cubicBezTo>
                      <a:cubicBezTo>
                        <a:pt x="109" y="84"/>
                        <a:pt x="112" y="83"/>
                        <a:pt x="114" y="81"/>
                      </a:cubicBezTo>
                      <a:cubicBezTo>
                        <a:pt x="114" y="104"/>
                        <a:pt x="114" y="104"/>
                        <a:pt x="114" y="104"/>
                      </a:cubicBezTo>
                      <a:cubicBezTo>
                        <a:pt x="128" y="105"/>
                        <a:pt x="146" y="106"/>
                        <a:pt x="169" y="106"/>
                      </a:cubicBezTo>
                      <a:cubicBezTo>
                        <a:pt x="171" y="106"/>
                        <a:pt x="171" y="106"/>
                        <a:pt x="171" y="106"/>
                      </a:cubicBezTo>
                      <a:cubicBezTo>
                        <a:pt x="183" y="106"/>
                        <a:pt x="194" y="112"/>
                        <a:pt x="202" y="121"/>
                      </a:cubicBezTo>
                      <a:cubicBezTo>
                        <a:pt x="206" y="87"/>
                        <a:pt x="206" y="87"/>
                        <a:pt x="206" y="87"/>
                      </a:cubicBezTo>
                      <a:cubicBezTo>
                        <a:pt x="211" y="89"/>
                        <a:pt x="217" y="90"/>
                        <a:pt x="222" y="90"/>
                      </a:cubicBezTo>
                      <a:cubicBezTo>
                        <a:pt x="222" y="90"/>
                        <a:pt x="222" y="90"/>
                        <a:pt x="222" y="90"/>
                      </a:cubicBezTo>
                      <a:cubicBezTo>
                        <a:pt x="222" y="90"/>
                        <a:pt x="222" y="90"/>
                        <a:pt x="222" y="90"/>
                      </a:cubicBezTo>
                      <a:cubicBezTo>
                        <a:pt x="228" y="90"/>
                        <a:pt x="233" y="89"/>
                        <a:pt x="238" y="87"/>
                      </a:cubicBezTo>
                      <a:cubicBezTo>
                        <a:pt x="243" y="121"/>
                        <a:pt x="243" y="121"/>
                        <a:pt x="243" y="121"/>
                      </a:cubicBezTo>
                      <a:cubicBezTo>
                        <a:pt x="250" y="112"/>
                        <a:pt x="261" y="106"/>
                        <a:pt x="274" y="106"/>
                      </a:cubicBezTo>
                      <a:cubicBezTo>
                        <a:pt x="274" y="106"/>
                        <a:pt x="274" y="106"/>
                        <a:pt x="274" y="106"/>
                      </a:cubicBezTo>
                      <a:cubicBezTo>
                        <a:pt x="277" y="106"/>
                        <a:pt x="281" y="106"/>
                        <a:pt x="284" y="106"/>
                      </a:cubicBezTo>
                      <a:cubicBezTo>
                        <a:pt x="285" y="94"/>
                        <a:pt x="290" y="84"/>
                        <a:pt x="294" y="78"/>
                      </a:cubicBezTo>
                      <a:cubicBezTo>
                        <a:pt x="297" y="74"/>
                        <a:pt x="299" y="71"/>
                        <a:pt x="303" y="67"/>
                      </a:cubicBezTo>
                      <a:cubicBezTo>
                        <a:pt x="306" y="64"/>
                        <a:pt x="309" y="60"/>
                        <a:pt x="313" y="57"/>
                      </a:cubicBezTo>
                      <a:cubicBezTo>
                        <a:pt x="319" y="52"/>
                        <a:pt x="325" y="47"/>
                        <a:pt x="331" y="43"/>
                      </a:cubicBezTo>
                      <a:cubicBezTo>
                        <a:pt x="333" y="41"/>
                        <a:pt x="336" y="39"/>
                        <a:pt x="339" y="37"/>
                      </a:cubicBezTo>
                      <a:cubicBezTo>
                        <a:pt x="345" y="33"/>
                        <a:pt x="351" y="29"/>
                        <a:pt x="356" y="26"/>
                      </a:cubicBezTo>
                      <a:cubicBezTo>
                        <a:pt x="357" y="26"/>
                        <a:pt x="358" y="25"/>
                        <a:pt x="359" y="24"/>
                      </a:cubicBezTo>
                      <a:cubicBezTo>
                        <a:pt x="349" y="19"/>
                        <a:pt x="340" y="14"/>
                        <a:pt x="333" y="11"/>
                      </a:cubicBezTo>
                      <a:cubicBezTo>
                        <a:pt x="324" y="7"/>
                        <a:pt x="318" y="4"/>
                        <a:pt x="318" y="4"/>
                      </a:cubicBezTo>
                      <a:cubicBezTo>
                        <a:pt x="315" y="3"/>
                        <a:pt x="312" y="2"/>
                        <a:pt x="309" y="1"/>
                      </a:cubicBezTo>
                      <a:cubicBezTo>
                        <a:pt x="306" y="1"/>
                        <a:pt x="303" y="0"/>
                        <a:pt x="300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2" y="0"/>
                        <a:pt x="139" y="1"/>
                        <a:pt x="136" y="1"/>
                      </a:cubicBezTo>
                      <a:cubicBezTo>
                        <a:pt x="133" y="2"/>
                        <a:pt x="130" y="3"/>
                        <a:pt x="127" y="4"/>
                      </a:cubicBezTo>
                      <a:cubicBezTo>
                        <a:pt x="127" y="4"/>
                        <a:pt x="127" y="4"/>
                        <a:pt x="127" y="4"/>
                      </a:cubicBezTo>
                      <a:cubicBezTo>
                        <a:pt x="127" y="4"/>
                        <a:pt x="121" y="7"/>
                        <a:pt x="112" y="11"/>
                      </a:cubicBezTo>
                      <a:cubicBezTo>
                        <a:pt x="101" y="16"/>
                        <a:pt x="86" y="24"/>
                        <a:pt x="70" y="33"/>
                      </a:cubicBezTo>
                      <a:cubicBezTo>
                        <a:pt x="55" y="42"/>
                        <a:pt x="41" y="51"/>
                        <a:pt x="28" y="63"/>
                      </a:cubicBezTo>
                      <a:cubicBezTo>
                        <a:pt x="22" y="68"/>
                        <a:pt x="17" y="73"/>
                        <a:pt x="12" y="80"/>
                      </a:cubicBezTo>
                      <a:cubicBezTo>
                        <a:pt x="11" y="81"/>
                        <a:pt x="11" y="82"/>
                        <a:pt x="10" y="82"/>
                      </a:cubicBezTo>
                      <a:cubicBezTo>
                        <a:pt x="5" y="90"/>
                        <a:pt x="1" y="100"/>
                        <a:pt x="1" y="113"/>
                      </a:cubicBezTo>
                      <a:close/>
                      <a:moveTo>
                        <a:pt x="207" y="38"/>
                      </a:moveTo>
                      <a:cubicBezTo>
                        <a:pt x="222" y="38"/>
                        <a:pt x="222" y="38"/>
                        <a:pt x="222" y="38"/>
                      </a:cubicBezTo>
                      <a:cubicBezTo>
                        <a:pt x="238" y="38"/>
                        <a:pt x="238" y="38"/>
                        <a:pt x="238" y="38"/>
                      </a:cubicBezTo>
                      <a:cubicBezTo>
                        <a:pt x="245" y="68"/>
                        <a:pt x="245" y="68"/>
                        <a:pt x="245" y="68"/>
                      </a:cubicBezTo>
                      <a:cubicBezTo>
                        <a:pt x="244" y="70"/>
                        <a:pt x="244" y="70"/>
                        <a:pt x="244" y="70"/>
                      </a:cubicBezTo>
                      <a:cubicBezTo>
                        <a:pt x="238" y="76"/>
                        <a:pt x="230" y="78"/>
                        <a:pt x="222" y="78"/>
                      </a:cubicBezTo>
                      <a:cubicBezTo>
                        <a:pt x="215" y="78"/>
                        <a:pt x="207" y="76"/>
                        <a:pt x="201" y="70"/>
                      </a:cubicBezTo>
                      <a:cubicBezTo>
                        <a:pt x="200" y="68"/>
                        <a:pt x="200" y="68"/>
                        <a:pt x="200" y="68"/>
                      </a:cubicBezTo>
                      <a:lnTo>
                        <a:pt x="207" y="38"/>
                      </a:ln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406"/>
                <p:cNvSpPr>
                  <a:spLocks/>
                </p:cNvSpPr>
                <p:nvPr/>
              </p:nvSpPr>
              <p:spPr bwMode="gray">
                <a:xfrm>
                  <a:off x="4575320" y="4483477"/>
                  <a:ext cx="80979" cy="52842"/>
                </a:xfrm>
                <a:custGeom>
                  <a:avLst/>
                  <a:gdLst>
                    <a:gd name="T0" fmla="*/ 0 w 101"/>
                    <a:gd name="T1" fmla="*/ 32 h 64"/>
                    <a:gd name="T2" fmla="*/ 7 w 101"/>
                    <a:gd name="T3" fmla="*/ 53 h 64"/>
                    <a:gd name="T4" fmla="*/ 27 w 101"/>
                    <a:gd name="T5" fmla="*/ 64 h 64"/>
                    <a:gd name="T6" fmla="*/ 61 w 101"/>
                    <a:gd name="T7" fmla="*/ 64 h 64"/>
                    <a:gd name="T8" fmla="*/ 89 w 101"/>
                    <a:gd name="T9" fmla="*/ 62 h 64"/>
                    <a:gd name="T10" fmla="*/ 97 w 101"/>
                    <a:gd name="T11" fmla="*/ 62 h 64"/>
                    <a:gd name="T12" fmla="*/ 101 w 101"/>
                    <a:gd name="T13" fmla="*/ 61 h 64"/>
                    <a:gd name="T14" fmla="*/ 97 w 101"/>
                    <a:gd name="T15" fmla="*/ 60 h 64"/>
                    <a:gd name="T16" fmla="*/ 89 w 101"/>
                    <a:gd name="T17" fmla="*/ 57 h 64"/>
                    <a:gd name="T18" fmla="*/ 76 w 101"/>
                    <a:gd name="T19" fmla="*/ 52 h 64"/>
                    <a:gd name="T20" fmla="*/ 47 w 101"/>
                    <a:gd name="T21" fmla="*/ 24 h 64"/>
                    <a:gd name="T22" fmla="*/ 45 w 101"/>
                    <a:gd name="T23" fmla="*/ 20 h 64"/>
                    <a:gd name="T24" fmla="*/ 41 w 101"/>
                    <a:gd name="T25" fmla="*/ 0 h 64"/>
                    <a:gd name="T26" fmla="*/ 32 w 101"/>
                    <a:gd name="T27" fmla="*/ 0 h 64"/>
                    <a:gd name="T28" fmla="*/ 3 w 101"/>
                    <a:gd name="T29" fmla="*/ 19 h 64"/>
                    <a:gd name="T30" fmla="*/ 2 w 101"/>
                    <a:gd name="T31" fmla="*/ 20 h 64"/>
                    <a:gd name="T32" fmla="*/ 0 w 101"/>
                    <a:gd name="T33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1" h="64">
                      <a:moveTo>
                        <a:pt x="0" y="32"/>
                      </a:moveTo>
                      <a:cubicBezTo>
                        <a:pt x="0" y="40"/>
                        <a:pt x="3" y="47"/>
                        <a:pt x="7" y="53"/>
                      </a:cubicBezTo>
                      <a:cubicBezTo>
                        <a:pt x="12" y="58"/>
                        <a:pt x="19" y="63"/>
                        <a:pt x="27" y="64"/>
                      </a:cubicBezTo>
                      <a:cubicBezTo>
                        <a:pt x="61" y="64"/>
                        <a:pt x="61" y="64"/>
                        <a:pt x="61" y="64"/>
                      </a:cubicBezTo>
                      <a:cubicBezTo>
                        <a:pt x="71" y="63"/>
                        <a:pt x="80" y="63"/>
                        <a:pt x="89" y="62"/>
                      </a:cubicBezTo>
                      <a:cubicBezTo>
                        <a:pt x="91" y="62"/>
                        <a:pt x="94" y="62"/>
                        <a:pt x="97" y="62"/>
                      </a:cubicBezTo>
                      <a:cubicBezTo>
                        <a:pt x="98" y="62"/>
                        <a:pt x="100" y="62"/>
                        <a:pt x="101" y="61"/>
                      </a:cubicBezTo>
                      <a:cubicBezTo>
                        <a:pt x="100" y="61"/>
                        <a:pt x="98" y="60"/>
                        <a:pt x="97" y="60"/>
                      </a:cubicBezTo>
                      <a:cubicBezTo>
                        <a:pt x="94" y="59"/>
                        <a:pt x="91" y="58"/>
                        <a:pt x="89" y="57"/>
                      </a:cubicBezTo>
                      <a:cubicBezTo>
                        <a:pt x="84" y="56"/>
                        <a:pt x="80" y="54"/>
                        <a:pt x="76" y="52"/>
                      </a:cubicBezTo>
                      <a:cubicBezTo>
                        <a:pt x="63" y="45"/>
                        <a:pt x="53" y="36"/>
                        <a:pt x="47" y="24"/>
                      </a:cubicBezTo>
                      <a:cubicBezTo>
                        <a:pt x="47" y="23"/>
                        <a:pt x="46" y="21"/>
                        <a:pt x="45" y="20"/>
                      </a:cubicBezTo>
                      <a:cubicBezTo>
                        <a:pt x="43" y="14"/>
                        <a:pt x="41" y="7"/>
                        <a:pt x="41" y="0"/>
                      </a:cubicBezTo>
                      <a:cubicBezTo>
                        <a:pt x="38" y="0"/>
                        <a:pt x="35" y="0"/>
                        <a:pt x="32" y="0"/>
                      </a:cubicBezTo>
                      <a:cubicBezTo>
                        <a:pt x="19" y="0"/>
                        <a:pt x="8" y="8"/>
                        <a:pt x="3" y="19"/>
                      </a:cubicBezTo>
                      <a:cubicBezTo>
                        <a:pt x="3" y="19"/>
                        <a:pt x="2" y="20"/>
                        <a:pt x="2" y="20"/>
                      </a:cubicBezTo>
                      <a:cubicBezTo>
                        <a:pt x="1" y="24"/>
                        <a:pt x="0" y="28"/>
                        <a:pt x="0" y="32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" name="Freeform 407"/>
                <p:cNvSpPr>
                  <a:spLocks/>
                </p:cNvSpPr>
                <p:nvPr/>
              </p:nvSpPr>
              <p:spPr bwMode="gray">
                <a:xfrm>
                  <a:off x="4920832" y="4881175"/>
                  <a:ext cx="35090" cy="55622"/>
                </a:xfrm>
                <a:custGeom>
                  <a:avLst/>
                  <a:gdLst>
                    <a:gd name="T0" fmla="*/ 2 w 44"/>
                    <a:gd name="T1" fmla="*/ 3 h 68"/>
                    <a:gd name="T2" fmla="*/ 2 w 44"/>
                    <a:gd name="T3" fmla="*/ 5 h 68"/>
                    <a:gd name="T4" fmla="*/ 0 w 44"/>
                    <a:gd name="T5" fmla="*/ 6 h 68"/>
                    <a:gd name="T6" fmla="*/ 2 w 44"/>
                    <a:gd name="T7" fmla="*/ 7 h 68"/>
                    <a:gd name="T8" fmla="*/ 9 w 44"/>
                    <a:gd name="T9" fmla="*/ 16 h 68"/>
                    <a:gd name="T10" fmla="*/ 15 w 44"/>
                    <a:gd name="T11" fmla="*/ 36 h 68"/>
                    <a:gd name="T12" fmla="*/ 1 w 44"/>
                    <a:gd name="T13" fmla="*/ 67 h 68"/>
                    <a:gd name="T14" fmla="*/ 12 w 44"/>
                    <a:gd name="T15" fmla="*/ 68 h 68"/>
                    <a:gd name="T16" fmla="*/ 44 w 44"/>
                    <a:gd name="T17" fmla="*/ 36 h 68"/>
                    <a:gd name="T18" fmla="*/ 26 w 44"/>
                    <a:gd name="T19" fmla="*/ 7 h 68"/>
                    <a:gd name="T20" fmla="*/ 26 w 44"/>
                    <a:gd name="T21" fmla="*/ 0 h 68"/>
                    <a:gd name="T22" fmla="*/ 9 w 44"/>
                    <a:gd name="T23" fmla="*/ 3 h 68"/>
                    <a:gd name="T24" fmla="*/ 2 w 44"/>
                    <a:gd name="T25" fmla="*/ 3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4" h="68">
                      <a:moveTo>
                        <a:pt x="2" y="3"/>
                      </a:move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1" y="5"/>
                        <a:pt x="1" y="5"/>
                        <a:pt x="0" y="6"/>
                      </a:cubicBezTo>
                      <a:cubicBezTo>
                        <a:pt x="1" y="6"/>
                        <a:pt x="1" y="6"/>
                        <a:pt x="2" y="7"/>
                      </a:cubicBezTo>
                      <a:cubicBezTo>
                        <a:pt x="5" y="9"/>
                        <a:pt x="7" y="12"/>
                        <a:pt x="9" y="16"/>
                      </a:cubicBezTo>
                      <a:cubicBezTo>
                        <a:pt x="12" y="22"/>
                        <a:pt x="15" y="29"/>
                        <a:pt x="15" y="36"/>
                      </a:cubicBezTo>
                      <a:cubicBezTo>
                        <a:pt x="15" y="48"/>
                        <a:pt x="9" y="59"/>
                        <a:pt x="1" y="67"/>
                      </a:cubicBezTo>
                      <a:cubicBezTo>
                        <a:pt x="4" y="68"/>
                        <a:pt x="8" y="68"/>
                        <a:pt x="12" y="68"/>
                      </a:cubicBezTo>
                      <a:cubicBezTo>
                        <a:pt x="29" y="68"/>
                        <a:pt x="44" y="54"/>
                        <a:pt x="44" y="36"/>
                      </a:cubicBezTo>
                      <a:cubicBezTo>
                        <a:pt x="44" y="23"/>
                        <a:pt x="37" y="12"/>
                        <a:pt x="26" y="7"/>
                      </a:cubicBez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0" y="2"/>
                        <a:pt x="15" y="3"/>
                        <a:pt x="9" y="3"/>
                      </a:cubicBezTo>
                      <a:cubicBezTo>
                        <a:pt x="6" y="3"/>
                        <a:pt x="4" y="3"/>
                        <a:pt x="2" y="3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" name="Freeform 408"/>
                <p:cNvSpPr>
                  <a:spLocks/>
                </p:cNvSpPr>
                <p:nvPr/>
              </p:nvSpPr>
              <p:spPr bwMode="gray">
                <a:xfrm>
                  <a:off x="4966719" y="4680936"/>
                  <a:ext cx="140364" cy="255861"/>
                </a:xfrm>
                <a:custGeom>
                  <a:avLst/>
                  <a:gdLst>
                    <a:gd name="T0" fmla="*/ 169 w 176"/>
                    <a:gd name="T1" fmla="*/ 190 h 312"/>
                    <a:gd name="T2" fmla="*/ 107 w 176"/>
                    <a:gd name="T3" fmla="*/ 181 h 312"/>
                    <a:gd name="T4" fmla="*/ 115 w 176"/>
                    <a:gd name="T5" fmla="*/ 95 h 312"/>
                    <a:gd name="T6" fmla="*/ 163 w 176"/>
                    <a:gd name="T7" fmla="*/ 95 h 312"/>
                    <a:gd name="T8" fmla="*/ 155 w 176"/>
                    <a:gd name="T9" fmla="*/ 55 h 312"/>
                    <a:gd name="T10" fmla="*/ 154 w 176"/>
                    <a:gd name="T11" fmla="*/ 51 h 312"/>
                    <a:gd name="T12" fmla="*/ 150 w 176"/>
                    <a:gd name="T13" fmla="*/ 40 h 312"/>
                    <a:gd name="T14" fmla="*/ 131 w 176"/>
                    <a:gd name="T15" fmla="*/ 10 h 312"/>
                    <a:gd name="T16" fmla="*/ 118 w 176"/>
                    <a:gd name="T17" fmla="*/ 3 h 312"/>
                    <a:gd name="T18" fmla="*/ 89 w 176"/>
                    <a:gd name="T19" fmla="*/ 0 h 312"/>
                    <a:gd name="T20" fmla="*/ 88 w 176"/>
                    <a:gd name="T21" fmla="*/ 0 h 312"/>
                    <a:gd name="T22" fmla="*/ 86 w 176"/>
                    <a:gd name="T23" fmla="*/ 0 h 312"/>
                    <a:gd name="T24" fmla="*/ 55 w 176"/>
                    <a:gd name="T25" fmla="*/ 4 h 312"/>
                    <a:gd name="T26" fmla="*/ 35 w 176"/>
                    <a:gd name="T27" fmla="*/ 21 h 312"/>
                    <a:gd name="T28" fmla="*/ 26 w 176"/>
                    <a:gd name="T29" fmla="*/ 40 h 312"/>
                    <a:gd name="T30" fmla="*/ 22 w 176"/>
                    <a:gd name="T31" fmla="*/ 51 h 312"/>
                    <a:gd name="T32" fmla="*/ 18 w 176"/>
                    <a:gd name="T33" fmla="*/ 65 h 312"/>
                    <a:gd name="T34" fmla="*/ 13 w 176"/>
                    <a:gd name="T35" fmla="*/ 95 h 312"/>
                    <a:gd name="T36" fmla="*/ 62 w 176"/>
                    <a:gd name="T37" fmla="*/ 95 h 312"/>
                    <a:gd name="T38" fmla="*/ 70 w 176"/>
                    <a:gd name="T39" fmla="*/ 181 h 312"/>
                    <a:gd name="T40" fmla="*/ 7 w 176"/>
                    <a:gd name="T41" fmla="*/ 191 h 312"/>
                    <a:gd name="T42" fmla="*/ 7 w 176"/>
                    <a:gd name="T43" fmla="*/ 191 h 312"/>
                    <a:gd name="T44" fmla="*/ 0 w 176"/>
                    <a:gd name="T45" fmla="*/ 218 h 312"/>
                    <a:gd name="T46" fmla="*/ 72 w 176"/>
                    <a:gd name="T47" fmla="*/ 205 h 312"/>
                    <a:gd name="T48" fmla="*/ 76 w 176"/>
                    <a:gd name="T49" fmla="*/ 249 h 312"/>
                    <a:gd name="T50" fmla="*/ 54 w 176"/>
                    <a:gd name="T51" fmla="*/ 280 h 312"/>
                    <a:gd name="T52" fmla="*/ 86 w 176"/>
                    <a:gd name="T53" fmla="*/ 312 h 312"/>
                    <a:gd name="T54" fmla="*/ 119 w 176"/>
                    <a:gd name="T55" fmla="*/ 280 h 312"/>
                    <a:gd name="T56" fmla="*/ 101 w 176"/>
                    <a:gd name="T57" fmla="*/ 251 h 312"/>
                    <a:gd name="T58" fmla="*/ 105 w 176"/>
                    <a:gd name="T59" fmla="*/ 205 h 312"/>
                    <a:gd name="T60" fmla="*/ 176 w 176"/>
                    <a:gd name="T61" fmla="*/ 218 h 312"/>
                    <a:gd name="T62" fmla="*/ 169 w 176"/>
                    <a:gd name="T63" fmla="*/ 191 h 312"/>
                    <a:gd name="T64" fmla="*/ 169 w 176"/>
                    <a:gd name="T65" fmla="*/ 190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6" h="312">
                      <a:moveTo>
                        <a:pt x="169" y="190"/>
                      </a:moveTo>
                      <a:cubicBezTo>
                        <a:pt x="153" y="185"/>
                        <a:pt x="132" y="182"/>
                        <a:pt x="107" y="181"/>
                      </a:cubicBezTo>
                      <a:cubicBezTo>
                        <a:pt x="115" y="95"/>
                        <a:pt x="115" y="95"/>
                        <a:pt x="115" y="95"/>
                      </a:cubicBezTo>
                      <a:cubicBezTo>
                        <a:pt x="163" y="95"/>
                        <a:pt x="163" y="95"/>
                        <a:pt x="163" y="95"/>
                      </a:cubicBezTo>
                      <a:cubicBezTo>
                        <a:pt x="161" y="78"/>
                        <a:pt x="158" y="64"/>
                        <a:pt x="155" y="55"/>
                      </a:cubicBezTo>
                      <a:cubicBezTo>
                        <a:pt x="154" y="53"/>
                        <a:pt x="154" y="52"/>
                        <a:pt x="154" y="51"/>
                      </a:cubicBezTo>
                      <a:cubicBezTo>
                        <a:pt x="152" y="47"/>
                        <a:pt x="151" y="43"/>
                        <a:pt x="150" y="40"/>
                      </a:cubicBezTo>
                      <a:cubicBezTo>
                        <a:pt x="144" y="26"/>
                        <a:pt x="138" y="16"/>
                        <a:pt x="131" y="10"/>
                      </a:cubicBezTo>
                      <a:cubicBezTo>
                        <a:pt x="127" y="7"/>
                        <a:pt x="124" y="5"/>
                        <a:pt x="118" y="3"/>
                      </a:cubicBezTo>
                      <a:cubicBezTo>
                        <a:pt x="112" y="1"/>
                        <a:pt x="103" y="0"/>
                        <a:pt x="89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71" y="0"/>
                        <a:pt x="62" y="2"/>
                        <a:pt x="55" y="4"/>
                      </a:cubicBezTo>
                      <a:cubicBezTo>
                        <a:pt x="48" y="7"/>
                        <a:pt x="43" y="9"/>
                        <a:pt x="35" y="21"/>
                      </a:cubicBezTo>
                      <a:cubicBezTo>
                        <a:pt x="33" y="25"/>
                        <a:pt x="29" y="31"/>
                        <a:pt x="26" y="40"/>
                      </a:cubicBezTo>
                      <a:cubicBezTo>
                        <a:pt x="25" y="43"/>
                        <a:pt x="23" y="47"/>
                        <a:pt x="22" y="51"/>
                      </a:cubicBezTo>
                      <a:cubicBezTo>
                        <a:pt x="21" y="55"/>
                        <a:pt x="20" y="60"/>
                        <a:pt x="18" y="65"/>
                      </a:cubicBezTo>
                      <a:cubicBezTo>
                        <a:pt x="16" y="74"/>
                        <a:pt x="14" y="84"/>
                        <a:pt x="13" y="95"/>
                      </a:cubicBezTo>
                      <a:cubicBezTo>
                        <a:pt x="62" y="95"/>
                        <a:pt x="62" y="95"/>
                        <a:pt x="62" y="95"/>
                      </a:cubicBezTo>
                      <a:cubicBezTo>
                        <a:pt x="70" y="181"/>
                        <a:pt x="70" y="181"/>
                        <a:pt x="70" y="181"/>
                      </a:cubicBezTo>
                      <a:cubicBezTo>
                        <a:pt x="44" y="182"/>
                        <a:pt x="23" y="186"/>
                        <a:pt x="7" y="191"/>
                      </a:cubicBezTo>
                      <a:cubicBezTo>
                        <a:pt x="7" y="191"/>
                        <a:pt x="7" y="191"/>
                        <a:pt x="7" y="191"/>
                      </a:cubicBezTo>
                      <a:cubicBezTo>
                        <a:pt x="7" y="201"/>
                        <a:pt x="4" y="210"/>
                        <a:pt x="0" y="218"/>
                      </a:cubicBezTo>
                      <a:cubicBezTo>
                        <a:pt x="16" y="212"/>
                        <a:pt x="39" y="206"/>
                        <a:pt x="72" y="205"/>
                      </a:cubicBezTo>
                      <a:cubicBezTo>
                        <a:pt x="76" y="249"/>
                        <a:pt x="76" y="249"/>
                        <a:pt x="76" y="249"/>
                      </a:cubicBezTo>
                      <a:cubicBezTo>
                        <a:pt x="63" y="254"/>
                        <a:pt x="54" y="266"/>
                        <a:pt x="54" y="280"/>
                      </a:cubicBezTo>
                      <a:cubicBezTo>
                        <a:pt x="54" y="298"/>
                        <a:pt x="68" y="312"/>
                        <a:pt x="86" y="312"/>
                      </a:cubicBezTo>
                      <a:cubicBezTo>
                        <a:pt x="104" y="312"/>
                        <a:pt x="119" y="298"/>
                        <a:pt x="119" y="280"/>
                      </a:cubicBezTo>
                      <a:cubicBezTo>
                        <a:pt x="119" y="267"/>
                        <a:pt x="112" y="257"/>
                        <a:pt x="101" y="251"/>
                      </a:cubicBezTo>
                      <a:cubicBezTo>
                        <a:pt x="105" y="205"/>
                        <a:pt x="105" y="205"/>
                        <a:pt x="105" y="205"/>
                      </a:cubicBezTo>
                      <a:cubicBezTo>
                        <a:pt x="137" y="206"/>
                        <a:pt x="160" y="212"/>
                        <a:pt x="176" y="218"/>
                      </a:cubicBezTo>
                      <a:cubicBezTo>
                        <a:pt x="172" y="210"/>
                        <a:pt x="169" y="201"/>
                        <a:pt x="169" y="191"/>
                      </a:cubicBezTo>
                      <a:cubicBezTo>
                        <a:pt x="169" y="191"/>
                        <a:pt x="169" y="191"/>
                        <a:pt x="169" y="190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" name="Freeform 411"/>
                <p:cNvSpPr>
                  <a:spLocks/>
                </p:cNvSpPr>
                <p:nvPr/>
              </p:nvSpPr>
              <p:spPr bwMode="gray">
                <a:xfrm>
                  <a:off x="4931629" y="4625314"/>
                  <a:ext cx="5399" cy="5562"/>
                </a:xfrm>
                <a:custGeom>
                  <a:avLst/>
                  <a:gdLst>
                    <a:gd name="T0" fmla="*/ 5 w 5"/>
                    <a:gd name="T1" fmla="*/ 0 h 5"/>
                    <a:gd name="T2" fmla="*/ 0 w 5"/>
                    <a:gd name="T3" fmla="*/ 0 h 5"/>
                    <a:gd name="T4" fmla="*/ 0 w 5"/>
                    <a:gd name="T5" fmla="*/ 5 h 5"/>
                    <a:gd name="T6" fmla="*/ 5 w 5"/>
                    <a:gd name="T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5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2" y="3"/>
                        <a:pt x="3" y="2"/>
                        <a:pt x="5" y="0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8" name="Freeform 412"/>
                <p:cNvSpPr>
                  <a:spLocks/>
                </p:cNvSpPr>
                <p:nvPr/>
              </p:nvSpPr>
              <p:spPr bwMode="gray">
                <a:xfrm>
                  <a:off x="4953224" y="4210929"/>
                  <a:ext cx="164657" cy="169648"/>
                </a:xfrm>
                <a:custGeom>
                  <a:avLst/>
                  <a:gdLst>
                    <a:gd name="T0" fmla="*/ 124 w 206"/>
                    <a:gd name="T1" fmla="*/ 194 h 206"/>
                    <a:gd name="T2" fmla="*/ 194 w 206"/>
                    <a:gd name="T3" fmla="*/ 82 h 206"/>
                    <a:gd name="T4" fmla="*/ 82 w 206"/>
                    <a:gd name="T5" fmla="*/ 11 h 206"/>
                    <a:gd name="T6" fmla="*/ 11 w 206"/>
                    <a:gd name="T7" fmla="*/ 124 h 206"/>
                    <a:gd name="T8" fmla="*/ 124 w 206"/>
                    <a:gd name="T9" fmla="*/ 194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6" h="206">
                      <a:moveTo>
                        <a:pt x="124" y="194"/>
                      </a:moveTo>
                      <a:cubicBezTo>
                        <a:pt x="175" y="183"/>
                        <a:pt x="206" y="132"/>
                        <a:pt x="194" y="82"/>
                      </a:cubicBezTo>
                      <a:cubicBezTo>
                        <a:pt x="183" y="31"/>
                        <a:pt x="132" y="0"/>
                        <a:pt x="82" y="11"/>
                      </a:cubicBezTo>
                      <a:cubicBezTo>
                        <a:pt x="31" y="23"/>
                        <a:pt x="0" y="74"/>
                        <a:pt x="11" y="124"/>
                      </a:cubicBezTo>
                      <a:cubicBezTo>
                        <a:pt x="23" y="175"/>
                        <a:pt x="74" y="206"/>
                        <a:pt x="124" y="194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9" name="Freeform 413"/>
                <p:cNvSpPr>
                  <a:spLocks/>
                </p:cNvSpPr>
                <p:nvPr/>
              </p:nvSpPr>
              <p:spPr bwMode="gray">
                <a:xfrm>
                  <a:off x="4918132" y="4625314"/>
                  <a:ext cx="234839" cy="253081"/>
                </a:xfrm>
                <a:custGeom>
                  <a:avLst/>
                  <a:gdLst>
                    <a:gd name="T0" fmla="*/ 263 w 297"/>
                    <a:gd name="T1" fmla="*/ 270 h 306"/>
                    <a:gd name="T2" fmla="*/ 262 w 297"/>
                    <a:gd name="T3" fmla="*/ 258 h 306"/>
                    <a:gd name="T4" fmla="*/ 267 w 297"/>
                    <a:gd name="T5" fmla="*/ 162 h 306"/>
                    <a:gd name="T6" fmla="*/ 276 w 297"/>
                    <a:gd name="T7" fmla="*/ 109 h 306"/>
                    <a:gd name="T8" fmla="*/ 277 w 297"/>
                    <a:gd name="T9" fmla="*/ 103 h 306"/>
                    <a:gd name="T10" fmla="*/ 278 w 297"/>
                    <a:gd name="T11" fmla="*/ 99 h 306"/>
                    <a:gd name="T12" fmla="*/ 280 w 297"/>
                    <a:gd name="T13" fmla="*/ 90 h 306"/>
                    <a:gd name="T14" fmla="*/ 297 w 297"/>
                    <a:gd name="T15" fmla="*/ 46 h 306"/>
                    <a:gd name="T16" fmla="*/ 289 w 297"/>
                    <a:gd name="T17" fmla="*/ 32 h 306"/>
                    <a:gd name="T18" fmla="*/ 277 w 297"/>
                    <a:gd name="T19" fmla="*/ 16 h 306"/>
                    <a:gd name="T20" fmla="*/ 263 w 297"/>
                    <a:gd name="T21" fmla="*/ 0 h 306"/>
                    <a:gd name="T22" fmla="*/ 155 w 297"/>
                    <a:gd name="T23" fmla="*/ 0 h 306"/>
                    <a:gd name="T24" fmla="*/ 149 w 297"/>
                    <a:gd name="T25" fmla="*/ 8 h 306"/>
                    <a:gd name="T26" fmla="*/ 143 w 297"/>
                    <a:gd name="T27" fmla="*/ 0 h 306"/>
                    <a:gd name="T28" fmla="*/ 35 w 297"/>
                    <a:gd name="T29" fmla="*/ 0 h 306"/>
                    <a:gd name="T30" fmla="*/ 19 w 297"/>
                    <a:gd name="T31" fmla="*/ 17 h 306"/>
                    <a:gd name="T32" fmla="*/ 0 w 297"/>
                    <a:gd name="T33" fmla="*/ 46 h 306"/>
                    <a:gd name="T34" fmla="*/ 19 w 297"/>
                    <a:gd name="T35" fmla="*/ 97 h 306"/>
                    <a:gd name="T36" fmla="*/ 20 w 297"/>
                    <a:gd name="T37" fmla="*/ 99 h 306"/>
                    <a:gd name="T38" fmla="*/ 21 w 297"/>
                    <a:gd name="T39" fmla="*/ 105 h 306"/>
                    <a:gd name="T40" fmla="*/ 23 w 297"/>
                    <a:gd name="T41" fmla="*/ 112 h 306"/>
                    <a:gd name="T42" fmla="*/ 31 w 297"/>
                    <a:gd name="T43" fmla="*/ 162 h 306"/>
                    <a:gd name="T44" fmla="*/ 36 w 297"/>
                    <a:gd name="T45" fmla="*/ 258 h 306"/>
                    <a:gd name="T46" fmla="*/ 35 w 297"/>
                    <a:gd name="T47" fmla="*/ 271 h 306"/>
                    <a:gd name="T48" fmla="*/ 9 w 297"/>
                    <a:gd name="T49" fmla="*/ 306 h 306"/>
                    <a:gd name="T50" fmla="*/ 12 w 297"/>
                    <a:gd name="T51" fmla="*/ 306 h 306"/>
                    <a:gd name="T52" fmla="*/ 34 w 297"/>
                    <a:gd name="T53" fmla="*/ 301 h 306"/>
                    <a:gd name="T54" fmla="*/ 44 w 297"/>
                    <a:gd name="T55" fmla="*/ 293 h 306"/>
                    <a:gd name="T56" fmla="*/ 59 w 297"/>
                    <a:gd name="T57" fmla="*/ 260 h 306"/>
                    <a:gd name="T58" fmla="*/ 60 w 297"/>
                    <a:gd name="T59" fmla="*/ 258 h 306"/>
                    <a:gd name="T60" fmla="*/ 65 w 297"/>
                    <a:gd name="T61" fmla="*/ 162 h 306"/>
                    <a:gd name="T62" fmla="*/ 72 w 297"/>
                    <a:gd name="T63" fmla="*/ 130 h 306"/>
                    <a:gd name="T64" fmla="*/ 75 w 297"/>
                    <a:gd name="T65" fmla="*/ 118 h 306"/>
                    <a:gd name="T66" fmla="*/ 79 w 297"/>
                    <a:gd name="T67" fmla="*/ 106 h 306"/>
                    <a:gd name="T68" fmla="*/ 89 w 297"/>
                    <a:gd name="T69" fmla="*/ 84 h 306"/>
                    <a:gd name="T70" fmla="*/ 113 w 297"/>
                    <a:gd name="T71" fmla="*/ 63 h 306"/>
                    <a:gd name="T72" fmla="*/ 149 w 297"/>
                    <a:gd name="T73" fmla="*/ 59 h 306"/>
                    <a:gd name="T74" fmla="*/ 182 w 297"/>
                    <a:gd name="T75" fmla="*/ 63 h 306"/>
                    <a:gd name="T76" fmla="*/ 197 w 297"/>
                    <a:gd name="T77" fmla="*/ 71 h 306"/>
                    <a:gd name="T78" fmla="*/ 219 w 297"/>
                    <a:gd name="T79" fmla="*/ 106 h 306"/>
                    <a:gd name="T80" fmla="*/ 223 w 297"/>
                    <a:gd name="T81" fmla="*/ 118 h 306"/>
                    <a:gd name="T82" fmla="*/ 223 w 297"/>
                    <a:gd name="T83" fmla="*/ 119 h 306"/>
                    <a:gd name="T84" fmla="*/ 232 w 297"/>
                    <a:gd name="T85" fmla="*/ 162 h 306"/>
                    <a:gd name="T86" fmla="*/ 238 w 297"/>
                    <a:gd name="T87" fmla="*/ 258 h 306"/>
                    <a:gd name="T88" fmla="*/ 238 w 297"/>
                    <a:gd name="T89" fmla="*/ 260 h 306"/>
                    <a:gd name="T90" fmla="*/ 252 w 297"/>
                    <a:gd name="T91" fmla="*/ 292 h 306"/>
                    <a:gd name="T92" fmla="*/ 267 w 297"/>
                    <a:gd name="T93" fmla="*/ 302 h 306"/>
                    <a:gd name="T94" fmla="*/ 286 w 297"/>
                    <a:gd name="T95" fmla="*/ 306 h 306"/>
                    <a:gd name="T96" fmla="*/ 289 w 297"/>
                    <a:gd name="T97" fmla="*/ 306 h 306"/>
                    <a:gd name="T98" fmla="*/ 263 w 297"/>
                    <a:gd name="T99" fmla="*/ 270 h 3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97" h="306">
                      <a:moveTo>
                        <a:pt x="263" y="270"/>
                      </a:moveTo>
                      <a:cubicBezTo>
                        <a:pt x="262" y="266"/>
                        <a:pt x="262" y="262"/>
                        <a:pt x="262" y="258"/>
                      </a:cubicBezTo>
                      <a:cubicBezTo>
                        <a:pt x="262" y="223"/>
                        <a:pt x="263" y="191"/>
                        <a:pt x="267" y="162"/>
                      </a:cubicBezTo>
                      <a:cubicBezTo>
                        <a:pt x="269" y="143"/>
                        <a:pt x="272" y="125"/>
                        <a:pt x="276" y="109"/>
                      </a:cubicBezTo>
                      <a:cubicBezTo>
                        <a:pt x="276" y="107"/>
                        <a:pt x="277" y="105"/>
                        <a:pt x="277" y="103"/>
                      </a:cubicBezTo>
                      <a:cubicBezTo>
                        <a:pt x="277" y="102"/>
                        <a:pt x="278" y="100"/>
                        <a:pt x="278" y="99"/>
                      </a:cubicBezTo>
                      <a:cubicBezTo>
                        <a:pt x="279" y="96"/>
                        <a:pt x="280" y="93"/>
                        <a:pt x="280" y="90"/>
                      </a:cubicBezTo>
                      <a:cubicBezTo>
                        <a:pt x="285" y="74"/>
                        <a:pt x="291" y="60"/>
                        <a:pt x="297" y="46"/>
                      </a:cubicBezTo>
                      <a:cubicBezTo>
                        <a:pt x="295" y="42"/>
                        <a:pt x="292" y="37"/>
                        <a:pt x="289" y="32"/>
                      </a:cubicBezTo>
                      <a:cubicBezTo>
                        <a:pt x="286" y="26"/>
                        <a:pt x="282" y="21"/>
                        <a:pt x="277" y="16"/>
                      </a:cubicBezTo>
                      <a:cubicBezTo>
                        <a:pt x="273" y="10"/>
                        <a:pt x="268" y="5"/>
                        <a:pt x="263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49" y="8"/>
                        <a:pt x="149" y="8"/>
                        <a:pt x="149" y="8"/>
                      </a:cubicBezTo>
                      <a:cubicBezTo>
                        <a:pt x="143" y="0"/>
                        <a:pt x="143" y="0"/>
                        <a:pt x="143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29" y="6"/>
                        <a:pt x="24" y="11"/>
                        <a:pt x="19" y="17"/>
                      </a:cubicBezTo>
                      <a:cubicBezTo>
                        <a:pt x="12" y="26"/>
                        <a:pt x="6" y="36"/>
                        <a:pt x="0" y="46"/>
                      </a:cubicBezTo>
                      <a:cubicBezTo>
                        <a:pt x="8" y="61"/>
                        <a:pt x="14" y="78"/>
                        <a:pt x="19" y="97"/>
                      </a:cubicBezTo>
                      <a:cubicBezTo>
                        <a:pt x="19" y="98"/>
                        <a:pt x="19" y="98"/>
                        <a:pt x="20" y="99"/>
                      </a:cubicBezTo>
                      <a:cubicBezTo>
                        <a:pt x="20" y="101"/>
                        <a:pt x="21" y="103"/>
                        <a:pt x="21" y="105"/>
                      </a:cubicBezTo>
                      <a:cubicBezTo>
                        <a:pt x="22" y="107"/>
                        <a:pt x="22" y="110"/>
                        <a:pt x="23" y="112"/>
                      </a:cubicBezTo>
                      <a:cubicBezTo>
                        <a:pt x="26" y="128"/>
                        <a:pt x="29" y="144"/>
                        <a:pt x="31" y="162"/>
                      </a:cubicBezTo>
                      <a:cubicBezTo>
                        <a:pt x="35" y="191"/>
                        <a:pt x="36" y="222"/>
                        <a:pt x="36" y="258"/>
                      </a:cubicBezTo>
                      <a:cubicBezTo>
                        <a:pt x="36" y="263"/>
                        <a:pt x="36" y="267"/>
                        <a:pt x="35" y="271"/>
                      </a:cubicBezTo>
                      <a:cubicBezTo>
                        <a:pt x="31" y="286"/>
                        <a:pt x="22" y="298"/>
                        <a:pt x="9" y="306"/>
                      </a:cubicBezTo>
                      <a:cubicBezTo>
                        <a:pt x="10" y="306"/>
                        <a:pt x="11" y="306"/>
                        <a:pt x="12" y="306"/>
                      </a:cubicBezTo>
                      <a:cubicBezTo>
                        <a:pt x="20" y="306"/>
                        <a:pt x="27" y="304"/>
                        <a:pt x="34" y="301"/>
                      </a:cubicBezTo>
                      <a:cubicBezTo>
                        <a:pt x="38" y="299"/>
                        <a:pt x="41" y="296"/>
                        <a:pt x="44" y="293"/>
                      </a:cubicBezTo>
                      <a:cubicBezTo>
                        <a:pt x="53" y="285"/>
                        <a:pt x="59" y="273"/>
                        <a:pt x="59" y="260"/>
                      </a:cubicBezTo>
                      <a:cubicBezTo>
                        <a:pt x="59" y="259"/>
                        <a:pt x="60" y="259"/>
                        <a:pt x="60" y="258"/>
                      </a:cubicBezTo>
                      <a:cubicBezTo>
                        <a:pt x="60" y="219"/>
                        <a:pt x="62" y="188"/>
                        <a:pt x="65" y="162"/>
                      </a:cubicBezTo>
                      <a:cubicBezTo>
                        <a:pt x="67" y="150"/>
                        <a:pt x="69" y="139"/>
                        <a:pt x="72" y="130"/>
                      </a:cubicBezTo>
                      <a:cubicBezTo>
                        <a:pt x="73" y="126"/>
                        <a:pt x="74" y="122"/>
                        <a:pt x="75" y="118"/>
                      </a:cubicBezTo>
                      <a:cubicBezTo>
                        <a:pt x="76" y="114"/>
                        <a:pt x="77" y="110"/>
                        <a:pt x="79" y="106"/>
                      </a:cubicBezTo>
                      <a:cubicBezTo>
                        <a:pt x="82" y="97"/>
                        <a:pt x="86" y="89"/>
                        <a:pt x="89" y="84"/>
                      </a:cubicBezTo>
                      <a:cubicBezTo>
                        <a:pt x="99" y="70"/>
                        <a:pt x="105" y="67"/>
                        <a:pt x="113" y="63"/>
                      </a:cubicBezTo>
                      <a:cubicBezTo>
                        <a:pt x="122" y="60"/>
                        <a:pt x="134" y="59"/>
                        <a:pt x="149" y="59"/>
                      </a:cubicBezTo>
                      <a:cubicBezTo>
                        <a:pt x="162" y="59"/>
                        <a:pt x="173" y="60"/>
                        <a:pt x="182" y="63"/>
                      </a:cubicBezTo>
                      <a:cubicBezTo>
                        <a:pt x="188" y="64"/>
                        <a:pt x="192" y="67"/>
                        <a:pt x="197" y="71"/>
                      </a:cubicBezTo>
                      <a:cubicBezTo>
                        <a:pt x="203" y="76"/>
                        <a:pt x="211" y="86"/>
                        <a:pt x="219" y="106"/>
                      </a:cubicBezTo>
                      <a:cubicBezTo>
                        <a:pt x="220" y="110"/>
                        <a:pt x="222" y="114"/>
                        <a:pt x="223" y="118"/>
                      </a:cubicBezTo>
                      <a:cubicBezTo>
                        <a:pt x="223" y="119"/>
                        <a:pt x="223" y="119"/>
                        <a:pt x="223" y="119"/>
                      </a:cubicBezTo>
                      <a:cubicBezTo>
                        <a:pt x="227" y="131"/>
                        <a:pt x="230" y="145"/>
                        <a:pt x="232" y="162"/>
                      </a:cubicBezTo>
                      <a:cubicBezTo>
                        <a:pt x="236" y="188"/>
                        <a:pt x="238" y="219"/>
                        <a:pt x="238" y="258"/>
                      </a:cubicBezTo>
                      <a:cubicBezTo>
                        <a:pt x="238" y="259"/>
                        <a:pt x="238" y="259"/>
                        <a:pt x="238" y="260"/>
                      </a:cubicBezTo>
                      <a:cubicBezTo>
                        <a:pt x="239" y="272"/>
                        <a:pt x="244" y="283"/>
                        <a:pt x="252" y="292"/>
                      </a:cubicBezTo>
                      <a:cubicBezTo>
                        <a:pt x="256" y="296"/>
                        <a:pt x="261" y="300"/>
                        <a:pt x="267" y="302"/>
                      </a:cubicBezTo>
                      <a:cubicBezTo>
                        <a:pt x="273" y="305"/>
                        <a:pt x="279" y="306"/>
                        <a:pt x="286" y="306"/>
                      </a:cubicBezTo>
                      <a:cubicBezTo>
                        <a:pt x="287" y="306"/>
                        <a:pt x="288" y="306"/>
                        <a:pt x="289" y="306"/>
                      </a:cubicBezTo>
                      <a:cubicBezTo>
                        <a:pt x="276" y="298"/>
                        <a:pt x="266" y="285"/>
                        <a:pt x="263" y="270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0" name="Freeform 414"/>
                <p:cNvSpPr>
                  <a:spLocks noEditPoints="1"/>
                </p:cNvSpPr>
                <p:nvPr/>
              </p:nvSpPr>
              <p:spPr bwMode="gray">
                <a:xfrm>
                  <a:off x="4920832" y="4388919"/>
                  <a:ext cx="232141" cy="100120"/>
                </a:xfrm>
                <a:custGeom>
                  <a:avLst/>
                  <a:gdLst>
                    <a:gd name="T0" fmla="*/ 29 w 290"/>
                    <a:gd name="T1" fmla="*/ 48 h 121"/>
                    <a:gd name="T2" fmla="*/ 37 w 290"/>
                    <a:gd name="T3" fmla="*/ 55 h 121"/>
                    <a:gd name="T4" fmla="*/ 54 w 290"/>
                    <a:gd name="T5" fmla="*/ 73 h 121"/>
                    <a:gd name="T6" fmla="*/ 57 w 290"/>
                    <a:gd name="T7" fmla="*/ 78 h 121"/>
                    <a:gd name="T8" fmla="*/ 68 w 290"/>
                    <a:gd name="T9" fmla="*/ 106 h 121"/>
                    <a:gd name="T10" fmla="*/ 92 w 290"/>
                    <a:gd name="T11" fmla="*/ 106 h 121"/>
                    <a:gd name="T12" fmla="*/ 93 w 290"/>
                    <a:gd name="T13" fmla="*/ 106 h 121"/>
                    <a:gd name="T14" fmla="*/ 124 w 290"/>
                    <a:gd name="T15" fmla="*/ 121 h 121"/>
                    <a:gd name="T16" fmla="*/ 129 w 290"/>
                    <a:gd name="T17" fmla="*/ 87 h 121"/>
                    <a:gd name="T18" fmla="*/ 145 w 290"/>
                    <a:gd name="T19" fmla="*/ 90 h 121"/>
                    <a:gd name="T20" fmla="*/ 145 w 290"/>
                    <a:gd name="T21" fmla="*/ 90 h 121"/>
                    <a:gd name="T22" fmla="*/ 145 w 290"/>
                    <a:gd name="T23" fmla="*/ 90 h 121"/>
                    <a:gd name="T24" fmla="*/ 161 w 290"/>
                    <a:gd name="T25" fmla="*/ 87 h 121"/>
                    <a:gd name="T26" fmla="*/ 166 w 290"/>
                    <a:gd name="T27" fmla="*/ 121 h 121"/>
                    <a:gd name="T28" fmla="*/ 196 w 290"/>
                    <a:gd name="T29" fmla="*/ 106 h 121"/>
                    <a:gd name="T30" fmla="*/ 197 w 290"/>
                    <a:gd name="T31" fmla="*/ 106 h 121"/>
                    <a:gd name="T32" fmla="*/ 222 w 290"/>
                    <a:gd name="T33" fmla="*/ 106 h 121"/>
                    <a:gd name="T34" fmla="*/ 232 w 290"/>
                    <a:gd name="T35" fmla="*/ 78 h 121"/>
                    <a:gd name="T36" fmla="*/ 236 w 290"/>
                    <a:gd name="T37" fmla="*/ 73 h 121"/>
                    <a:gd name="T38" fmla="*/ 251 w 290"/>
                    <a:gd name="T39" fmla="*/ 57 h 121"/>
                    <a:gd name="T40" fmla="*/ 253 w 290"/>
                    <a:gd name="T41" fmla="*/ 55 h 121"/>
                    <a:gd name="T42" fmla="*/ 261 w 290"/>
                    <a:gd name="T43" fmla="*/ 48 h 121"/>
                    <a:gd name="T44" fmla="*/ 290 w 290"/>
                    <a:gd name="T45" fmla="*/ 29 h 121"/>
                    <a:gd name="T46" fmla="*/ 255 w 290"/>
                    <a:gd name="T47" fmla="*/ 11 h 121"/>
                    <a:gd name="T48" fmla="*/ 240 w 290"/>
                    <a:gd name="T49" fmla="*/ 4 h 121"/>
                    <a:gd name="T50" fmla="*/ 231 w 290"/>
                    <a:gd name="T51" fmla="*/ 1 h 121"/>
                    <a:gd name="T52" fmla="*/ 222 w 290"/>
                    <a:gd name="T53" fmla="*/ 0 h 121"/>
                    <a:gd name="T54" fmla="*/ 68 w 290"/>
                    <a:gd name="T55" fmla="*/ 0 h 121"/>
                    <a:gd name="T56" fmla="*/ 58 w 290"/>
                    <a:gd name="T57" fmla="*/ 1 h 121"/>
                    <a:gd name="T58" fmla="*/ 50 w 290"/>
                    <a:gd name="T59" fmla="*/ 4 h 121"/>
                    <a:gd name="T60" fmla="*/ 50 w 290"/>
                    <a:gd name="T61" fmla="*/ 4 h 121"/>
                    <a:gd name="T62" fmla="*/ 34 w 290"/>
                    <a:gd name="T63" fmla="*/ 11 h 121"/>
                    <a:gd name="T64" fmla="*/ 0 w 290"/>
                    <a:gd name="T65" fmla="*/ 29 h 121"/>
                    <a:gd name="T66" fmla="*/ 23 w 290"/>
                    <a:gd name="T67" fmla="*/ 44 h 121"/>
                    <a:gd name="T68" fmla="*/ 29 w 290"/>
                    <a:gd name="T69" fmla="*/ 48 h 121"/>
                    <a:gd name="T70" fmla="*/ 130 w 290"/>
                    <a:gd name="T71" fmla="*/ 38 h 121"/>
                    <a:gd name="T72" fmla="*/ 145 w 290"/>
                    <a:gd name="T73" fmla="*/ 38 h 121"/>
                    <a:gd name="T74" fmla="*/ 160 w 290"/>
                    <a:gd name="T75" fmla="*/ 38 h 121"/>
                    <a:gd name="T76" fmla="*/ 168 w 290"/>
                    <a:gd name="T77" fmla="*/ 68 h 121"/>
                    <a:gd name="T78" fmla="*/ 167 w 290"/>
                    <a:gd name="T79" fmla="*/ 70 h 121"/>
                    <a:gd name="T80" fmla="*/ 145 w 290"/>
                    <a:gd name="T81" fmla="*/ 78 h 121"/>
                    <a:gd name="T82" fmla="*/ 123 w 290"/>
                    <a:gd name="T83" fmla="*/ 70 h 121"/>
                    <a:gd name="T84" fmla="*/ 122 w 290"/>
                    <a:gd name="T85" fmla="*/ 68 h 121"/>
                    <a:gd name="T86" fmla="*/ 130 w 290"/>
                    <a:gd name="T87" fmla="*/ 38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90" h="121">
                      <a:moveTo>
                        <a:pt x="29" y="48"/>
                      </a:moveTo>
                      <a:cubicBezTo>
                        <a:pt x="31" y="50"/>
                        <a:pt x="34" y="53"/>
                        <a:pt x="37" y="55"/>
                      </a:cubicBezTo>
                      <a:cubicBezTo>
                        <a:pt x="43" y="60"/>
                        <a:pt x="48" y="66"/>
                        <a:pt x="54" y="73"/>
                      </a:cubicBezTo>
                      <a:cubicBezTo>
                        <a:pt x="55" y="74"/>
                        <a:pt x="56" y="76"/>
                        <a:pt x="57" y="78"/>
                      </a:cubicBezTo>
                      <a:cubicBezTo>
                        <a:pt x="62" y="84"/>
                        <a:pt x="67" y="93"/>
                        <a:pt x="68" y="106"/>
                      </a:cubicBezTo>
                      <a:cubicBezTo>
                        <a:pt x="75" y="106"/>
                        <a:pt x="83" y="106"/>
                        <a:pt x="92" y="106"/>
                      </a:cubicBezTo>
                      <a:cubicBezTo>
                        <a:pt x="93" y="106"/>
                        <a:pt x="93" y="106"/>
                        <a:pt x="93" y="106"/>
                      </a:cubicBezTo>
                      <a:cubicBezTo>
                        <a:pt x="106" y="106"/>
                        <a:pt x="117" y="112"/>
                        <a:pt x="124" y="121"/>
                      </a:cubicBezTo>
                      <a:cubicBezTo>
                        <a:pt x="129" y="87"/>
                        <a:pt x="129" y="87"/>
                        <a:pt x="129" y="87"/>
                      </a:cubicBezTo>
                      <a:cubicBezTo>
                        <a:pt x="134" y="89"/>
                        <a:pt x="139" y="90"/>
                        <a:pt x="145" y="90"/>
                      </a:cubicBezTo>
                      <a:cubicBezTo>
                        <a:pt x="145" y="90"/>
                        <a:pt x="145" y="90"/>
                        <a:pt x="145" y="90"/>
                      </a:cubicBezTo>
                      <a:cubicBezTo>
                        <a:pt x="145" y="90"/>
                        <a:pt x="145" y="90"/>
                        <a:pt x="145" y="90"/>
                      </a:cubicBezTo>
                      <a:cubicBezTo>
                        <a:pt x="150" y="90"/>
                        <a:pt x="156" y="89"/>
                        <a:pt x="161" y="87"/>
                      </a:cubicBezTo>
                      <a:cubicBezTo>
                        <a:pt x="166" y="121"/>
                        <a:pt x="166" y="121"/>
                        <a:pt x="166" y="121"/>
                      </a:cubicBezTo>
                      <a:cubicBezTo>
                        <a:pt x="173" y="112"/>
                        <a:pt x="184" y="106"/>
                        <a:pt x="196" y="106"/>
                      </a:cubicBezTo>
                      <a:cubicBezTo>
                        <a:pt x="197" y="106"/>
                        <a:pt x="197" y="106"/>
                        <a:pt x="197" y="106"/>
                      </a:cubicBezTo>
                      <a:cubicBezTo>
                        <a:pt x="205" y="106"/>
                        <a:pt x="214" y="106"/>
                        <a:pt x="222" y="106"/>
                      </a:cubicBezTo>
                      <a:cubicBezTo>
                        <a:pt x="223" y="93"/>
                        <a:pt x="228" y="84"/>
                        <a:pt x="232" y="78"/>
                      </a:cubicBezTo>
                      <a:cubicBezTo>
                        <a:pt x="233" y="76"/>
                        <a:pt x="235" y="74"/>
                        <a:pt x="236" y="73"/>
                      </a:cubicBezTo>
                      <a:cubicBezTo>
                        <a:pt x="240" y="67"/>
                        <a:pt x="245" y="62"/>
                        <a:pt x="251" y="57"/>
                      </a:cubicBezTo>
                      <a:cubicBezTo>
                        <a:pt x="252" y="56"/>
                        <a:pt x="252" y="56"/>
                        <a:pt x="253" y="55"/>
                      </a:cubicBezTo>
                      <a:cubicBezTo>
                        <a:pt x="256" y="53"/>
                        <a:pt x="258" y="51"/>
                        <a:pt x="261" y="48"/>
                      </a:cubicBezTo>
                      <a:cubicBezTo>
                        <a:pt x="271" y="41"/>
                        <a:pt x="282" y="34"/>
                        <a:pt x="290" y="29"/>
                      </a:cubicBezTo>
                      <a:cubicBezTo>
                        <a:pt x="277" y="21"/>
                        <a:pt x="265" y="15"/>
                        <a:pt x="255" y="11"/>
                      </a:cubicBezTo>
                      <a:cubicBezTo>
                        <a:pt x="246" y="7"/>
                        <a:pt x="240" y="4"/>
                        <a:pt x="240" y="4"/>
                      </a:cubicBezTo>
                      <a:cubicBezTo>
                        <a:pt x="237" y="3"/>
                        <a:pt x="234" y="2"/>
                        <a:pt x="231" y="1"/>
                      </a:cubicBezTo>
                      <a:cubicBezTo>
                        <a:pt x="229" y="1"/>
                        <a:pt x="225" y="0"/>
                        <a:pt x="222" y="0"/>
                      </a:cubicBez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4" y="0"/>
                        <a:pt x="61" y="1"/>
                        <a:pt x="58" y="1"/>
                      </a:cubicBezTo>
                      <a:cubicBezTo>
                        <a:pt x="55" y="2"/>
                        <a:pt x="52" y="3"/>
                        <a:pt x="50" y="4"/>
                      </a:cubicBezTo>
                      <a:cubicBezTo>
                        <a:pt x="50" y="4"/>
                        <a:pt x="50" y="4"/>
                        <a:pt x="50" y="4"/>
                      </a:cubicBezTo>
                      <a:cubicBezTo>
                        <a:pt x="49" y="4"/>
                        <a:pt x="43" y="7"/>
                        <a:pt x="34" y="11"/>
                      </a:cubicBezTo>
                      <a:cubicBezTo>
                        <a:pt x="25" y="15"/>
                        <a:pt x="13" y="21"/>
                        <a:pt x="0" y="29"/>
                      </a:cubicBezTo>
                      <a:cubicBezTo>
                        <a:pt x="8" y="34"/>
                        <a:pt x="16" y="39"/>
                        <a:pt x="23" y="44"/>
                      </a:cubicBezTo>
                      <a:cubicBezTo>
                        <a:pt x="25" y="45"/>
                        <a:pt x="27" y="47"/>
                        <a:pt x="29" y="48"/>
                      </a:cubicBezTo>
                      <a:close/>
                      <a:moveTo>
                        <a:pt x="130" y="38"/>
                      </a:moveTo>
                      <a:cubicBezTo>
                        <a:pt x="145" y="38"/>
                        <a:pt x="145" y="38"/>
                        <a:pt x="145" y="38"/>
                      </a:cubicBezTo>
                      <a:cubicBezTo>
                        <a:pt x="160" y="38"/>
                        <a:pt x="160" y="38"/>
                        <a:pt x="160" y="38"/>
                      </a:cubicBezTo>
                      <a:cubicBezTo>
                        <a:pt x="168" y="68"/>
                        <a:pt x="168" y="68"/>
                        <a:pt x="168" y="68"/>
                      </a:cubicBezTo>
                      <a:cubicBezTo>
                        <a:pt x="167" y="70"/>
                        <a:pt x="167" y="70"/>
                        <a:pt x="167" y="70"/>
                      </a:cubicBezTo>
                      <a:cubicBezTo>
                        <a:pt x="160" y="76"/>
                        <a:pt x="153" y="78"/>
                        <a:pt x="145" y="78"/>
                      </a:cubicBezTo>
                      <a:cubicBezTo>
                        <a:pt x="137" y="78"/>
                        <a:pt x="130" y="76"/>
                        <a:pt x="123" y="70"/>
                      </a:cubicBezTo>
                      <a:cubicBezTo>
                        <a:pt x="122" y="68"/>
                        <a:pt x="122" y="68"/>
                        <a:pt x="122" y="68"/>
                      </a:cubicBezTo>
                      <a:lnTo>
                        <a:pt x="130" y="38"/>
                      </a:ln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1" name="Freeform 415"/>
                <p:cNvSpPr>
                  <a:spLocks/>
                </p:cNvSpPr>
                <p:nvPr/>
              </p:nvSpPr>
              <p:spPr bwMode="gray">
                <a:xfrm>
                  <a:off x="4931629" y="4483477"/>
                  <a:ext cx="89076" cy="52842"/>
                </a:xfrm>
                <a:custGeom>
                  <a:avLst/>
                  <a:gdLst>
                    <a:gd name="T0" fmla="*/ 51 w 112"/>
                    <a:gd name="T1" fmla="*/ 20 h 64"/>
                    <a:gd name="T2" fmla="*/ 50 w 112"/>
                    <a:gd name="T3" fmla="*/ 24 h 64"/>
                    <a:gd name="T4" fmla="*/ 34 w 112"/>
                    <a:gd name="T5" fmla="*/ 43 h 64"/>
                    <a:gd name="T6" fmla="*/ 24 w 112"/>
                    <a:gd name="T7" fmla="*/ 50 h 64"/>
                    <a:gd name="T8" fmla="*/ 16 w 112"/>
                    <a:gd name="T9" fmla="*/ 54 h 64"/>
                    <a:gd name="T10" fmla="*/ 2 w 112"/>
                    <a:gd name="T11" fmla="*/ 59 h 64"/>
                    <a:gd name="T12" fmla="*/ 0 w 112"/>
                    <a:gd name="T13" fmla="*/ 60 h 64"/>
                    <a:gd name="T14" fmla="*/ 2 w 112"/>
                    <a:gd name="T15" fmla="*/ 60 h 64"/>
                    <a:gd name="T16" fmla="*/ 16 w 112"/>
                    <a:gd name="T17" fmla="*/ 62 h 64"/>
                    <a:gd name="T18" fmla="*/ 24 w 112"/>
                    <a:gd name="T19" fmla="*/ 62 h 64"/>
                    <a:gd name="T20" fmla="*/ 52 w 112"/>
                    <a:gd name="T21" fmla="*/ 64 h 64"/>
                    <a:gd name="T22" fmla="*/ 85 w 112"/>
                    <a:gd name="T23" fmla="*/ 64 h 64"/>
                    <a:gd name="T24" fmla="*/ 105 w 112"/>
                    <a:gd name="T25" fmla="*/ 53 h 64"/>
                    <a:gd name="T26" fmla="*/ 112 w 112"/>
                    <a:gd name="T27" fmla="*/ 32 h 64"/>
                    <a:gd name="T28" fmla="*/ 110 w 112"/>
                    <a:gd name="T29" fmla="*/ 20 h 64"/>
                    <a:gd name="T30" fmla="*/ 110 w 112"/>
                    <a:gd name="T31" fmla="*/ 19 h 64"/>
                    <a:gd name="T32" fmla="*/ 80 w 112"/>
                    <a:gd name="T33" fmla="*/ 0 h 64"/>
                    <a:gd name="T34" fmla="*/ 56 w 112"/>
                    <a:gd name="T35" fmla="*/ 0 h 64"/>
                    <a:gd name="T36" fmla="*/ 51 w 112"/>
                    <a:gd name="T37" fmla="*/ 2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2" h="64">
                      <a:moveTo>
                        <a:pt x="51" y="20"/>
                      </a:moveTo>
                      <a:cubicBezTo>
                        <a:pt x="51" y="21"/>
                        <a:pt x="50" y="23"/>
                        <a:pt x="50" y="24"/>
                      </a:cubicBezTo>
                      <a:cubicBezTo>
                        <a:pt x="46" y="31"/>
                        <a:pt x="41" y="37"/>
                        <a:pt x="34" y="43"/>
                      </a:cubicBezTo>
                      <a:cubicBezTo>
                        <a:pt x="31" y="46"/>
                        <a:pt x="27" y="48"/>
                        <a:pt x="24" y="50"/>
                      </a:cubicBezTo>
                      <a:cubicBezTo>
                        <a:pt x="21" y="52"/>
                        <a:pt x="18" y="53"/>
                        <a:pt x="16" y="54"/>
                      </a:cubicBezTo>
                      <a:cubicBezTo>
                        <a:pt x="11" y="56"/>
                        <a:pt x="7" y="58"/>
                        <a:pt x="2" y="59"/>
                      </a:cubicBezTo>
                      <a:cubicBezTo>
                        <a:pt x="1" y="60"/>
                        <a:pt x="1" y="60"/>
                        <a:pt x="0" y="60"/>
                      </a:cubicBezTo>
                      <a:cubicBezTo>
                        <a:pt x="1" y="60"/>
                        <a:pt x="1" y="60"/>
                        <a:pt x="2" y="60"/>
                      </a:cubicBezTo>
                      <a:cubicBezTo>
                        <a:pt x="6" y="61"/>
                        <a:pt x="11" y="61"/>
                        <a:pt x="16" y="62"/>
                      </a:cubicBezTo>
                      <a:cubicBezTo>
                        <a:pt x="18" y="62"/>
                        <a:pt x="21" y="62"/>
                        <a:pt x="24" y="62"/>
                      </a:cubicBezTo>
                      <a:cubicBezTo>
                        <a:pt x="32" y="63"/>
                        <a:pt x="42" y="63"/>
                        <a:pt x="52" y="64"/>
                      </a:cubicBezTo>
                      <a:cubicBezTo>
                        <a:pt x="85" y="64"/>
                        <a:pt x="85" y="64"/>
                        <a:pt x="85" y="64"/>
                      </a:cubicBezTo>
                      <a:cubicBezTo>
                        <a:pt x="93" y="63"/>
                        <a:pt x="100" y="58"/>
                        <a:pt x="105" y="53"/>
                      </a:cubicBezTo>
                      <a:cubicBezTo>
                        <a:pt x="110" y="47"/>
                        <a:pt x="112" y="40"/>
                        <a:pt x="112" y="32"/>
                      </a:cubicBezTo>
                      <a:cubicBezTo>
                        <a:pt x="112" y="28"/>
                        <a:pt x="112" y="24"/>
                        <a:pt x="110" y="20"/>
                      </a:cubicBezTo>
                      <a:cubicBezTo>
                        <a:pt x="110" y="20"/>
                        <a:pt x="110" y="19"/>
                        <a:pt x="110" y="19"/>
                      </a:cubicBezTo>
                      <a:cubicBezTo>
                        <a:pt x="105" y="8"/>
                        <a:pt x="93" y="0"/>
                        <a:pt x="80" y="0"/>
                      </a:cubicBezTo>
                      <a:cubicBezTo>
                        <a:pt x="72" y="0"/>
                        <a:pt x="63" y="0"/>
                        <a:pt x="56" y="0"/>
                      </a:cubicBezTo>
                      <a:cubicBezTo>
                        <a:pt x="56" y="7"/>
                        <a:pt x="54" y="14"/>
                        <a:pt x="51" y="20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2" name="Freeform 416"/>
                <p:cNvSpPr>
                  <a:spLocks/>
                </p:cNvSpPr>
                <p:nvPr/>
              </p:nvSpPr>
              <p:spPr bwMode="gray">
                <a:xfrm>
                  <a:off x="5050399" y="4483477"/>
                  <a:ext cx="91777" cy="52842"/>
                </a:xfrm>
                <a:custGeom>
                  <a:avLst/>
                  <a:gdLst>
                    <a:gd name="T0" fmla="*/ 0 w 113"/>
                    <a:gd name="T1" fmla="*/ 32 h 64"/>
                    <a:gd name="T2" fmla="*/ 8 w 113"/>
                    <a:gd name="T3" fmla="*/ 53 h 64"/>
                    <a:gd name="T4" fmla="*/ 27 w 113"/>
                    <a:gd name="T5" fmla="*/ 64 h 64"/>
                    <a:gd name="T6" fmla="*/ 61 w 113"/>
                    <a:gd name="T7" fmla="*/ 64 h 64"/>
                    <a:gd name="T8" fmla="*/ 89 w 113"/>
                    <a:gd name="T9" fmla="*/ 62 h 64"/>
                    <a:gd name="T10" fmla="*/ 97 w 113"/>
                    <a:gd name="T11" fmla="*/ 62 h 64"/>
                    <a:gd name="T12" fmla="*/ 109 w 113"/>
                    <a:gd name="T13" fmla="*/ 61 h 64"/>
                    <a:gd name="T14" fmla="*/ 113 w 113"/>
                    <a:gd name="T15" fmla="*/ 60 h 64"/>
                    <a:gd name="T16" fmla="*/ 109 w 113"/>
                    <a:gd name="T17" fmla="*/ 59 h 64"/>
                    <a:gd name="T18" fmla="*/ 97 w 113"/>
                    <a:gd name="T19" fmla="*/ 54 h 64"/>
                    <a:gd name="T20" fmla="*/ 92 w 113"/>
                    <a:gd name="T21" fmla="*/ 52 h 64"/>
                    <a:gd name="T22" fmla="*/ 89 w 113"/>
                    <a:gd name="T23" fmla="*/ 50 h 64"/>
                    <a:gd name="T24" fmla="*/ 63 w 113"/>
                    <a:gd name="T25" fmla="*/ 24 h 64"/>
                    <a:gd name="T26" fmla="*/ 61 w 113"/>
                    <a:gd name="T27" fmla="*/ 20 h 64"/>
                    <a:gd name="T28" fmla="*/ 57 w 113"/>
                    <a:gd name="T29" fmla="*/ 0 h 64"/>
                    <a:gd name="T30" fmla="*/ 32 w 113"/>
                    <a:gd name="T31" fmla="*/ 0 h 64"/>
                    <a:gd name="T32" fmla="*/ 3 w 113"/>
                    <a:gd name="T33" fmla="*/ 19 h 64"/>
                    <a:gd name="T34" fmla="*/ 3 w 113"/>
                    <a:gd name="T35" fmla="*/ 20 h 64"/>
                    <a:gd name="T36" fmla="*/ 0 w 113"/>
                    <a:gd name="T37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3" h="64">
                      <a:moveTo>
                        <a:pt x="0" y="32"/>
                      </a:moveTo>
                      <a:cubicBezTo>
                        <a:pt x="0" y="40"/>
                        <a:pt x="3" y="47"/>
                        <a:pt x="8" y="53"/>
                      </a:cubicBezTo>
                      <a:cubicBezTo>
                        <a:pt x="13" y="58"/>
                        <a:pt x="20" y="63"/>
                        <a:pt x="27" y="64"/>
                      </a:cubicBezTo>
                      <a:cubicBezTo>
                        <a:pt x="61" y="64"/>
                        <a:pt x="61" y="64"/>
                        <a:pt x="61" y="64"/>
                      </a:cubicBezTo>
                      <a:cubicBezTo>
                        <a:pt x="71" y="63"/>
                        <a:pt x="80" y="63"/>
                        <a:pt x="89" y="62"/>
                      </a:cubicBezTo>
                      <a:cubicBezTo>
                        <a:pt x="92" y="62"/>
                        <a:pt x="94" y="62"/>
                        <a:pt x="97" y="62"/>
                      </a:cubicBezTo>
                      <a:cubicBezTo>
                        <a:pt x="101" y="61"/>
                        <a:pt x="105" y="61"/>
                        <a:pt x="109" y="61"/>
                      </a:cubicBezTo>
                      <a:cubicBezTo>
                        <a:pt x="111" y="61"/>
                        <a:pt x="112" y="60"/>
                        <a:pt x="113" y="60"/>
                      </a:cubicBezTo>
                      <a:cubicBezTo>
                        <a:pt x="112" y="60"/>
                        <a:pt x="110" y="59"/>
                        <a:pt x="109" y="59"/>
                      </a:cubicBezTo>
                      <a:cubicBezTo>
                        <a:pt x="105" y="58"/>
                        <a:pt x="101" y="56"/>
                        <a:pt x="97" y="54"/>
                      </a:cubicBezTo>
                      <a:cubicBezTo>
                        <a:pt x="95" y="53"/>
                        <a:pt x="94" y="53"/>
                        <a:pt x="92" y="52"/>
                      </a:cubicBezTo>
                      <a:cubicBezTo>
                        <a:pt x="91" y="51"/>
                        <a:pt x="90" y="51"/>
                        <a:pt x="89" y="50"/>
                      </a:cubicBezTo>
                      <a:cubicBezTo>
                        <a:pt x="77" y="43"/>
                        <a:pt x="69" y="35"/>
                        <a:pt x="63" y="24"/>
                      </a:cubicBezTo>
                      <a:cubicBezTo>
                        <a:pt x="62" y="23"/>
                        <a:pt x="62" y="21"/>
                        <a:pt x="61" y="20"/>
                      </a:cubicBezTo>
                      <a:cubicBezTo>
                        <a:pt x="59" y="14"/>
                        <a:pt x="57" y="7"/>
                        <a:pt x="57" y="0"/>
                      </a:cubicBezTo>
                      <a:cubicBezTo>
                        <a:pt x="49" y="0"/>
                        <a:pt x="41" y="0"/>
                        <a:pt x="32" y="0"/>
                      </a:cubicBezTo>
                      <a:cubicBezTo>
                        <a:pt x="19" y="0"/>
                        <a:pt x="8" y="8"/>
                        <a:pt x="3" y="19"/>
                      </a:cubicBezTo>
                      <a:cubicBezTo>
                        <a:pt x="3" y="19"/>
                        <a:pt x="3" y="20"/>
                        <a:pt x="3" y="20"/>
                      </a:cubicBezTo>
                      <a:cubicBezTo>
                        <a:pt x="1" y="24"/>
                        <a:pt x="0" y="28"/>
                        <a:pt x="0" y="32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3" name="Freeform 423"/>
                <p:cNvSpPr>
                  <a:spLocks noEditPoints="1"/>
                </p:cNvSpPr>
                <p:nvPr/>
              </p:nvSpPr>
              <p:spPr bwMode="gray">
                <a:xfrm>
                  <a:off x="4931629" y="4388919"/>
                  <a:ext cx="288825" cy="147399"/>
                </a:xfrm>
                <a:custGeom>
                  <a:avLst/>
                  <a:gdLst>
                    <a:gd name="T0" fmla="*/ 29 w 359"/>
                    <a:gd name="T1" fmla="*/ 43 h 178"/>
                    <a:gd name="T2" fmla="*/ 31 w 359"/>
                    <a:gd name="T3" fmla="*/ 44 h 178"/>
                    <a:gd name="T4" fmla="*/ 57 w 359"/>
                    <a:gd name="T5" fmla="*/ 67 h 178"/>
                    <a:gd name="T6" fmla="*/ 65 w 359"/>
                    <a:gd name="T7" fmla="*/ 78 h 178"/>
                    <a:gd name="T8" fmla="*/ 76 w 359"/>
                    <a:gd name="T9" fmla="*/ 106 h 178"/>
                    <a:gd name="T10" fmla="*/ 84 w 359"/>
                    <a:gd name="T11" fmla="*/ 106 h 178"/>
                    <a:gd name="T12" fmla="*/ 86 w 359"/>
                    <a:gd name="T13" fmla="*/ 106 h 178"/>
                    <a:gd name="T14" fmla="*/ 117 w 359"/>
                    <a:gd name="T15" fmla="*/ 121 h 178"/>
                    <a:gd name="T16" fmla="*/ 121 w 359"/>
                    <a:gd name="T17" fmla="*/ 87 h 178"/>
                    <a:gd name="T18" fmla="*/ 137 w 359"/>
                    <a:gd name="T19" fmla="*/ 90 h 178"/>
                    <a:gd name="T20" fmla="*/ 137 w 359"/>
                    <a:gd name="T21" fmla="*/ 90 h 178"/>
                    <a:gd name="T22" fmla="*/ 137 w 359"/>
                    <a:gd name="T23" fmla="*/ 90 h 178"/>
                    <a:gd name="T24" fmla="*/ 154 w 359"/>
                    <a:gd name="T25" fmla="*/ 87 h 178"/>
                    <a:gd name="T26" fmla="*/ 158 w 359"/>
                    <a:gd name="T27" fmla="*/ 121 h 178"/>
                    <a:gd name="T28" fmla="*/ 189 w 359"/>
                    <a:gd name="T29" fmla="*/ 106 h 178"/>
                    <a:gd name="T30" fmla="*/ 189 w 359"/>
                    <a:gd name="T31" fmla="*/ 106 h 178"/>
                    <a:gd name="T32" fmla="*/ 246 w 359"/>
                    <a:gd name="T33" fmla="*/ 104 h 178"/>
                    <a:gd name="T34" fmla="*/ 246 w 359"/>
                    <a:gd name="T35" fmla="*/ 81 h 178"/>
                    <a:gd name="T36" fmla="*/ 254 w 359"/>
                    <a:gd name="T37" fmla="*/ 86 h 178"/>
                    <a:gd name="T38" fmla="*/ 262 w 359"/>
                    <a:gd name="T39" fmla="*/ 91 h 178"/>
                    <a:gd name="T40" fmla="*/ 275 w 359"/>
                    <a:gd name="T41" fmla="*/ 99 h 178"/>
                    <a:gd name="T42" fmla="*/ 285 w 359"/>
                    <a:gd name="T43" fmla="*/ 107 h 178"/>
                    <a:gd name="T44" fmla="*/ 271 w 359"/>
                    <a:gd name="T45" fmla="*/ 109 h 178"/>
                    <a:gd name="T46" fmla="*/ 254 w 359"/>
                    <a:gd name="T47" fmla="*/ 112 h 178"/>
                    <a:gd name="T48" fmla="*/ 246 w 359"/>
                    <a:gd name="T49" fmla="*/ 112 h 178"/>
                    <a:gd name="T50" fmla="*/ 189 w 359"/>
                    <a:gd name="T51" fmla="*/ 114 h 178"/>
                    <a:gd name="T52" fmla="*/ 160 w 359"/>
                    <a:gd name="T53" fmla="*/ 133 h 178"/>
                    <a:gd name="T54" fmla="*/ 159 w 359"/>
                    <a:gd name="T55" fmla="*/ 134 h 178"/>
                    <a:gd name="T56" fmla="*/ 157 w 359"/>
                    <a:gd name="T57" fmla="*/ 146 h 178"/>
                    <a:gd name="T58" fmla="*/ 164 w 359"/>
                    <a:gd name="T59" fmla="*/ 167 h 178"/>
                    <a:gd name="T60" fmla="*/ 184 w 359"/>
                    <a:gd name="T61" fmla="*/ 178 h 178"/>
                    <a:gd name="T62" fmla="*/ 218 w 359"/>
                    <a:gd name="T63" fmla="*/ 178 h 178"/>
                    <a:gd name="T64" fmla="*/ 246 w 359"/>
                    <a:gd name="T65" fmla="*/ 176 h 178"/>
                    <a:gd name="T66" fmla="*/ 254 w 359"/>
                    <a:gd name="T67" fmla="*/ 176 h 178"/>
                    <a:gd name="T68" fmla="*/ 266 w 359"/>
                    <a:gd name="T69" fmla="*/ 175 h 178"/>
                    <a:gd name="T70" fmla="*/ 306 w 359"/>
                    <a:gd name="T71" fmla="*/ 167 h 178"/>
                    <a:gd name="T72" fmla="*/ 341 w 359"/>
                    <a:gd name="T73" fmla="*/ 151 h 178"/>
                    <a:gd name="T74" fmla="*/ 354 w 359"/>
                    <a:gd name="T75" fmla="*/ 134 h 178"/>
                    <a:gd name="T76" fmla="*/ 359 w 359"/>
                    <a:gd name="T77" fmla="*/ 113 h 178"/>
                    <a:gd name="T78" fmla="*/ 349 w 359"/>
                    <a:gd name="T79" fmla="*/ 82 h 178"/>
                    <a:gd name="T80" fmla="*/ 348 w 359"/>
                    <a:gd name="T81" fmla="*/ 80 h 178"/>
                    <a:gd name="T82" fmla="*/ 317 w 359"/>
                    <a:gd name="T83" fmla="*/ 51 h 178"/>
                    <a:gd name="T84" fmla="*/ 248 w 359"/>
                    <a:gd name="T85" fmla="*/ 11 h 178"/>
                    <a:gd name="T86" fmla="*/ 233 w 359"/>
                    <a:gd name="T87" fmla="*/ 4 h 178"/>
                    <a:gd name="T88" fmla="*/ 224 w 359"/>
                    <a:gd name="T89" fmla="*/ 1 h 178"/>
                    <a:gd name="T90" fmla="*/ 215 w 359"/>
                    <a:gd name="T91" fmla="*/ 0 h 178"/>
                    <a:gd name="T92" fmla="*/ 60 w 359"/>
                    <a:gd name="T93" fmla="*/ 0 h 178"/>
                    <a:gd name="T94" fmla="*/ 51 w 359"/>
                    <a:gd name="T95" fmla="*/ 1 h 178"/>
                    <a:gd name="T96" fmla="*/ 42 w 359"/>
                    <a:gd name="T97" fmla="*/ 4 h 178"/>
                    <a:gd name="T98" fmla="*/ 42 w 359"/>
                    <a:gd name="T99" fmla="*/ 4 h 178"/>
                    <a:gd name="T100" fmla="*/ 27 w 359"/>
                    <a:gd name="T101" fmla="*/ 11 h 178"/>
                    <a:gd name="T102" fmla="*/ 0 w 359"/>
                    <a:gd name="T103" fmla="*/ 24 h 178"/>
                    <a:gd name="T104" fmla="*/ 21 w 359"/>
                    <a:gd name="T105" fmla="*/ 37 h 178"/>
                    <a:gd name="T106" fmla="*/ 29 w 359"/>
                    <a:gd name="T107" fmla="*/ 43 h 178"/>
                    <a:gd name="T108" fmla="*/ 122 w 359"/>
                    <a:gd name="T109" fmla="*/ 38 h 178"/>
                    <a:gd name="T110" fmla="*/ 137 w 359"/>
                    <a:gd name="T111" fmla="*/ 38 h 178"/>
                    <a:gd name="T112" fmla="*/ 153 w 359"/>
                    <a:gd name="T113" fmla="*/ 38 h 178"/>
                    <a:gd name="T114" fmla="*/ 160 w 359"/>
                    <a:gd name="T115" fmla="*/ 68 h 178"/>
                    <a:gd name="T116" fmla="*/ 159 w 359"/>
                    <a:gd name="T117" fmla="*/ 70 h 178"/>
                    <a:gd name="T118" fmla="*/ 137 w 359"/>
                    <a:gd name="T119" fmla="*/ 78 h 178"/>
                    <a:gd name="T120" fmla="*/ 116 w 359"/>
                    <a:gd name="T121" fmla="*/ 70 h 178"/>
                    <a:gd name="T122" fmla="*/ 115 w 359"/>
                    <a:gd name="T123" fmla="*/ 68 h 178"/>
                    <a:gd name="T124" fmla="*/ 122 w 359"/>
                    <a:gd name="T125" fmla="*/ 38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59" h="178">
                      <a:moveTo>
                        <a:pt x="29" y="43"/>
                      </a:moveTo>
                      <a:cubicBezTo>
                        <a:pt x="30" y="43"/>
                        <a:pt x="30" y="44"/>
                        <a:pt x="31" y="44"/>
                      </a:cubicBezTo>
                      <a:cubicBezTo>
                        <a:pt x="39" y="50"/>
                        <a:pt x="49" y="58"/>
                        <a:pt x="57" y="67"/>
                      </a:cubicBezTo>
                      <a:cubicBezTo>
                        <a:pt x="60" y="71"/>
                        <a:pt x="63" y="74"/>
                        <a:pt x="65" y="78"/>
                      </a:cubicBezTo>
                      <a:cubicBezTo>
                        <a:pt x="70" y="84"/>
                        <a:pt x="75" y="94"/>
                        <a:pt x="76" y="106"/>
                      </a:cubicBezTo>
                      <a:cubicBezTo>
                        <a:pt x="79" y="106"/>
                        <a:pt x="81" y="106"/>
                        <a:pt x="84" y="106"/>
                      </a:cubicBezTo>
                      <a:cubicBezTo>
                        <a:pt x="86" y="106"/>
                        <a:pt x="86" y="106"/>
                        <a:pt x="86" y="106"/>
                      </a:cubicBezTo>
                      <a:cubicBezTo>
                        <a:pt x="98" y="106"/>
                        <a:pt x="109" y="112"/>
                        <a:pt x="117" y="121"/>
                      </a:cubicBezTo>
                      <a:cubicBezTo>
                        <a:pt x="121" y="87"/>
                        <a:pt x="121" y="87"/>
                        <a:pt x="121" y="87"/>
                      </a:cubicBezTo>
                      <a:cubicBezTo>
                        <a:pt x="126" y="89"/>
                        <a:pt x="132" y="90"/>
                        <a:pt x="137" y="90"/>
                      </a:cubicBezTo>
                      <a:cubicBezTo>
                        <a:pt x="137" y="90"/>
                        <a:pt x="137" y="90"/>
                        <a:pt x="137" y="90"/>
                      </a:cubicBezTo>
                      <a:cubicBezTo>
                        <a:pt x="137" y="90"/>
                        <a:pt x="137" y="90"/>
                        <a:pt x="137" y="90"/>
                      </a:cubicBezTo>
                      <a:cubicBezTo>
                        <a:pt x="143" y="90"/>
                        <a:pt x="148" y="89"/>
                        <a:pt x="154" y="87"/>
                      </a:cubicBezTo>
                      <a:cubicBezTo>
                        <a:pt x="158" y="121"/>
                        <a:pt x="158" y="121"/>
                        <a:pt x="158" y="121"/>
                      </a:cubicBezTo>
                      <a:cubicBezTo>
                        <a:pt x="165" y="112"/>
                        <a:pt x="177" y="106"/>
                        <a:pt x="189" y="106"/>
                      </a:cubicBezTo>
                      <a:cubicBezTo>
                        <a:pt x="189" y="106"/>
                        <a:pt x="189" y="106"/>
                        <a:pt x="189" y="106"/>
                      </a:cubicBezTo>
                      <a:cubicBezTo>
                        <a:pt x="211" y="106"/>
                        <a:pt x="230" y="105"/>
                        <a:pt x="246" y="104"/>
                      </a:cubicBezTo>
                      <a:cubicBezTo>
                        <a:pt x="246" y="81"/>
                        <a:pt x="246" y="81"/>
                        <a:pt x="246" y="81"/>
                      </a:cubicBezTo>
                      <a:cubicBezTo>
                        <a:pt x="248" y="83"/>
                        <a:pt x="251" y="84"/>
                        <a:pt x="254" y="86"/>
                      </a:cubicBezTo>
                      <a:cubicBezTo>
                        <a:pt x="256" y="88"/>
                        <a:pt x="259" y="89"/>
                        <a:pt x="262" y="91"/>
                      </a:cubicBezTo>
                      <a:cubicBezTo>
                        <a:pt x="267" y="94"/>
                        <a:pt x="271" y="97"/>
                        <a:pt x="275" y="99"/>
                      </a:cubicBezTo>
                      <a:cubicBezTo>
                        <a:pt x="279" y="102"/>
                        <a:pt x="282" y="104"/>
                        <a:pt x="285" y="107"/>
                      </a:cubicBezTo>
                      <a:cubicBezTo>
                        <a:pt x="281" y="108"/>
                        <a:pt x="276" y="109"/>
                        <a:pt x="271" y="109"/>
                      </a:cubicBezTo>
                      <a:cubicBezTo>
                        <a:pt x="266" y="110"/>
                        <a:pt x="260" y="111"/>
                        <a:pt x="254" y="112"/>
                      </a:cubicBezTo>
                      <a:cubicBezTo>
                        <a:pt x="251" y="112"/>
                        <a:pt x="248" y="112"/>
                        <a:pt x="246" y="112"/>
                      </a:cubicBezTo>
                      <a:cubicBezTo>
                        <a:pt x="230" y="113"/>
                        <a:pt x="211" y="114"/>
                        <a:pt x="189" y="114"/>
                      </a:cubicBezTo>
                      <a:cubicBezTo>
                        <a:pt x="176" y="114"/>
                        <a:pt x="165" y="122"/>
                        <a:pt x="160" y="133"/>
                      </a:cubicBezTo>
                      <a:cubicBezTo>
                        <a:pt x="160" y="133"/>
                        <a:pt x="159" y="134"/>
                        <a:pt x="159" y="134"/>
                      </a:cubicBezTo>
                      <a:cubicBezTo>
                        <a:pt x="158" y="138"/>
                        <a:pt x="157" y="142"/>
                        <a:pt x="157" y="146"/>
                      </a:cubicBezTo>
                      <a:cubicBezTo>
                        <a:pt x="157" y="154"/>
                        <a:pt x="160" y="161"/>
                        <a:pt x="164" y="167"/>
                      </a:cubicBezTo>
                      <a:cubicBezTo>
                        <a:pt x="169" y="172"/>
                        <a:pt x="176" y="177"/>
                        <a:pt x="184" y="178"/>
                      </a:cubicBezTo>
                      <a:cubicBezTo>
                        <a:pt x="218" y="178"/>
                        <a:pt x="218" y="178"/>
                        <a:pt x="218" y="178"/>
                      </a:cubicBezTo>
                      <a:cubicBezTo>
                        <a:pt x="228" y="177"/>
                        <a:pt x="237" y="177"/>
                        <a:pt x="246" y="176"/>
                      </a:cubicBezTo>
                      <a:cubicBezTo>
                        <a:pt x="248" y="176"/>
                        <a:pt x="251" y="176"/>
                        <a:pt x="254" y="176"/>
                      </a:cubicBezTo>
                      <a:cubicBezTo>
                        <a:pt x="258" y="175"/>
                        <a:pt x="262" y="175"/>
                        <a:pt x="266" y="175"/>
                      </a:cubicBezTo>
                      <a:cubicBezTo>
                        <a:pt x="281" y="173"/>
                        <a:pt x="295" y="171"/>
                        <a:pt x="306" y="167"/>
                      </a:cubicBezTo>
                      <a:cubicBezTo>
                        <a:pt x="319" y="164"/>
                        <a:pt x="331" y="159"/>
                        <a:pt x="341" y="151"/>
                      </a:cubicBezTo>
                      <a:cubicBezTo>
                        <a:pt x="346" y="146"/>
                        <a:pt x="351" y="141"/>
                        <a:pt x="354" y="134"/>
                      </a:cubicBezTo>
                      <a:cubicBezTo>
                        <a:pt x="357" y="128"/>
                        <a:pt x="359" y="120"/>
                        <a:pt x="359" y="113"/>
                      </a:cubicBezTo>
                      <a:cubicBezTo>
                        <a:pt x="359" y="100"/>
                        <a:pt x="354" y="90"/>
                        <a:pt x="349" y="82"/>
                      </a:cubicBezTo>
                      <a:cubicBezTo>
                        <a:pt x="349" y="82"/>
                        <a:pt x="348" y="81"/>
                        <a:pt x="348" y="80"/>
                      </a:cubicBezTo>
                      <a:cubicBezTo>
                        <a:pt x="339" y="68"/>
                        <a:pt x="328" y="59"/>
                        <a:pt x="317" y="51"/>
                      </a:cubicBezTo>
                      <a:cubicBezTo>
                        <a:pt x="293" y="33"/>
                        <a:pt x="265" y="19"/>
                        <a:pt x="248" y="11"/>
                      </a:cubicBezTo>
                      <a:cubicBezTo>
                        <a:pt x="239" y="7"/>
                        <a:pt x="233" y="4"/>
                        <a:pt x="233" y="4"/>
                      </a:cubicBezTo>
                      <a:cubicBezTo>
                        <a:pt x="230" y="3"/>
                        <a:pt x="227" y="2"/>
                        <a:pt x="224" y="1"/>
                      </a:cubicBezTo>
                      <a:cubicBezTo>
                        <a:pt x="221" y="1"/>
                        <a:pt x="218" y="0"/>
                        <a:pt x="215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cubicBezTo>
                        <a:pt x="57" y="0"/>
                        <a:pt x="54" y="1"/>
                        <a:pt x="51" y="1"/>
                      </a:cubicBezTo>
                      <a:cubicBezTo>
                        <a:pt x="48" y="2"/>
                        <a:pt x="45" y="3"/>
                        <a:pt x="42" y="4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2" y="4"/>
                        <a:pt x="36" y="7"/>
                        <a:pt x="27" y="11"/>
                      </a:cubicBezTo>
                      <a:cubicBezTo>
                        <a:pt x="20" y="14"/>
                        <a:pt x="10" y="19"/>
                        <a:pt x="0" y="24"/>
                      </a:cubicBezTo>
                      <a:cubicBezTo>
                        <a:pt x="8" y="29"/>
                        <a:pt x="15" y="33"/>
                        <a:pt x="21" y="37"/>
                      </a:cubicBezTo>
                      <a:cubicBezTo>
                        <a:pt x="24" y="39"/>
                        <a:pt x="27" y="41"/>
                        <a:pt x="29" y="43"/>
                      </a:cubicBezTo>
                      <a:close/>
                      <a:moveTo>
                        <a:pt x="122" y="38"/>
                      </a:moveTo>
                      <a:cubicBezTo>
                        <a:pt x="137" y="38"/>
                        <a:pt x="137" y="38"/>
                        <a:pt x="137" y="38"/>
                      </a:cubicBezTo>
                      <a:cubicBezTo>
                        <a:pt x="153" y="38"/>
                        <a:pt x="153" y="38"/>
                        <a:pt x="153" y="38"/>
                      </a:cubicBezTo>
                      <a:cubicBezTo>
                        <a:pt x="160" y="68"/>
                        <a:pt x="160" y="68"/>
                        <a:pt x="160" y="68"/>
                      </a:cubicBezTo>
                      <a:cubicBezTo>
                        <a:pt x="159" y="70"/>
                        <a:pt x="159" y="70"/>
                        <a:pt x="159" y="70"/>
                      </a:cubicBezTo>
                      <a:cubicBezTo>
                        <a:pt x="153" y="76"/>
                        <a:pt x="145" y="78"/>
                        <a:pt x="137" y="78"/>
                      </a:cubicBezTo>
                      <a:cubicBezTo>
                        <a:pt x="130" y="78"/>
                        <a:pt x="122" y="76"/>
                        <a:pt x="116" y="70"/>
                      </a:cubicBezTo>
                      <a:cubicBezTo>
                        <a:pt x="115" y="68"/>
                        <a:pt x="115" y="68"/>
                        <a:pt x="115" y="68"/>
                      </a:cubicBezTo>
                      <a:lnTo>
                        <a:pt x="122" y="38"/>
                      </a:ln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4" name="Freeform 425"/>
                <p:cNvSpPr>
                  <a:spLocks/>
                </p:cNvSpPr>
                <p:nvPr/>
              </p:nvSpPr>
              <p:spPr bwMode="gray">
                <a:xfrm>
                  <a:off x="4256801" y="4541881"/>
                  <a:ext cx="423791" cy="389354"/>
                </a:xfrm>
                <a:custGeom>
                  <a:avLst/>
                  <a:gdLst>
                    <a:gd name="T0" fmla="*/ 15 w 532"/>
                    <a:gd name="T1" fmla="*/ 94 h 473"/>
                    <a:gd name="T2" fmla="*/ 103 w 532"/>
                    <a:gd name="T3" fmla="*/ 94 h 473"/>
                    <a:gd name="T4" fmla="*/ 69 w 532"/>
                    <a:gd name="T5" fmla="*/ 202 h 473"/>
                    <a:gd name="T6" fmla="*/ 23 w 532"/>
                    <a:gd name="T7" fmla="*/ 449 h 473"/>
                    <a:gd name="T8" fmla="*/ 22 w 532"/>
                    <a:gd name="T9" fmla="*/ 473 h 473"/>
                    <a:gd name="T10" fmla="*/ 192 w 532"/>
                    <a:gd name="T11" fmla="*/ 473 h 473"/>
                    <a:gd name="T12" fmla="*/ 218 w 532"/>
                    <a:gd name="T13" fmla="*/ 411 h 473"/>
                    <a:gd name="T14" fmla="*/ 222 w 532"/>
                    <a:gd name="T15" fmla="*/ 404 h 473"/>
                    <a:gd name="T16" fmla="*/ 292 w 532"/>
                    <a:gd name="T17" fmla="*/ 297 h 473"/>
                    <a:gd name="T18" fmla="*/ 301 w 532"/>
                    <a:gd name="T19" fmla="*/ 286 h 473"/>
                    <a:gd name="T20" fmla="*/ 321 w 532"/>
                    <a:gd name="T21" fmla="*/ 264 h 473"/>
                    <a:gd name="T22" fmla="*/ 368 w 532"/>
                    <a:gd name="T23" fmla="*/ 220 h 473"/>
                    <a:gd name="T24" fmla="*/ 377 w 532"/>
                    <a:gd name="T25" fmla="*/ 212 h 473"/>
                    <a:gd name="T26" fmla="*/ 423 w 532"/>
                    <a:gd name="T27" fmla="*/ 179 h 473"/>
                    <a:gd name="T28" fmla="*/ 430 w 532"/>
                    <a:gd name="T29" fmla="*/ 175 h 473"/>
                    <a:gd name="T30" fmla="*/ 508 w 532"/>
                    <a:gd name="T31" fmla="*/ 134 h 473"/>
                    <a:gd name="T32" fmla="*/ 517 w 532"/>
                    <a:gd name="T33" fmla="*/ 130 h 473"/>
                    <a:gd name="T34" fmla="*/ 524 w 532"/>
                    <a:gd name="T35" fmla="*/ 127 h 473"/>
                    <a:gd name="T36" fmla="*/ 525 w 532"/>
                    <a:gd name="T37" fmla="*/ 127 h 473"/>
                    <a:gd name="T38" fmla="*/ 532 w 532"/>
                    <a:gd name="T39" fmla="*/ 117 h 473"/>
                    <a:gd name="T40" fmla="*/ 532 w 532"/>
                    <a:gd name="T41" fmla="*/ 0 h 473"/>
                    <a:gd name="T42" fmla="*/ 508 w 532"/>
                    <a:gd name="T43" fmla="*/ 0 h 473"/>
                    <a:gd name="T44" fmla="*/ 496 w 532"/>
                    <a:gd name="T45" fmla="*/ 0 h 473"/>
                    <a:gd name="T46" fmla="*/ 488 w 532"/>
                    <a:gd name="T47" fmla="*/ 0 h 473"/>
                    <a:gd name="T48" fmla="*/ 460 w 532"/>
                    <a:gd name="T49" fmla="*/ 0 h 473"/>
                    <a:gd name="T50" fmla="*/ 425 w 532"/>
                    <a:gd name="T51" fmla="*/ 0 h 473"/>
                    <a:gd name="T52" fmla="*/ 409 w 532"/>
                    <a:gd name="T53" fmla="*/ 0 h 473"/>
                    <a:gd name="T54" fmla="*/ 350 w 532"/>
                    <a:gd name="T55" fmla="*/ 0 h 473"/>
                    <a:gd name="T56" fmla="*/ 333 w 532"/>
                    <a:gd name="T57" fmla="*/ 0 h 473"/>
                    <a:gd name="T58" fmla="*/ 299 w 532"/>
                    <a:gd name="T59" fmla="*/ 0 h 473"/>
                    <a:gd name="T60" fmla="*/ 271 w 532"/>
                    <a:gd name="T61" fmla="*/ 0 h 473"/>
                    <a:gd name="T62" fmla="*/ 263 w 532"/>
                    <a:gd name="T63" fmla="*/ 0 h 473"/>
                    <a:gd name="T64" fmla="*/ 250 w 532"/>
                    <a:gd name="T65" fmla="*/ 0 h 473"/>
                    <a:gd name="T66" fmla="*/ 15 w 532"/>
                    <a:gd name="T67" fmla="*/ 0 h 473"/>
                    <a:gd name="T68" fmla="*/ 0 w 532"/>
                    <a:gd name="T69" fmla="*/ 14 h 473"/>
                    <a:gd name="T70" fmla="*/ 0 w 532"/>
                    <a:gd name="T71" fmla="*/ 80 h 473"/>
                    <a:gd name="T72" fmla="*/ 15 w 532"/>
                    <a:gd name="T73" fmla="*/ 94 h 4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32" h="473">
                      <a:moveTo>
                        <a:pt x="15" y="94"/>
                      </a:moveTo>
                      <a:cubicBezTo>
                        <a:pt x="103" y="94"/>
                        <a:pt x="103" y="94"/>
                        <a:pt x="103" y="94"/>
                      </a:cubicBezTo>
                      <a:cubicBezTo>
                        <a:pt x="98" y="107"/>
                        <a:pt x="84" y="148"/>
                        <a:pt x="69" y="202"/>
                      </a:cubicBezTo>
                      <a:cubicBezTo>
                        <a:pt x="49" y="274"/>
                        <a:pt x="27" y="369"/>
                        <a:pt x="23" y="449"/>
                      </a:cubicBezTo>
                      <a:cubicBezTo>
                        <a:pt x="23" y="457"/>
                        <a:pt x="22" y="465"/>
                        <a:pt x="22" y="473"/>
                      </a:cubicBezTo>
                      <a:cubicBezTo>
                        <a:pt x="114" y="473"/>
                        <a:pt x="192" y="473"/>
                        <a:pt x="192" y="473"/>
                      </a:cubicBezTo>
                      <a:cubicBezTo>
                        <a:pt x="192" y="473"/>
                        <a:pt x="199" y="448"/>
                        <a:pt x="218" y="411"/>
                      </a:cubicBezTo>
                      <a:cubicBezTo>
                        <a:pt x="219" y="408"/>
                        <a:pt x="221" y="406"/>
                        <a:pt x="222" y="404"/>
                      </a:cubicBezTo>
                      <a:cubicBezTo>
                        <a:pt x="238" y="373"/>
                        <a:pt x="261" y="335"/>
                        <a:pt x="292" y="297"/>
                      </a:cubicBezTo>
                      <a:cubicBezTo>
                        <a:pt x="295" y="293"/>
                        <a:pt x="298" y="290"/>
                        <a:pt x="301" y="286"/>
                      </a:cubicBezTo>
                      <a:cubicBezTo>
                        <a:pt x="308" y="279"/>
                        <a:pt x="314" y="271"/>
                        <a:pt x="321" y="264"/>
                      </a:cubicBezTo>
                      <a:cubicBezTo>
                        <a:pt x="335" y="249"/>
                        <a:pt x="351" y="234"/>
                        <a:pt x="368" y="220"/>
                      </a:cubicBezTo>
                      <a:cubicBezTo>
                        <a:pt x="371" y="217"/>
                        <a:pt x="374" y="215"/>
                        <a:pt x="377" y="212"/>
                      </a:cubicBezTo>
                      <a:cubicBezTo>
                        <a:pt x="392" y="201"/>
                        <a:pt x="407" y="190"/>
                        <a:pt x="423" y="179"/>
                      </a:cubicBezTo>
                      <a:cubicBezTo>
                        <a:pt x="425" y="178"/>
                        <a:pt x="427" y="176"/>
                        <a:pt x="430" y="175"/>
                      </a:cubicBezTo>
                      <a:cubicBezTo>
                        <a:pt x="454" y="160"/>
                        <a:pt x="479" y="146"/>
                        <a:pt x="508" y="134"/>
                      </a:cubicBezTo>
                      <a:cubicBezTo>
                        <a:pt x="511" y="133"/>
                        <a:pt x="514" y="131"/>
                        <a:pt x="517" y="130"/>
                      </a:cubicBezTo>
                      <a:cubicBezTo>
                        <a:pt x="519" y="129"/>
                        <a:pt x="522" y="128"/>
                        <a:pt x="524" y="127"/>
                      </a:cubicBezTo>
                      <a:cubicBezTo>
                        <a:pt x="525" y="127"/>
                        <a:pt x="525" y="127"/>
                        <a:pt x="525" y="127"/>
                      </a:cubicBezTo>
                      <a:cubicBezTo>
                        <a:pt x="527" y="123"/>
                        <a:pt x="530" y="120"/>
                        <a:pt x="532" y="117"/>
                      </a:cubicBezTo>
                      <a:cubicBezTo>
                        <a:pt x="532" y="0"/>
                        <a:pt x="532" y="0"/>
                        <a:pt x="532" y="0"/>
                      </a:cubicBezTo>
                      <a:cubicBezTo>
                        <a:pt x="508" y="0"/>
                        <a:pt x="508" y="0"/>
                        <a:pt x="508" y="0"/>
                      </a:cubicBezTo>
                      <a:cubicBezTo>
                        <a:pt x="496" y="0"/>
                        <a:pt x="496" y="0"/>
                        <a:pt x="496" y="0"/>
                      </a:cubicBezTo>
                      <a:cubicBezTo>
                        <a:pt x="488" y="0"/>
                        <a:pt x="488" y="0"/>
                        <a:pt x="488" y="0"/>
                      </a:cubicBezTo>
                      <a:cubicBezTo>
                        <a:pt x="460" y="0"/>
                        <a:pt x="460" y="0"/>
                        <a:pt x="460" y="0"/>
                      </a:cubicBezTo>
                      <a:cubicBezTo>
                        <a:pt x="425" y="0"/>
                        <a:pt x="425" y="0"/>
                        <a:pt x="425" y="0"/>
                      </a:cubicBezTo>
                      <a:cubicBezTo>
                        <a:pt x="409" y="0"/>
                        <a:pt x="409" y="0"/>
                        <a:pt x="409" y="0"/>
                      </a:cubicBezTo>
                      <a:cubicBezTo>
                        <a:pt x="350" y="0"/>
                        <a:pt x="350" y="0"/>
                        <a:pt x="350" y="0"/>
                      </a:cubicBezTo>
                      <a:cubicBezTo>
                        <a:pt x="333" y="0"/>
                        <a:pt x="333" y="0"/>
                        <a:pt x="333" y="0"/>
                      </a:cubicBezTo>
                      <a:cubicBezTo>
                        <a:pt x="299" y="0"/>
                        <a:pt x="299" y="0"/>
                        <a:pt x="299" y="0"/>
                      </a:cubicBezTo>
                      <a:cubicBezTo>
                        <a:pt x="271" y="0"/>
                        <a:pt x="271" y="0"/>
                        <a:pt x="271" y="0"/>
                      </a:cubicBezTo>
                      <a:cubicBezTo>
                        <a:pt x="263" y="0"/>
                        <a:pt x="263" y="0"/>
                        <a:pt x="263" y="0"/>
                      </a:cubicBezTo>
                      <a:cubicBezTo>
                        <a:pt x="250" y="0"/>
                        <a:pt x="250" y="0"/>
                        <a:pt x="25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6"/>
                        <a:pt x="0" y="14"/>
                      </a:cubicBezTo>
                      <a:cubicBezTo>
                        <a:pt x="0" y="80"/>
                        <a:pt x="0" y="80"/>
                        <a:pt x="0" y="80"/>
                      </a:cubicBezTo>
                      <a:cubicBezTo>
                        <a:pt x="0" y="88"/>
                        <a:pt x="7" y="94"/>
                        <a:pt x="15" y="9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5" name="Freeform 426"/>
                <p:cNvSpPr>
                  <a:spLocks/>
                </p:cNvSpPr>
                <p:nvPr/>
              </p:nvSpPr>
              <p:spPr bwMode="gray">
                <a:xfrm>
                  <a:off x="4899237" y="4541881"/>
                  <a:ext cx="269931" cy="77871"/>
                </a:xfrm>
                <a:custGeom>
                  <a:avLst/>
                  <a:gdLst>
                    <a:gd name="T0" fmla="*/ 19 w 100"/>
                    <a:gd name="T1" fmla="*/ 0 h 28"/>
                    <a:gd name="T2" fmla="*/ 16 w 100"/>
                    <a:gd name="T3" fmla="*/ 0 h 28"/>
                    <a:gd name="T4" fmla="*/ 12 w 100"/>
                    <a:gd name="T5" fmla="*/ 0 h 28"/>
                    <a:gd name="T6" fmla="*/ 0 w 100"/>
                    <a:gd name="T7" fmla="*/ 0 h 28"/>
                    <a:gd name="T8" fmla="*/ 0 w 100"/>
                    <a:gd name="T9" fmla="*/ 28 h 28"/>
                    <a:gd name="T10" fmla="*/ 12 w 100"/>
                    <a:gd name="T11" fmla="*/ 28 h 28"/>
                    <a:gd name="T12" fmla="*/ 16 w 100"/>
                    <a:gd name="T13" fmla="*/ 28 h 28"/>
                    <a:gd name="T14" fmla="*/ 19 w 100"/>
                    <a:gd name="T15" fmla="*/ 28 h 28"/>
                    <a:gd name="T16" fmla="*/ 47 w 100"/>
                    <a:gd name="T17" fmla="*/ 28 h 28"/>
                    <a:gd name="T18" fmla="*/ 55 w 100"/>
                    <a:gd name="T19" fmla="*/ 28 h 28"/>
                    <a:gd name="T20" fmla="*/ 83 w 100"/>
                    <a:gd name="T21" fmla="*/ 28 h 28"/>
                    <a:gd name="T22" fmla="*/ 85 w 100"/>
                    <a:gd name="T23" fmla="*/ 28 h 28"/>
                    <a:gd name="T24" fmla="*/ 89 w 100"/>
                    <a:gd name="T25" fmla="*/ 28 h 28"/>
                    <a:gd name="T26" fmla="*/ 100 w 100"/>
                    <a:gd name="T27" fmla="*/ 28 h 28"/>
                    <a:gd name="T28" fmla="*/ 100 w 100"/>
                    <a:gd name="T29" fmla="*/ 0 h 28"/>
                    <a:gd name="T30" fmla="*/ 89 w 100"/>
                    <a:gd name="T31" fmla="*/ 0 h 28"/>
                    <a:gd name="T32" fmla="*/ 85 w 100"/>
                    <a:gd name="T33" fmla="*/ 0 h 28"/>
                    <a:gd name="T34" fmla="*/ 83 w 100"/>
                    <a:gd name="T35" fmla="*/ 0 h 28"/>
                    <a:gd name="T36" fmla="*/ 75 w 100"/>
                    <a:gd name="T37" fmla="*/ 0 h 28"/>
                    <a:gd name="T38" fmla="*/ 64 w 100"/>
                    <a:gd name="T39" fmla="*/ 0 h 28"/>
                    <a:gd name="T40" fmla="*/ 59 w 100"/>
                    <a:gd name="T41" fmla="*/ 0 h 28"/>
                    <a:gd name="T42" fmla="*/ 42 w 100"/>
                    <a:gd name="T43" fmla="*/ 0 h 28"/>
                    <a:gd name="T44" fmla="*/ 37 w 100"/>
                    <a:gd name="T45" fmla="*/ 0 h 28"/>
                    <a:gd name="T46" fmla="*/ 27 w 100"/>
                    <a:gd name="T47" fmla="*/ 0 h 28"/>
                    <a:gd name="T48" fmla="*/ 19 w 100"/>
                    <a:gd name="T49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0" h="28">
                      <a:moveTo>
                        <a:pt x="19" y="0"/>
                      </a:moveTo>
                      <a:lnTo>
                        <a:pt x="16" y="0"/>
                      </a:lnTo>
                      <a:lnTo>
                        <a:pt x="12" y="0"/>
                      </a:lnTo>
                      <a:lnTo>
                        <a:pt x="0" y="0"/>
                      </a:lnTo>
                      <a:lnTo>
                        <a:pt x="0" y="28"/>
                      </a:lnTo>
                      <a:lnTo>
                        <a:pt x="12" y="28"/>
                      </a:lnTo>
                      <a:lnTo>
                        <a:pt x="16" y="28"/>
                      </a:lnTo>
                      <a:lnTo>
                        <a:pt x="19" y="28"/>
                      </a:lnTo>
                      <a:lnTo>
                        <a:pt x="47" y="28"/>
                      </a:lnTo>
                      <a:lnTo>
                        <a:pt x="55" y="28"/>
                      </a:lnTo>
                      <a:lnTo>
                        <a:pt x="83" y="28"/>
                      </a:lnTo>
                      <a:lnTo>
                        <a:pt x="85" y="28"/>
                      </a:lnTo>
                      <a:lnTo>
                        <a:pt x="89" y="28"/>
                      </a:lnTo>
                      <a:lnTo>
                        <a:pt x="100" y="28"/>
                      </a:lnTo>
                      <a:lnTo>
                        <a:pt x="100" y="0"/>
                      </a:lnTo>
                      <a:lnTo>
                        <a:pt x="89" y="0"/>
                      </a:lnTo>
                      <a:lnTo>
                        <a:pt x="85" y="0"/>
                      </a:lnTo>
                      <a:lnTo>
                        <a:pt x="83" y="0"/>
                      </a:lnTo>
                      <a:lnTo>
                        <a:pt x="75" y="0"/>
                      </a:lnTo>
                      <a:lnTo>
                        <a:pt x="64" y="0"/>
                      </a:lnTo>
                      <a:lnTo>
                        <a:pt x="59" y="0"/>
                      </a:lnTo>
                      <a:lnTo>
                        <a:pt x="42" y="0"/>
                      </a:lnTo>
                      <a:lnTo>
                        <a:pt x="37" y="0"/>
                      </a:lnTo>
                      <a:lnTo>
                        <a:pt x="27" y="0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6" name="Freeform 427"/>
                <p:cNvSpPr>
                  <a:spLocks/>
                </p:cNvSpPr>
                <p:nvPr/>
              </p:nvSpPr>
              <p:spPr bwMode="gray">
                <a:xfrm>
                  <a:off x="4904145" y="4541881"/>
                  <a:ext cx="426491" cy="389354"/>
                </a:xfrm>
                <a:custGeom>
                  <a:avLst/>
                  <a:gdLst>
                    <a:gd name="T0" fmla="*/ 184 w 533"/>
                    <a:gd name="T1" fmla="*/ 0 h 473"/>
                    <a:gd name="T2" fmla="*/ 125 w 533"/>
                    <a:gd name="T3" fmla="*/ 0 h 473"/>
                    <a:gd name="T4" fmla="*/ 108 w 533"/>
                    <a:gd name="T5" fmla="*/ 0 h 473"/>
                    <a:gd name="T6" fmla="*/ 74 w 533"/>
                    <a:gd name="T7" fmla="*/ 0 h 473"/>
                    <a:gd name="T8" fmla="*/ 46 w 533"/>
                    <a:gd name="T9" fmla="*/ 0 h 473"/>
                    <a:gd name="T10" fmla="*/ 38 w 533"/>
                    <a:gd name="T11" fmla="*/ 0 h 473"/>
                    <a:gd name="T12" fmla="*/ 25 w 533"/>
                    <a:gd name="T13" fmla="*/ 0 h 473"/>
                    <a:gd name="T14" fmla="*/ 0 w 533"/>
                    <a:gd name="T15" fmla="*/ 0 h 473"/>
                    <a:gd name="T16" fmla="*/ 0 w 533"/>
                    <a:gd name="T17" fmla="*/ 115 h 473"/>
                    <a:gd name="T18" fmla="*/ 9 w 533"/>
                    <a:gd name="T19" fmla="*/ 127 h 473"/>
                    <a:gd name="T20" fmla="*/ 9 w 533"/>
                    <a:gd name="T21" fmla="*/ 127 h 473"/>
                    <a:gd name="T22" fmla="*/ 17 w 533"/>
                    <a:gd name="T23" fmla="*/ 130 h 473"/>
                    <a:gd name="T24" fmla="*/ 25 w 533"/>
                    <a:gd name="T25" fmla="*/ 133 h 473"/>
                    <a:gd name="T26" fmla="*/ 104 w 533"/>
                    <a:gd name="T27" fmla="*/ 175 h 473"/>
                    <a:gd name="T28" fmla="*/ 111 w 533"/>
                    <a:gd name="T29" fmla="*/ 179 h 473"/>
                    <a:gd name="T30" fmla="*/ 156 w 533"/>
                    <a:gd name="T31" fmla="*/ 212 h 473"/>
                    <a:gd name="T32" fmla="*/ 166 w 533"/>
                    <a:gd name="T33" fmla="*/ 220 h 473"/>
                    <a:gd name="T34" fmla="*/ 213 w 533"/>
                    <a:gd name="T35" fmla="*/ 264 h 473"/>
                    <a:gd name="T36" fmla="*/ 232 w 533"/>
                    <a:gd name="T37" fmla="*/ 286 h 473"/>
                    <a:gd name="T38" fmla="*/ 241 w 533"/>
                    <a:gd name="T39" fmla="*/ 297 h 473"/>
                    <a:gd name="T40" fmla="*/ 312 w 533"/>
                    <a:gd name="T41" fmla="*/ 404 h 473"/>
                    <a:gd name="T42" fmla="*/ 316 w 533"/>
                    <a:gd name="T43" fmla="*/ 411 h 473"/>
                    <a:gd name="T44" fmla="*/ 342 w 533"/>
                    <a:gd name="T45" fmla="*/ 473 h 473"/>
                    <a:gd name="T46" fmla="*/ 511 w 533"/>
                    <a:gd name="T47" fmla="*/ 473 h 473"/>
                    <a:gd name="T48" fmla="*/ 511 w 533"/>
                    <a:gd name="T49" fmla="*/ 449 h 473"/>
                    <a:gd name="T50" fmla="*/ 464 w 533"/>
                    <a:gd name="T51" fmla="*/ 202 h 473"/>
                    <a:gd name="T52" fmla="*/ 431 w 533"/>
                    <a:gd name="T53" fmla="*/ 94 h 473"/>
                    <a:gd name="T54" fmla="*/ 519 w 533"/>
                    <a:gd name="T55" fmla="*/ 94 h 473"/>
                    <a:gd name="T56" fmla="*/ 533 w 533"/>
                    <a:gd name="T57" fmla="*/ 80 h 473"/>
                    <a:gd name="T58" fmla="*/ 533 w 533"/>
                    <a:gd name="T59" fmla="*/ 14 h 473"/>
                    <a:gd name="T60" fmla="*/ 519 w 533"/>
                    <a:gd name="T61" fmla="*/ 0 h 473"/>
                    <a:gd name="T62" fmla="*/ 283 w 533"/>
                    <a:gd name="T63" fmla="*/ 0 h 473"/>
                    <a:gd name="T64" fmla="*/ 271 w 533"/>
                    <a:gd name="T65" fmla="*/ 0 h 473"/>
                    <a:gd name="T66" fmla="*/ 263 w 533"/>
                    <a:gd name="T67" fmla="*/ 0 h 473"/>
                    <a:gd name="T68" fmla="*/ 235 w 533"/>
                    <a:gd name="T69" fmla="*/ 0 h 473"/>
                    <a:gd name="T70" fmla="*/ 200 w 533"/>
                    <a:gd name="T71" fmla="*/ 0 h 473"/>
                    <a:gd name="T72" fmla="*/ 184 w 533"/>
                    <a:gd name="T73" fmla="*/ 0 h 4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33" h="473">
                      <a:moveTo>
                        <a:pt x="184" y="0"/>
                      </a:moveTo>
                      <a:cubicBezTo>
                        <a:pt x="125" y="0"/>
                        <a:pt x="125" y="0"/>
                        <a:pt x="125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74" y="0"/>
                        <a:pt x="74" y="0"/>
                        <a:pt x="74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3" y="119"/>
                        <a:pt x="6" y="123"/>
                        <a:pt x="9" y="127"/>
                      </a:cubicBezTo>
                      <a:cubicBezTo>
                        <a:pt x="9" y="127"/>
                        <a:pt x="9" y="127"/>
                        <a:pt x="9" y="127"/>
                      </a:cubicBezTo>
                      <a:cubicBezTo>
                        <a:pt x="12" y="128"/>
                        <a:pt x="14" y="129"/>
                        <a:pt x="17" y="130"/>
                      </a:cubicBezTo>
                      <a:cubicBezTo>
                        <a:pt x="19" y="131"/>
                        <a:pt x="22" y="132"/>
                        <a:pt x="25" y="133"/>
                      </a:cubicBezTo>
                      <a:cubicBezTo>
                        <a:pt x="53" y="145"/>
                        <a:pt x="80" y="159"/>
                        <a:pt x="104" y="175"/>
                      </a:cubicBezTo>
                      <a:cubicBezTo>
                        <a:pt x="106" y="176"/>
                        <a:pt x="109" y="178"/>
                        <a:pt x="111" y="179"/>
                      </a:cubicBezTo>
                      <a:cubicBezTo>
                        <a:pt x="127" y="190"/>
                        <a:pt x="142" y="201"/>
                        <a:pt x="156" y="212"/>
                      </a:cubicBezTo>
                      <a:cubicBezTo>
                        <a:pt x="160" y="215"/>
                        <a:pt x="163" y="217"/>
                        <a:pt x="166" y="220"/>
                      </a:cubicBezTo>
                      <a:cubicBezTo>
                        <a:pt x="183" y="234"/>
                        <a:pt x="199" y="249"/>
                        <a:pt x="213" y="264"/>
                      </a:cubicBezTo>
                      <a:cubicBezTo>
                        <a:pt x="220" y="271"/>
                        <a:pt x="226" y="279"/>
                        <a:pt x="232" y="286"/>
                      </a:cubicBezTo>
                      <a:cubicBezTo>
                        <a:pt x="235" y="290"/>
                        <a:pt x="239" y="293"/>
                        <a:pt x="241" y="297"/>
                      </a:cubicBezTo>
                      <a:cubicBezTo>
                        <a:pt x="273" y="335"/>
                        <a:pt x="296" y="373"/>
                        <a:pt x="312" y="404"/>
                      </a:cubicBezTo>
                      <a:cubicBezTo>
                        <a:pt x="313" y="406"/>
                        <a:pt x="314" y="408"/>
                        <a:pt x="316" y="411"/>
                      </a:cubicBezTo>
                      <a:cubicBezTo>
                        <a:pt x="334" y="448"/>
                        <a:pt x="342" y="473"/>
                        <a:pt x="342" y="473"/>
                      </a:cubicBezTo>
                      <a:cubicBezTo>
                        <a:pt x="342" y="473"/>
                        <a:pt x="419" y="473"/>
                        <a:pt x="511" y="473"/>
                      </a:cubicBezTo>
                      <a:cubicBezTo>
                        <a:pt x="511" y="465"/>
                        <a:pt x="511" y="457"/>
                        <a:pt x="511" y="449"/>
                      </a:cubicBezTo>
                      <a:cubicBezTo>
                        <a:pt x="507" y="369"/>
                        <a:pt x="485" y="274"/>
                        <a:pt x="464" y="202"/>
                      </a:cubicBezTo>
                      <a:cubicBezTo>
                        <a:pt x="449" y="148"/>
                        <a:pt x="435" y="107"/>
                        <a:pt x="431" y="94"/>
                      </a:cubicBezTo>
                      <a:cubicBezTo>
                        <a:pt x="519" y="94"/>
                        <a:pt x="519" y="94"/>
                        <a:pt x="519" y="94"/>
                      </a:cubicBezTo>
                      <a:cubicBezTo>
                        <a:pt x="527" y="94"/>
                        <a:pt x="533" y="88"/>
                        <a:pt x="533" y="80"/>
                      </a:cubicBezTo>
                      <a:cubicBezTo>
                        <a:pt x="533" y="14"/>
                        <a:pt x="533" y="14"/>
                        <a:pt x="533" y="14"/>
                      </a:cubicBezTo>
                      <a:cubicBezTo>
                        <a:pt x="533" y="6"/>
                        <a:pt x="527" y="0"/>
                        <a:pt x="519" y="0"/>
                      </a:cubicBezTo>
                      <a:cubicBezTo>
                        <a:pt x="283" y="0"/>
                        <a:pt x="283" y="0"/>
                        <a:pt x="283" y="0"/>
                      </a:cubicBezTo>
                      <a:cubicBezTo>
                        <a:pt x="271" y="0"/>
                        <a:pt x="271" y="0"/>
                        <a:pt x="271" y="0"/>
                      </a:cubicBezTo>
                      <a:cubicBezTo>
                        <a:pt x="263" y="0"/>
                        <a:pt x="263" y="0"/>
                        <a:pt x="263" y="0"/>
                      </a:cubicBezTo>
                      <a:cubicBezTo>
                        <a:pt x="235" y="0"/>
                        <a:pt x="235" y="0"/>
                        <a:pt x="235" y="0"/>
                      </a:cubicBezTo>
                      <a:cubicBezTo>
                        <a:pt x="200" y="0"/>
                        <a:pt x="200" y="0"/>
                        <a:pt x="200" y="0"/>
                      </a:cubicBezTo>
                      <a:lnTo>
                        <a:pt x="184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7" name="Freeform 428"/>
                <p:cNvSpPr>
                  <a:spLocks/>
                </p:cNvSpPr>
                <p:nvPr/>
              </p:nvSpPr>
              <p:spPr bwMode="gray">
                <a:xfrm>
                  <a:off x="4710286" y="4210929"/>
                  <a:ext cx="164657" cy="169648"/>
                </a:xfrm>
                <a:custGeom>
                  <a:avLst/>
                  <a:gdLst>
                    <a:gd name="T0" fmla="*/ 124 w 206"/>
                    <a:gd name="T1" fmla="*/ 194 h 206"/>
                    <a:gd name="T2" fmla="*/ 194 w 206"/>
                    <a:gd name="T3" fmla="*/ 82 h 206"/>
                    <a:gd name="T4" fmla="*/ 82 w 206"/>
                    <a:gd name="T5" fmla="*/ 11 h 206"/>
                    <a:gd name="T6" fmla="*/ 11 w 206"/>
                    <a:gd name="T7" fmla="*/ 124 h 206"/>
                    <a:gd name="T8" fmla="*/ 124 w 206"/>
                    <a:gd name="T9" fmla="*/ 194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06" h="206">
                      <a:moveTo>
                        <a:pt x="124" y="194"/>
                      </a:moveTo>
                      <a:cubicBezTo>
                        <a:pt x="175" y="183"/>
                        <a:pt x="206" y="132"/>
                        <a:pt x="194" y="82"/>
                      </a:cubicBezTo>
                      <a:cubicBezTo>
                        <a:pt x="183" y="31"/>
                        <a:pt x="132" y="0"/>
                        <a:pt x="82" y="11"/>
                      </a:cubicBezTo>
                      <a:cubicBezTo>
                        <a:pt x="31" y="23"/>
                        <a:pt x="0" y="74"/>
                        <a:pt x="11" y="124"/>
                      </a:cubicBezTo>
                      <a:cubicBezTo>
                        <a:pt x="23" y="175"/>
                        <a:pt x="74" y="206"/>
                        <a:pt x="124" y="194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8" name="Freeform 429"/>
                <p:cNvSpPr>
                  <a:spLocks/>
                </p:cNvSpPr>
                <p:nvPr/>
              </p:nvSpPr>
              <p:spPr bwMode="gray">
                <a:xfrm>
                  <a:off x="4688691" y="4466790"/>
                  <a:ext cx="10797" cy="8344"/>
                </a:xfrm>
                <a:custGeom>
                  <a:avLst/>
                  <a:gdLst>
                    <a:gd name="T0" fmla="*/ 12 w 12"/>
                    <a:gd name="T1" fmla="*/ 0 h 9"/>
                    <a:gd name="T2" fmla="*/ 0 w 12"/>
                    <a:gd name="T3" fmla="*/ 7 h 9"/>
                    <a:gd name="T4" fmla="*/ 12 w 12"/>
                    <a:gd name="T5" fmla="*/ 9 h 9"/>
                    <a:gd name="T6" fmla="*/ 12 w 12"/>
                    <a:gd name="T7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9">
                      <a:moveTo>
                        <a:pt x="12" y="0"/>
                      </a:moveTo>
                      <a:cubicBezTo>
                        <a:pt x="8" y="3"/>
                        <a:pt x="4" y="5"/>
                        <a:pt x="0" y="7"/>
                      </a:cubicBezTo>
                      <a:cubicBezTo>
                        <a:pt x="4" y="8"/>
                        <a:pt x="8" y="8"/>
                        <a:pt x="12" y="9"/>
                      </a:cubicBez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9" name="Freeform 430"/>
                <p:cNvSpPr>
                  <a:spLocks/>
                </p:cNvSpPr>
                <p:nvPr/>
              </p:nvSpPr>
              <p:spPr bwMode="gray">
                <a:xfrm>
                  <a:off x="4885740" y="4466790"/>
                  <a:ext cx="8097" cy="8344"/>
                </a:xfrm>
                <a:custGeom>
                  <a:avLst/>
                  <a:gdLst>
                    <a:gd name="T0" fmla="*/ 4 w 11"/>
                    <a:gd name="T1" fmla="*/ 3 h 9"/>
                    <a:gd name="T2" fmla="*/ 0 w 11"/>
                    <a:gd name="T3" fmla="*/ 0 h 9"/>
                    <a:gd name="T4" fmla="*/ 0 w 11"/>
                    <a:gd name="T5" fmla="*/ 9 h 9"/>
                    <a:gd name="T6" fmla="*/ 11 w 11"/>
                    <a:gd name="T7" fmla="*/ 7 h 9"/>
                    <a:gd name="T8" fmla="*/ 4 w 11"/>
                    <a:gd name="T9" fmla="*/ 3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9">
                      <a:moveTo>
                        <a:pt x="4" y="3"/>
                      </a:moveTo>
                      <a:cubicBezTo>
                        <a:pt x="3" y="2"/>
                        <a:pt x="2" y="1"/>
                        <a:pt x="0" y="0"/>
                      </a:cubicBez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4" y="8"/>
                        <a:pt x="8" y="8"/>
                        <a:pt x="11" y="7"/>
                      </a:cubicBezTo>
                      <a:cubicBezTo>
                        <a:pt x="9" y="6"/>
                        <a:pt x="7" y="4"/>
                        <a:pt x="4" y="3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0" name="Freeform 431"/>
                <p:cNvSpPr>
                  <a:spLocks noEditPoints="1"/>
                </p:cNvSpPr>
                <p:nvPr/>
              </p:nvSpPr>
              <p:spPr bwMode="gray">
                <a:xfrm>
                  <a:off x="4615809" y="4388919"/>
                  <a:ext cx="353609" cy="144617"/>
                </a:xfrm>
                <a:custGeom>
                  <a:avLst/>
                  <a:gdLst>
                    <a:gd name="T0" fmla="*/ 5 w 444"/>
                    <a:gd name="T1" fmla="*/ 134 h 174"/>
                    <a:gd name="T2" fmla="*/ 31 w 444"/>
                    <a:gd name="T3" fmla="*/ 159 h 174"/>
                    <a:gd name="T4" fmla="*/ 48 w 444"/>
                    <a:gd name="T5" fmla="*/ 166 h 174"/>
                    <a:gd name="T6" fmla="*/ 77 w 444"/>
                    <a:gd name="T7" fmla="*/ 172 h 174"/>
                    <a:gd name="T8" fmla="*/ 84 w 444"/>
                    <a:gd name="T9" fmla="*/ 171 h 174"/>
                    <a:gd name="T10" fmla="*/ 108 w 444"/>
                    <a:gd name="T11" fmla="*/ 126 h 174"/>
                    <a:gd name="T12" fmla="*/ 160 w 444"/>
                    <a:gd name="T13" fmla="*/ 126 h 174"/>
                    <a:gd name="T14" fmla="*/ 308 w 444"/>
                    <a:gd name="T15" fmla="*/ 126 h 174"/>
                    <a:gd name="T16" fmla="*/ 358 w 444"/>
                    <a:gd name="T17" fmla="*/ 150 h 174"/>
                    <a:gd name="T18" fmla="*/ 358 w 444"/>
                    <a:gd name="T19" fmla="*/ 174 h 174"/>
                    <a:gd name="T20" fmla="*/ 390 w 444"/>
                    <a:gd name="T21" fmla="*/ 167 h 174"/>
                    <a:gd name="T22" fmla="*/ 412 w 444"/>
                    <a:gd name="T23" fmla="*/ 159 h 174"/>
                    <a:gd name="T24" fmla="*/ 425 w 444"/>
                    <a:gd name="T25" fmla="*/ 151 h 174"/>
                    <a:gd name="T26" fmla="*/ 439 w 444"/>
                    <a:gd name="T27" fmla="*/ 134 h 174"/>
                    <a:gd name="T28" fmla="*/ 444 w 444"/>
                    <a:gd name="T29" fmla="*/ 113 h 174"/>
                    <a:gd name="T30" fmla="*/ 434 w 444"/>
                    <a:gd name="T31" fmla="*/ 82 h 174"/>
                    <a:gd name="T32" fmla="*/ 420 w 444"/>
                    <a:gd name="T33" fmla="*/ 66 h 174"/>
                    <a:gd name="T34" fmla="*/ 401 w 444"/>
                    <a:gd name="T35" fmla="*/ 51 h 174"/>
                    <a:gd name="T36" fmla="*/ 317 w 444"/>
                    <a:gd name="T37" fmla="*/ 4 h 174"/>
                    <a:gd name="T38" fmla="*/ 299 w 444"/>
                    <a:gd name="T39" fmla="*/ 0 h 174"/>
                    <a:gd name="T40" fmla="*/ 135 w 444"/>
                    <a:gd name="T41" fmla="*/ 1 h 174"/>
                    <a:gd name="T42" fmla="*/ 127 w 444"/>
                    <a:gd name="T43" fmla="*/ 4 h 174"/>
                    <a:gd name="T44" fmla="*/ 70 w 444"/>
                    <a:gd name="T45" fmla="*/ 33 h 174"/>
                    <a:gd name="T46" fmla="*/ 40 w 444"/>
                    <a:gd name="T47" fmla="*/ 53 h 174"/>
                    <a:gd name="T48" fmla="*/ 19 w 444"/>
                    <a:gd name="T49" fmla="*/ 71 h 174"/>
                    <a:gd name="T50" fmla="*/ 1 w 444"/>
                    <a:gd name="T51" fmla="*/ 106 h 174"/>
                    <a:gd name="T52" fmla="*/ 0 w 444"/>
                    <a:gd name="T53" fmla="*/ 114 h 174"/>
                    <a:gd name="T54" fmla="*/ 114 w 444"/>
                    <a:gd name="T55" fmla="*/ 81 h 174"/>
                    <a:gd name="T56" fmla="*/ 114 w 444"/>
                    <a:gd name="T57" fmla="*/ 112 h 174"/>
                    <a:gd name="T58" fmla="*/ 74 w 444"/>
                    <a:gd name="T59" fmla="*/ 107 h 174"/>
                    <a:gd name="T60" fmla="*/ 94 w 444"/>
                    <a:gd name="T61" fmla="*/ 93 h 174"/>
                    <a:gd name="T62" fmla="*/ 337 w 444"/>
                    <a:gd name="T63" fmla="*/ 85 h 174"/>
                    <a:gd name="T64" fmla="*/ 369 w 444"/>
                    <a:gd name="T65" fmla="*/ 107 h 174"/>
                    <a:gd name="T66" fmla="*/ 330 w 444"/>
                    <a:gd name="T67" fmla="*/ 112 h 174"/>
                    <a:gd name="T68" fmla="*/ 330 w 444"/>
                    <a:gd name="T69" fmla="*/ 81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444" h="174">
                      <a:moveTo>
                        <a:pt x="0" y="114"/>
                      </a:moveTo>
                      <a:cubicBezTo>
                        <a:pt x="0" y="121"/>
                        <a:pt x="2" y="128"/>
                        <a:pt x="5" y="134"/>
                      </a:cubicBezTo>
                      <a:cubicBezTo>
                        <a:pt x="5" y="134"/>
                        <a:pt x="5" y="134"/>
                        <a:pt x="5" y="134"/>
                      </a:cubicBezTo>
                      <a:cubicBezTo>
                        <a:pt x="11" y="146"/>
                        <a:pt x="21" y="153"/>
                        <a:pt x="31" y="159"/>
                      </a:cubicBezTo>
                      <a:cubicBezTo>
                        <a:pt x="33" y="160"/>
                        <a:pt x="36" y="161"/>
                        <a:pt x="40" y="163"/>
                      </a:cubicBezTo>
                      <a:cubicBezTo>
                        <a:pt x="42" y="164"/>
                        <a:pt x="45" y="165"/>
                        <a:pt x="48" y="166"/>
                      </a:cubicBezTo>
                      <a:cubicBezTo>
                        <a:pt x="51" y="167"/>
                        <a:pt x="55" y="168"/>
                        <a:pt x="60" y="169"/>
                      </a:cubicBezTo>
                      <a:cubicBezTo>
                        <a:pt x="65" y="170"/>
                        <a:pt x="71" y="171"/>
                        <a:pt x="77" y="172"/>
                      </a:cubicBezTo>
                      <a:cubicBezTo>
                        <a:pt x="79" y="173"/>
                        <a:pt x="82" y="173"/>
                        <a:pt x="84" y="173"/>
                      </a:cubicBezTo>
                      <a:cubicBezTo>
                        <a:pt x="84" y="171"/>
                        <a:pt x="84" y="171"/>
                        <a:pt x="84" y="171"/>
                      </a:cubicBezTo>
                      <a:cubicBezTo>
                        <a:pt x="84" y="150"/>
                        <a:pt x="84" y="150"/>
                        <a:pt x="84" y="150"/>
                      </a:cubicBezTo>
                      <a:cubicBezTo>
                        <a:pt x="84" y="137"/>
                        <a:pt x="95" y="126"/>
                        <a:pt x="108" y="126"/>
                      </a:cubicBezTo>
                      <a:cubicBezTo>
                        <a:pt x="151" y="126"/>
                        <a:pt x="151" y="126"/>
                        <a:pt x="151" y="126"/>
                      </a:cubicBezTo>
                      <a:cubicBezTo>
                        <a:pt x="160" y="126"/>
                        <a:pt x="160" y="126"/>
                        <a:pt x="160" y="126"/>
                      </a:cubicBezTo>
                      <a:cubicBezTo>
                        <a:pt x="300" y="126"/>
                        <a:pt x="300" y="126"/>
                        <a:pt x="300" y="126"/>
                      </a:cubicBezTo>
                      <a:cubicBezTo>
                        <a:pt x="308" y="126"/>
                        <a:pt x="308" y="126"/>
                        <a:pt x="308" y="126"/>
                      </a:cubicBezTo>
                      <a:cubicBezTo>
                        <a:pt x="334" y="126"/>
                        <a:pt x="334" y="126"/>
                        <a:pt x="334" y="126"/>
                      </a:cubicBezTo>
                      <a:cubicBezTo>
                        <a:pt x="347" y="126"/>
                        <a:pt x="358" y="137"/>
                        <a:pt x="358" y="150"/>
                      </a:cubicBezTo>
                      <a:cubicBezTo>
                        <a:pt x="358" y="167"/>
                        <a:pt x="358" y="167"/>
                        <a:pt x="358" y="167"/>
                      </a:cubicBezTo>
                      <a:cubicBezTo>
                        <a:pt x="358" y="174"/>
                        <a:pt x="358" y="174"/>
                        <a:pt x="358" y="174"/>
                      </a:cubicBezTo>
                      <a:cubicBezTo>
                        <a:pt x="364" y="173"/>
                        <a:pt x="370" y="172"/>
                        <a:pt x="375" y="171"/>
                      </a:cubicBezTo>
                      <a:cubicBezTo>
                        <a:pt x="380" y="170"/>
                        <a:pt x="386" y="169"/>
                        <a:pt x="390" y="167"/>
                      </a:cubicBezTo>
                      <a:cubicBezTo>
                        <a:pt x="393" y="167"/>
                        <a:pt x="396" y="166"/>
                        <a:pt x="398" y="165"/>
                      </a:cubicBezTo>
                      <a:cubicBezTo>
                        <a:pt x="403" y="163"/>
                        <a:pt x="407" y="162"/>
                        <a:pt x="412" y="159"/>
                      </a:cubicBezTo>
                      <a:cubicBezTo>
                        <a:pt x="414" y="158"/>
                        <a:pt x="417" y="156"/>
                        <a:pt x="420" y="155"/>
                      </a:cubicBezTo>
                      <a:cubicBezTo>
                        <a:pt x="422" y="153"/>
                        <a:pt x="423" y="152"/>
                        <a:pt x="425" y="151"/>
                      </a:cubicBezTo>
                      <a:cubicBezTo>
                        <a:pt x="430" y="146"/>
                        <a:pt x="435" y="141"/>
                        <a:pt x="439" y="134"/>
                      </a:cubicBezTo>
                      <a:cubicBezTo>
                        <a:pt x="439" y="134"/>
                        <a:pt x="439" y="134"/>
                        <a:pt x="439" y="134"/>
                      </a:cubicBezTo>
                      <a:cubicBezTo>
                        <a:pt x="442" y="128"/>
                        <a:pt x="444" y="120"/>
                        <a:pt x="444" y="114"/>
                      </a:cubicBezTo>
                      <a:cubicBezTo>
                        <a:pt x="444" y="113"/>
                        <a:pt x="444" y="113"/>
                        <a:pt x="444" y="113"/>
                      </a:cubicBezTo>
                      <a:cubicBezTo>
                        <a:pt x="444" y="110"/>
                        <a:pt x="443" y="108"/>
                        <a:pt x="443" y="106"/>
                      </a:cubicBezTo>
                      <a:cubicBezTo>
                        <a:pt x="442" y="96"/>
                        <a:pt x="438" y="89"/>
                        <a:pt x="434" y="82"/>
                      </a:cubicBezTo>
                      <a:cubicBezTo>
                        <a:pt x="432" y="80"/>
                        <a:pt x="431" y="78"/>
                        <a:pt x="429" y="76"/>
                      </a:cubicBezTo>
                      <a:cubicBezTo>
                        <a:pt x="426" y="73"/>
                        <a:pt x="423" y="69"/>
                        <a:pt x="420" y="66"/>
                      </a:cubicBezTo>
                      <a:cubicBezTo>
                        <a:pt x="417" y="63"/>
                        <a:pt x="414" y="61"/>
                        <a:pt x="412" y="59"/>
                      </a:cubicBezTo>
                      <a:cubicBezTo>
                        <a:pt x="408" y="56"/>
                        <a:pt x="405" y="53"/>
                        <a:pt x="401" y="51"/>
                      </a:cubicBezTo>
                      <a:cubicBezTo>
                        <a:pt x="393" y="44"/>
                        <a:pt x="384" y="39"/>
                        <a:pt x="375" y="33"/>
                      </a:cubicBezTo>
                      <a:cubicBezTo>
                        <a:pt x="346" y="16"/>
                        <a:pt x="318" y="4"/>
                        <a:pt x="317" y="4"/>
                      </a:cubicBezTo>
                      <a:cubicBezTo>
                        <a:pt x="314" y="3"/>
                        <a:pt x="311" y="2"/>
                        <a:pt x="308" y="1"/>
                      </a:cubicBezTo>
                      <a:cubicBezTo>
                        <a:pt x="306" y="1"/>
                        <a:pt x="302" y="0"/>
                        <a:pt x="299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1" y="0"/>
                        <a:pt x="138" y="1"/>
                        <a:pt x="135" y="1"/>
                      </a:cubicBezTo>
                      <a:cubicBezTo>
                        <a:pt x="132" y="2"/>
                        <a:pt x="130" y="3"/>
                        <a:pt x="127" y="4"/>
                      </a:cubicBezTo>
                      <a:cubicBezTo>
                        <a:pt x="127" y="4"/>
                        <a:pt x="127" y="4"/>
                        <a:pt x="127" y="4"/>
                      </a:cubicBezTo>
                      <a:cubicBezTo>
                        <a:pt x="126" y="4"/>
                        <a:pt x="103" y="14"/>
                        <a:pt x="77" y="29"/>
                      </a:cubicBezTo>
                      <a:cubicBezTo>
                        <a:pt x="74" y="30"/>
                        <a:pt x="72" y="32"/>
                        <a:pt x="70" y="33"/>
                      </a:cubicBezTo>
                      <a:cubicBezTo>
                        <a:pt x="62" y="37"/>
                        <a:pt x="55" y="42"/>
                        <a:pt x="48" y="47"/>
                      </a:cubicBezTo>
                      <a:cubicBezTo>
                        <a:pt x="45" y="49"/>
                        <a:pt x="42" y="51"/>
                        <a:pt x="40" y="53"/>
                      </a:cubicBezTo>
                      <a:cubicBezTo>
                        <a:pt x="35" y="56"/>
                        <a:pt x="31" y="59"/>
                        <a:pt x="27" y="63"/>
                      </a:cubicBezTo>
                      <a:cubicBezTo>
                        <a:pt x="25" y="65"/>
                        <a:pt x="22" y="68"/>
                        <a:pt x="19" y="71"/>
                      </a:cubicBezTo>
                      <a:cubicBezTo>
                        <a:pt x="16" y="74"/>
                        <a:pt x="13" y="78"/>
                        <a:pt x="10" y="82"/>
                      </a:cubicBezTo>
                      <a:cubicBezTo>
                        <a:pt x="6" y="89"/>
                        <a:pt x="2" y="96"/>
                        <a:pt x="1" y="106"/>
                      </a:cubicBezTo>
                      <a:cubicBezTo>
                        <a:pt x="0" y="108"/>
                        <a:pt x="0" y="111"/>
                        <a:pt x="0" y="113"/>
                      </a:cubicBezTo>
                      <a:cubicBezTo>
                        <a:pt x="0" y="113"/>
                        <a:pt x="0" y="114"/>
                        <a:pt x="0" y="114"/>
                      </a:cubicBezTo>
                      <a:close/>
                      <a:moveTo>
                        <a:pt x="94" y="93"/>
                      </a:moveTo>
                      <a:cubicBezTo>
                        <a:pt x="101" y="89"/>
                        <a:pt x="107" y="85"/>
                        <a:pt x="114" y="81"/>
                      </a:cubicBezTo>
                      <a:cubicBezTo>
                        <a:pt x="114" y="88"/>
                        <a:pt x="114" y="88"/>
                        <a:pt x="114" y="88"/>
                      </a:cubicBezTo>
                      <a:cubicBezTo>
                        <a:pt x="114" y="112"/>
                        <a:pt x="114" y="112"/>
                        <a:pt x="114" y="112"/>
                      </a:cubicBezTo>
                      <a:cubicBezTo>
                        <a:pt x="98" y="111"/>
                        <a:pt x="86" y="109"/>
                        <a:pt x="77" y="107"/>
                      </a:cubicBezTo>
                      <a:cubicBezTo>
                        <a:pt x="76" y="107"/>
                        <a:pt x="75" y="107"/>
                        <a:pt x="74" y="107"/>
                      </a:cubicBezTo>
                      <a:cubicBezTo>
                        <a:pt x="75" y="106"/>
                        <a:pt x="76" y="106"/>
                        <a:pt x="77" y="105"/>
                      </a:cubicBezTo>
                      <a:cubicBezTo>
                        <a:pt x="82" y="101"/>
                        <a:pt x="88" y="97"/>
                        <a:pt x="94" y="93"/>
                      </a:cubicBezTo>
                      <a:close/>
                      <a:moveTo>
                        <a:pt x="330" y="81"/>
                      </a:moveTo>
                      <a:cubicBezTo>
                        <a:pt x="332" y="83"/>
                        <a:pt x="335" y="84"/>
                        <a:pt x="337" y="85"/>
                      </a:cubicBezTo>
                      <a:cubicBezTo>
                        <a:pt x="340" y="87"/>
                        <a:pt x="343" y="89"/>
                        <a:pt x="346" y="91"/>
                      </a:cubicBezTo>
                      <a:cubicBezTo>
                        <a:pt x="355" y="96"/>
                        <a:pt x="363" y="102"/>
                        <a:pt x="369" y="107"/>
                      </a:cubicBezTo>
                      <a:cubicBezTo>
                        <a:pt x="366" y="108"/>
                        <a:pt x="361" y="109"/>
                        <a:pt x="356" y="109"/>
                      </a:cubicBezTo>
                      <a:cubicBezTo>
                        <a:pt x="348" y="111"/>
                        <a:pt x="340" y="111"/>
                        <a:pt x="330" y="112"/>
                      </a:cubicBezTo>
                      <a:cubicBezTo>
                        <a:pt x="330" y="84"/>
                        <a:pt x="330" y="84"/>
                        <a:pt x="330" y="84"/>
                      </a:cubicBezTo>
                      <a:lnTo>
                        <a:pt x="330" y="81"/>
                      </a:ln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1" name="Freeform 432"/>
                <p:cNvSpPr>
                  <a:spLocks/>
                </p:cNvSpPr>
                <p:nvPr/>
              </p:nvSpPr>
              <p:spPr bwMode="gray">
                <a:xfrm>
                  <a:off x="4858747" y="4647563"/>
                  <a:ext cx="80979" cy="228050"/>
                </a:xfrm>
                <a:custGeom>
                  <a:avLst/>
                  <a:gdLst>
                    <a:gd name="T0" fmla="*/ 64 w 101"/>
                    <a:gd name="T1" fmla="*/ 20 h 277"/>
                    <a:gd name="T2" fmla="*/ 56 w 101"/>
                    <a:gd name="T3" fmla="*/ 6 h 277"/>
                    <a:gd name="T4" fmla="*/ 52 w 101"/>
                    <a:gd name="T5" fmla="*/ 0 h 277"/>
                    <a:gd name="T6" fmla="*/ 52 w 101"/>
                    <a:gd name="T7" fmla="*/ 50 h 277"/>
                    <a:gd name="T8" fmla="*/ 52 w 101"/>
                    <a:gd name="T9" fmla="*/ 64 h 277"/>
                    <a:gd name="T10" fmla="*/ 56 w 101"/>
                    <a:gd name="T11" fmla="*/ 65 h 277"/>
                    <a:gd name="T12" fmla="*/ 73 w 101"/>
                    <a:gd name="T13" fmla="*/ 81 h 277"/>
                    <a:gd name="T14" fmla="*/ 74 w 101"/>
                    <a:gd name="T15" fmla="*/ 88 h 277"/>
                    <a:gd name="T16" fmla="*/ 74 w 101"/>
                    <a:gd name="T17" fmla="*/ 120 h 277"/>
                    <a:gd name="T18" fmla="*/ 73 w 101"/>
                    <a:gd name="T19" fmla="*/ 128 h 277"/>
                    <a:gd name="T20" fmla="*/ 50 w 101"/>
                    <a:gd name="T21" fmla="*/ 144 h 277"/>
                    <a:gd name="T22" fmla="*/ 41 w 101"/>
                    <a:gd name="T23" fmla="*/ 144 h 277"/>
                    <a:gd name="T24" fmla="*/ 33 w 101"/>
                    <a:gd name="T25" fmla="*/ 144 h 277"/>
                    <a:gd name="T26" fmla="*/ 0 w 101"/>
                    <a:gd name="T27" fmla="*/ 144 h 277"/>
                    <a:gd name="T28" fmla="*/ 5 w 101"/>
                    <a:gd name="T29" fmla="*/ 225 h 277"/>
                    <a:gd name="T30" fmla="*/ 29 w 101"/>
                    <a:gd name="T31" fmla="*/ 235 h 277"/>
                    <a:gd name="T32" fmla="*/ 37 w 101"/>
                    <a:gd name="T33" fmla="*/ 239 h 277"/>
                    <a:gd name="T34" fmla="*/ 67 w 101"/>
                    <a:gd name="T35" fmla="*/ 266 h 277"/>
                    <a:gd name="T36" fmla="*/ 66 w 101"/>
                    <a:gd name="T37" fmla="*/ 265 h 277"/>
                    <a:gd name="T38" fmla="*/ 68 w 101"/>
                    <a:gd name="T39" fmla="*/ 268 h 277"/>
                    <a:gd name="T40" fmla="*/ 69 w 101"/>
                    <a:gd name="T41" fmla="*/ 270 h 277"/>
                    <a:gd name="T42" fmla="*/ 69 w 101"/>
                    <a:gd name="T43" fmla="*/ 272 h 277"/>
                    <a:gd name="T44" fmla="*/ 69 w 101"/>
                    <a:gd name="T45" fmla="*/ 277 h 277"/>
                    <a:gd name="T46" fmla="*/ 78 w 101"/>
                    <a:gd name="T47" fmla="*/ 273 h 277"/>
                    <a:gd name="T48" fmla="*/ 97 w 101"/>
                    <a:gd name="T49" fmla="*/ 252 h 277"/>
                    <a:gd name="T50" fmla="*/ 101 w 101"/>
                    <a:gd name="T51" fmla="*/ 232 h 277"/>
                    <a:gd name="T52" fmla="*/ 96 w 101"/>
                    <a:gd name="T53" fmla="*/ 136 h 277"/>
                    <a:gd name="T54" fmla="*/ 86 w 101"/>
                    <a:gd name="T55" fmla="*/ 81 h 277"/>
                    <a:gd name="T56" fmla="*/ 84 w 101"/>
                    <a:gd name="T57" fmla="*/ 72 h 277"/>
                    <a:gd name="T58" fmla="*/ 69 w 101"/>
                    <a:gd name="T59" fmla="*/ 29 h 277"/>
                    <a:gd name="T60" fmla="*/ 64 w 101"/>
                    <a:gd name="T61" fmla="*/ 20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1" h="277">
                      <a:moveTo>
                        <a:pt x="64" y="20"/>
                      </a:moveTo>
                      <a:cubicBezTo>
                        <a:pt x="62" y="16"/>
                        <a:pt x="59" y="11"/>
                        <a:pt x="56" y="6"/>
                      </a:cubicBezTo>
                      <a:cubicBezTo>
                        <a:pt x="55" y="4"/>
                        <a:pt x="54" y="2"/>
                        <a:pt x="52" y="0"/>
                      </a:cubicBezTo>
                      <a:cubicBezTo>
                        <a:pt x="52" y="50"/>
                        <a:pt x="52" y="50"/>
                        <a:pt x="52" y="50"/>
                      </a:cubicBezTo>
                      <a:cubicBezTo>
                        <a:pt x="52" y="64"/>
                        <a:pt x="52" y="64"/>
                        <a:pt x="52" y="64"/>
                      </a:cubicBezTo>
                      <a:cubicBezTo>
                        <a:pt x="53" y="64"/>
                        <a:pt x="55" y="65"/>
                        <a:pt x="56" y="65"/>
                      </a:cubicBezTo>
                      <a:cubicBezTo>
                        <a:pt x="64" y="67"/>
                        <a:pt x="71" y="73"/>
                        <a:pt x="73" y="81"/>
                      </a:cubicBezTo>
                      <a:cubicBezTo>
                        <a:pt x="74" y="83"/>
                        <a:pt x="74" y="86"/>
                        <a:pt x="74" y="88"/>
                      </a:cubicBezTo>
                      <a:cubicBezTo>
                        <a:pt x="74" y="120"/>
                        <a:pt x="74" y="120"/>
                        <a:pt x="74" y="120"/>
                      </a:cubicBezTo>
                      <a:cubicBezTo>
                        <a:pt x="74" y="123"/>
                        <a:pt x="74" y="125"/>
                        <a:pt x="73" y="128"/>
                      </a:cubicBezTo>
                      <a:cubicBezTo>
                        <a:pt x="70" y="137"/>
                        <a:pt x="61" y="144"/>
                        <a:pt x="50" y="144"/>
                      </a:cubicBezTo>
                      <a:cubicBezTo>
                        <a:pt x="41" y="144"/>
                        <a:pt x="41" y="144"/>
                        <a:pt x="41" y="144"/>
                      </a:cubicBezTo>
                      <a:cubicBezTo>
                        <a:pt x="33" y="144"/>
                        <a:pt x="33" y="144"/>
                        <a:pt x="33" y="144"/>
                      </a:cubicBezTo>
                      <a:cubicBezTo>
                        <a:pt x="0" y="144"/>
                        <a:pt x="0" y="144"/>
                        <a:pt x="0" y="144"/>
                      </a:cubicBezTo>
                      <a:cubicBezTo>
                        <a:pt x="3" y="167"/>
                        <a:pt x="5" y="193"/>
                        <a:pt x="5" y="225"/>
                      </a:cubicBezTo>
                      <a:cubicBezTo>
                        <a:pt x="14" y="228"/>
                        <a:pt x="22" y="231"/>
                        <a:pt x="29" y="235"/>
                      </a:cubicBezTo>
                      <a:cubicBezTo>
                        <a:pt x="32" y="236"/>
                        <a:pt x="35" y="238"/>
                        <a:pt x="37" y="239"/>
                      </a:cubicBezTo>
                      <a:cubicBezTo>
                        <a:pt x="58" y="252"/>
                        <a:pt x="66" y="264"/>
                        <a:pt x="67" y="266"/>
                      </a:cubicBezTo>
                      <a:cubicBezTo>
                        <a:pt x="66" y="265"/>
                        <a:pt x="66" y="265"/>
                        <a:pt x="66" y="265"/>
                      </a:cubicBezTo>
                      <a:cubicBezTo>
                        <a:pt x="68" y="268"/>
                        <a:pt x="68" y="268"/>
                        <a:pt x="68" y="268"/>
                      </a:cubicBezTo>
                      <a:cubicBezTo>
                        <a:pt x="69" y="270"/>
                        <a:pt x="69" y="270"/>
                        <a:pt x="69" y="270"/>
                      </a:cubicBezTo>
                      <a:cubicBezTo>
                        <a:pt x="69" y="272"/>
                        <a:pt x="69" y="272"/>
                        <a:pt x="69" y="272"/>
                      </a:cubicBezTo>
                      <a:cubicBezTo>
                        <a:pt x="69" y="277"/>
                        <a:pt x="69" y="277"/>
                        <a:pt x="69" y="277"/>
                      </a:cubicBezTo>
                      <a:cubicBezTo>
                        <a:pt x="72" y="276"/>
                        <a:pt x="75" y="275"/>
                        <a:pt x="78" y="273"/>
                      </a:cubicBezTo>
                      <a:cubicBezTo>
                        <a:pt x="86" y="268"/>
                        <a:pt x="93" y="261"/>
                        <a:pt x="97" y="252"/>
                      </a:cubicBezTo>
                      <a:cubicBezTo>
                        <a:pt x="100" y="246"/>
                        <a:pt x="101" y="239"/>
                        <a:pt x="101" y="232"/>
                      </a:cubicBezTo>
                      <a:cubicBezTo>
                        <a:pt x="101" y="196"/>
                        <a:pt x="99" y="164"/>
                        <a:pt x="96" y="136"/>
                      </a:cubicBezTo>
                      <a:cubicBezTo>
                        <a:pt x="94" y="116"/>
                        <a:pt x="91" y="98"/>
                        <a:pt x="86" y="81"/>
                      </a:cubicBezTo>
                      <a:cubicBezTo>
                        <a:pt x="86" y="78"/>
                        <a:pt x="85" y="75"/>
                        <a:pt x="84" y="72"/>
                      </a:cubicBezTo>
                      <a:cubicBezTo>
                        <a:pt x="80" y="57"/>
                        <a:pt x="75" y="42"/>
                        <a:pt x="69" y="29"/>
                      </a:cubicBezTo>
                      <a:cubicBezTo>
                        <a:pt x="67" y="26"/>
                        <a:pt x="66" y="23"/>
                        <a:pt x="64" y="20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2" name="Freeform 433"/>
                <p:cNvSpPr>
                  <a:spLocks/>
                </p:cNvSpPr>
                <p:nvPr/>
              </p:nvSpPr>
              <p:spPr bwMode="gray">
                <a:xfrm>
                  <a:off x="4645502" y="4650343"/>
                  <a:ext cx="78279" cy="225270"/>
                </a:xfrm>
                <a:custGeom>
                  <a:avLst/>
                  <a:gdLst>
                    <a:gd name="T0" fmla="*/ 45 w 100"/>
                    <a:gd name="T1" fmla="*/ 4 h 276"/>
                    <a:gd name="T2" fmla="*/ 44 w 100"/>
                    <a:gd name="T3" fmla="*/ 5 h 276"/>
                    <a:gd name="T4" fmla="*/ 40 w 100"/>
                    <a:gd name="T5" fmla="*/ 12 h 276"/>
                    <a:gd name="T6" fmla="*/ 23 w 100"/>
                    <a:gd name="T7" fmla="*/ 51 h 276"/>
                    <a:gd name="T8" fmla="*/ 18 w 100"/>
                    <a:gd name="T9" fmla="*/ 65 h 276"/>
                    <a:gd name="T10" fmla="*/ 16 w 100"/>
                    <a:gd name="T11" fmla="*/ 72 h 276"/>
                    <a:gd name="T12" fmla="*/ 12 w 100"/>
                    <a:gd name="T13" fmla="*/ 89 h 276"/>
                    <a:gd name="T14" fmla="*/ 5 w 100"/>
                    <a:gd name="T15" fmla="*/ 134 h 276"/>
                    <a:gd name="T16" fmla="*/ 0 w 100"/>
                    <a:gd name="T17" fmla="*/ 230 h 276"/>
                    <a:gd name="T18" fmla="*/ 0 w 100"/>
                    <a:gd name="T19" fmla="*/ 238 h 276"/>
                    <a:gd name="T20" fmla="*/ 32 w 100"/>
                    <a:gd name="T21" fmla="*/ 276 h 276"/>
                    <a:gd name="T22" fmla="*/ 32 w 100"/>
                    <a:gd name="T23" fmla="*/ 270 h 276"/>
                    <a:gd name="T24" fmla="*/ 32 w 100"/>
                    <a:gd name="T25" fmla="*/ 268 h 276"/>
                    <a:gd name="T26" fmla="*/ 34 w 100"/>
                    <a:gd name="T27" fmla="*/ 266 h 276"/>
                    <a:gd name="T28" fmla="*/ 35 w 100"/>
                    <a:gd name="T29" fmla="*/ 263 h 276"/>
                    <a:gd name="T30" fmla="*/ 35 w 100"/>
                    <a:gd name="T31" fmla="*/ 263 h 276"/>
                    <a:gd name="T32" fmla="*/ 35 w 100"/>
                    <a:gd name="T33" fmla="*/ 263 h 276"/>
                    <a:gd name="T34" fmla="*/ 35 w 100"/>
                    <a:gd name="T35" fmla="*/ 264 h 276"/>
                    <a:gd name="T36" fmla="*/ 35 w 100"/>
                    <a:gd name="T37" fmla="*/ 263 h 276"/>
                    <a:gd name="T38" fmla="*/ 80 w 100"/>
                    <a:gd name="T39" fmla="*/ 230 h 276"/>
                    <a:gd name="T40" fmla="*/ 88 w 100"/>
                    <a:gd name="T41" fmla="*/ 226 h 276"/>
                    <a:gd name="T42" fmla="*/ 96 w 100"/>
                    <a:gd name="T43" fmla="*/ 224 h 276"/>
                    <a:gd name="T44" fmla="*/ 100 w 100"/>
                    <a:gd name="T45" fmla="*/ 142 h 276"/>
                    <a:gd name="T46" fmla="*/ 84 w 100"/>
                    <a:gd name="T47" fmla="*/ 142 h 276"/>
                    <a:gd name="T48" fmla="*/ 76 w 100"/>
                    <a:gd name="T49" fmla="*/ 142 h 276"/>
                    <a:gd name="T50" fmla="*/ 50 w 100"/>
                    <a:gd name="T51" fmla="*/ 142 h 276"/>
                    <a:gd name="T52" fmla="*/ 32 w 100"/>
                    <a:gd name="T53" fmla="*/ 134 h 276"/>
                    <a:gd name="T54" fmla="*/ 26 w 100"/>
                    <a:gd name="T55" fmla="*/ 118 h 276"/>
                    <a:gd name="T56" fmla="*/ 26 w 100"/>
                    <a:gd name="T57" fmla="*/ 86 h 276"/>
                    <a:gd name="T58" fmla="*/ 32 w 100"/>
                    <a:gd name="T59" fmla="*/ 70 h 276"/>
                    <a:gd name="T60" fmla="*/ 47 w 100"/>
                    <a:gd name="T61" fmla="*/ 62 h 276"/>
                    <a:gd name="T62" fmla="*/ 47 w 100"/>
                    <a:gd name="T63" fmla="*/ 27 h 276"/>
                    <a:gd name="T64" fmla="*/ 47 w 100"/>
                    <a:gd name="T65" fmla="*/ 9 h 276"/>
                    <a:gd name="T66" fmla="*/ 47 w 100"/>
                    <a:gd name="T67" fmla="*/ 3 h 276"/>
                    <a:gd name="T68" fmla="*/ 47 w 100"/>
                    <a:gd name="T69" fmla="*/ 0 h 276"/>
                    <a:gd name="T70" fmla="*/ 45 w 100"/>
                    <a:gd name="T71" fmla="*/ 4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00" h="276">
                      <a:moveTo>
                        <a:pt x="45" y="4"/>
                      </a:moveTo>
                      <a:cubicBezTo>
                        <a:pt x="45" y="4"/>
                        <a:pt x="45" y="4"/>
                        <a:pt x="44" y="5"/>
                      </a:cubicBezTo>
                      <a:cubicBezTo>
                        <a:pt x="43" y="7"/>
                        <a:pt x="41" y="10"/>
                        <a:pt x="40" y="12"/>
                      </a:cubicBezTo>
                      <a:cubicBezTo>
                        <a:pt x="33" y="24"/>
                        <a:pt x="27" y="37"/>
                        <a:pt x="23" y="51"/>
                      </a:cubicBezTo>
                      <a:cubicBezTo>
                        <a:pt x="21" y="55"/>
                        <a:pt x="20" y="60"/>
                        <a:pt x="18" y="65"/>
                      </a:cubicBezTo>
                      <a:cubicBezTo>
                        <a:pt x="17" y="67"/>
                        <a:pt x="17" y="69"/>
                        <a:pt x="16" y="72"/>
                      </a:cubicBezTo>
                      <a:cubicBezTo>
                        <a:pt x="15" y="78"/>
                        <a:pt x="13" y="83"/>
                        <a:pt x="12" y="89"/>
                      </a:cubicBezTo>
                      <a:cubicBezTo>
                        <a:pt x="9" y="103"/>
                        <a:pt x="7" y="118"/>
                        <a:pt x="5" y="134"/>
                      </a:cubicBezTo>
                      <a:cubicBezTo>
                        <a:pt x="1" y="162"/>
                        <a:pt x="0" y="194"/>
                        <a:pt x="0" y="230"/>
                      </a:cubicBezTo>
                      <a:cubicBezTo>
                        <a:pt x="0" y="233"/>
                        <a:pt x="0" y="236"/>
                        <a:pt x="0" y="238"/>
                      </a:cubicBezTo>
                      <a:cubicBezTo>
                        <a:pt x="3" y="256"/>
                        <a:pt x="16" y="270"/>
                        <a:pt x="32" y="276"/>
                      </a:cubicBezTo>
                      <a:cubicBezTo>
                        <a:pt x="32" y="270"/>
                        <a:pt x="32" y="270"/>
                        <a:pt x="32" y="270"/>
                      </a:cubicBezTo>
                      <a:cubicBezTo>
                        <a:pt x="32" y="268"/>
                        <a:pt x="32" y="268"/>
                        <a:pt x="32" y="268"/>
                      </a:cubicBezTo>
                      <a:cubicBezTo>
                        <a:pt x="34" y="266"/>
                        <a:pt x="34" y="266"/>
                        <a:pt x="34" y="266"/>
                      </a:cubicBezTo>
                      <a:cubicBezTo>
                        <a:pt x="35" y="263"/>
                        <a:pt x="35" y="263"/>
                        <a:pt x="35" y="263"/>
                      </a:cubicBezTo>
                      <a:cubicBezTo>
                        <a:pt x="35" y="263"/>
                        <a:pt x="35" y="263"/>
                        <a:pt x="35" y="263"/>
                      </a:cubicBezTo>
                      <a:cubicBezTo>
                        <a:pt x="35" y="263"/>
                        <a:pt x="35" y="263"/>
                        <a:pt x="35" y="263"/>
                      </a:cubicBezTo>
                      <a:cubicBezTo>
                        <a:pt x="35" y="264"/>
                        <a:pt x="35" y="264"/>
                        <a:pt x="35" y="264"/>
                      </a:cubicBezTo>
                      <a:cubicBezTo>
                        <a:pt x="35" y="264"/>
                        <a:pt x="35" y="264"/>
                        <a:pt x="35" y="263"/>
                      </a:cubicBezTo>
                      <a:cubicBezTo>
                        <a:pt x="37" y="260"/>
                        <a:pt x="48" y="243"/>
                        <a:pt x="80" y="230"/>
                      </a:cubicBezTo>
                      <a:cubicBezTo>
                        <a:pt x="82" y="229"/>
                        <a:pt x="85" y="227"/>
                        <a:pt x="88" y="226"/>
                      </a:cubicBezTo>
                      <a:cubicBezTo>
                        <a:pt x="90" y="225"/>
                        <a:pt x="93" y="224"/>
                        <a:pt x="96" y="224"/>
                      </a:cubicBezTo>
                      <a:cubicBezTo>
                        <a:pt x="96" y="192"/>
                        <a:pt x="98" y="165"/>
                        <a:pt x="100" y="142"/>
                      </a:cubicBezTo>
                      <a:cubicBezTo>
                        <a:pt x="84" y="142"/>
                        <a:pt x="84" y="142"/>
                        <a:pt x="84" y="142"/>
                      </a:cubicBezTo>
                      <a:cubicBezTo>
                        <a:pt x="76" y="142"/>
                        <a:pt x="76" y="142"/>
                        <a:pt x="76" y="142"/>
                      </a:cubicBezTo>
                      <a:cubicBezTo>
                        <a:pt x="50" y="142"/>
                        <a:pt x="50" y="142"/>
                        <a:pt x="50" y="142"/>
                      </a:cubicBezTo>
                      <a:cubicBezTo>
                        <a:pt x="43" y="142"/>
                        <a:pt x="36" y="139"/>
                        <a:pt x="32" y="134"/>
                      </a:cubicBezTo>
                      <a:cubicBezTo>
                        <a:pt x="28" y="130"/>
                        <a:pt x="26" y="124"/>
                        <a:pt x="26" y="118"/>
                      </a:cubicBezTo>
                      <a:cubicBezTo>
                        <a:pt x="26" y="86"/>
                        <a:pt x="26" y="86"/>
                        <a:pt x="26" y="86"/>
                      </a:cubicBezTo>
                      <a:cubicBezTo>
                        <a:pt x="26" y="80"/>
                        <a:pt x="28" y="75"/>
                        <a:pt x="32" y="70"/>
                      </a:cubicBezTo>
                      <a:cubicBezTo>
                        <a:pt x="36" y="66"/>
                        <a:pt x="41" y="63"/>
                        <a:pt x="47" y="62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9"/>
                        <a:pt x="47" y="9"/>
                        <a:pt x="47" y="9"/>
                      </a:cubicBezTo>
                      <a:cubicBezTo>
                        <a:pt x="47" y="3"/>
                        <a:pt x="47" y="3"/>
                        <a:pt x="47" y="3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46" y="2"/>
                        <a:pt x="46" y="3"/>
                        <a:pt x="45" y="4"/>
                      </a:cubicBez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3" name="Freeform 434"/>
                <p:cNvSpPr>
                  <a:spLocks/>
                </p:cNvSpPr>
                <p:nvPr/>
              </p:nvSpPr>
              <p:spPr bwMode="gray">
                <a:xfrm>
                  <a:off x="4658998" y="4500163"/>
                  <a:ext cx="267231" cy="436634"/>
                </a:xfrm>
                <a:custGeom>
                  <a:avLst/>
                  <a:gdLst>
                    <a:gd name="T0" fmla="*/ 312 w 334"/>
                    <a:gd name="T1" fmla="*/ 463 h 533"/>
                    <a:gd name="T2" fmla="*/ 312 w 334"/>
                    <a:gd name="T3" fmla="*/ 454 h 533"/>
                    <a:gd name="T4" fmla="*/ 310 w 334"/>
                    <a:gd name="T5" fmla="*/ 449 h 533"/>
                    <a:gd name="T6" fmla="*/ 281 w 334"/>
                    <a:gd name="T7" fmla="*/ 424 h 533"/>
                    <a:gd name="T8" fmla="*/ 248 w 334"/>
                    <a:gd name="T9" fmla="*/ 411 h 533"/>
                    <a:gd name="T10" fmla="*/ 194 w 334"/>
                    <a:gd name="T11" fmla="*/ 316 h 533"/>
                    <a:gd name="T12" fmla="*/ 250 w 334"/>
                    <a:gd name="T13" fmla="*/ 316 h 533"/>
                    <a:gd name="T14" fmla="*/ 293 w 334"/>
                    <a:gd name="T15" fmla="*/ 316 h 533"/>
                    <a:gd name="T16" fmla="*/ 317 w 334"/>
                    <a:gd name="T17" fmla="*/ 300 h 533"/>
                    <a:gd name="T18" fmla="*/ 305 w 334"/>
                    <a:gd name="T19" fmla="*/ 252 h 533"/>
                    <a:gd name="T20" fmla="*/ 296 w 334"/>
                    <a:gd name="T21" fmla="*/ 253 h 533"/>
                    <a:gd name="T22" fmla="*/ 295 w 334"/>
                    <a:gd name="T23" fmla="*/ 169 h 533"/>
                    <a:gd name="T24" fmla="*/ 295 w 334"/>
                    <a:gd name="T25" fmla="*/ 154 h 533"/>
                    <a:gd name="T26" fmla="*/ 295 w 334"/>
                    <a:gd name="T27" fmla="*/ 52 h 533"/>
                    <a:gd name="T28" fmla="*/ 295 w 334"/>
                    <a:gd name="T29" fmla="*/ 44 h 533"/>
                    <a:gd name="T30" fmla="*/ 295 w 334"/>
                    <a:gd name="T31" fmla="*/ 39 h 533"/>
                    <a:gd name="T32" fmla="*/ 295 w 334"/>
                    <a:gd name="T33" fmla="*/ 16 h 533"/>
                    <a:gd name="T34" fmla="*/ 256 w 334"/>
                    <a:gd name="T35" fmla="*/ 0 h 533"/>
                    <a:gd name="T36" fmla="*/ 102 w 334"/>
                    <a:gd name="T37" fmla="*/ 0 h 533"/>
                    <a:gd name="T38" fmla="*/ 53 w 334"/>
                    <a:gd name="T39" fmla="*/ 0 h 533"/>
                    <a:gd name="T40" fmla="*/ 37 w 334"/>
                    <a:gd name="T41" fmla="*/ 35 h 533"/>
                    <a:gd name="T42" fmla="*/ 37 w 334"/>
                    <a:gd name="T43" fmla="*/ 44 h 533"/>
                    <a:gd name="T44" fmla="*/ 37 w 334"/>
                    <a:gd name="T45" fmla="*/ 49 h 533"/>
                    <a:gd name="T46" fmla="*/ 37 w 334"/>
                    <a:gd name="T47" fmla="*/ 159 h 533"/>
                    <a:gd name="T48" fmla="*/ 37 w 334"/>
                    <a:gd name="T49" fmla="*/ 173 h 533"/>
                    <a:gd name="T50" fmla="*/ 37 w 334"/>
                    <a:gd name="T51" fmla="*/ 207 h 533"/>
                    <a:gd name="T52" fmla="*/ 37 w 334"/>
                    <a:gd name="T53" fmla="*/ 253 h 533"/>
                    <a:gd name="T54" fmla="*/ 22 w 334"/>
                    <a:gd name="T55" fmla="*/ 256 h 533"/>
                    <a:gd name="T56" fmla="*/ 16 w 334"/>
                    <a:gd name="T57" fmla="*/ 300 h 533"/>
                    <a:gd name="T58" fmla="*/ 32 w 334"/>
                    <a:gd name="T59" fmla="*/ 316 h 533"/>
                    <a:gd name="T60" fmla="*/ 65 w 334"/>
                    <a:gd name="T61" fmla="*/ 316 h 533"/>
                    <a:gd name="T62" fmla="*/ 92 w 334"/>
                    <a:gd name="T63" fmla="*/ 316 h 533"/>
                    <a:gd name="T64" fmla="*/ 148 w 334"/>
                    <a:gd name="T65" fmla="*/ 402 h 533"/>
                    <a:gd name="T66" fmla="*/ 77 w 334"/>
                    <a:gd name="T67" fmla="*/ 414 h 533"/>
                    <a:gd name="T68" fmla="*/ 61 w 334"/>
                    <a:gd name="T69" fmla="*/ 421 h 533"/>
                    <a:gd name="T70" fmla="*/ 22 w 334"/>
                    <a:gd name="T71" fmla="*/ 452 h 533"/>
                    <a:gd name="T72" fmla="*/ 22 w 334"/>
                    <a:gd name="T73" fmla="*/ 460 h 533"/>
                    <a:gd name="T74" fmla="*/ 22 w 334"/>
                    <a:gd name="T75" fmla="*/ 468 h 533"/>
                    <a:gd name="T76" fmla="*/ 22 w 334"/>
                    <a:gd name="T77" fmla="*/ 470 h 533"/>
                    <a:gd name="T78" fmla="*/ 7 w 334"/>
                    <a:gd name="T79" fmla="*/ 481 h 533"/>
                    <a:gd name="T80" fmla="*/ 22 w 334"/>
                    <a:gd name="T81" fmla="*/ 532 h 533"/>
                    <a:gd name="T82" fmla="*/ 65 w 334"/>
                    <a:gd name="T83" fmla="*/ 501 h 533"/>
                    <a:gd name="T84" fmla="*/ 47 w 334"/>
                    <a:gd name="T85" fmla="*/ 466 h 533"/>
                    <a:gd name="T86" fmla="*/ 51 w 334"/>
                    <a:gd name="T87" fmla="*/ 455 h 533"/>
                    <a:gd name="T88" fmla="*/ 79 w 334"/>
                    <a:gd name="T89" fmla="*/ 439 h 533"/>
                    <a:gd name="T90" fmla="*/ 154 w 334"/>
                    <a:gd name="T91" fmla="*/ 470 h 533"/>
                    <a:gd name="T92" fmla="*/ 165 w 334"/>
                    <a:gd name="T93" fmla="*/ 533 h 533"/>
                    <a:gd name="T94" fmla="*/ 180 w 334"/>
                    <a:gd name="T95" fmla="*/ 472 h 533"/>
                    <a:gd name="T96" fmla="*/ 255 w 334"/>
                    <a:gd name="T97" fmla="*/ 439 h 533"/>
                    <a:gd name="T98" fmla="*/ 270 w 334"/>
                    <a:gd name="T99" fmla="*/ 446 h 533"/>
                    <a:gd name="T100" fmla="*/ 286 w 334"/>
                    <a:gd name="T101" fmla="*/ 457 h 533"/>
                    <a:gd name="T102" fmla="*/ 288 w 334"/>
                    <a:gd name="T103" fmla="*/ 466 h 533"/>
                    <a:gd name="T104" fmla="*/ 269 w 334"/>
                    <a:gd name="T105" fmla="*/ 501 h 533"/>
                    <a:gd name="T106" fmla="*/ 320 w 334"/>
                    <a:gd name="T107" fmla="*/ 527 h 533"/>
                    <a:gd name="T108" fmla="*/ 320 w 334"/>
                    <a:gd name="T109" fmla="*/ 475 h 533"/>
                    <a:gd name="T110" fmla="*/ 312 w 334"/>
                    <a:gd name="T111" fmla="*/ 468 h 5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34" h="533">
                      <a:moveTo>
                        <a:pt x="312" y="468"/>
                      </a:moveTo>
                      <a:cubicBezTo>
                        <a:pt x="312" y="463"/>
                        <a:pt x="312" y="463"/>
                        <a:pt x="312" y="463"/>
                      </a:cubicBezTo>
                      <a:cubicBezTo>
                        <a:pt x="312" y="459"/>
                        <a:pt x="312" y="459"/>
                        <a:pt x="312" y="459"/>
                      </a:cubicBezTo>
                      <a:cubicBezTo>
                        <a:pt x="312" y="454"/>
                        <a:pt x="312" y="454"/>
                        <a:pt x="312" y="454"/>
                      </a:cubicBezTo>
                      <a:cubicBezTo>
                        <a:pt x="312" y="452"/>
                        <a:pt x="312" y="452"/>
                        <a:pt x="312" y="452"/>
                      </a:cubicBezTo>
                      <a:cubicBezTo>
                        <a:pt x="310" y="449"/>
                        <a:pt x="310" y="449"/>
                        <a:pt x="310" y="449"/>
                      </a:cubicBezTo>
                      <a:cubicBezTo>
                        <a:pt x="310" y="448"/>
                        <a:pt x="304" y="440"/>
                        <a:pt x="291" y="431"/>
                      </a:cubicBezTo>
                      <a:cubicBezTo>
                        <a:pt x="288" y="429"/>
                        <a:pt x="285" y="427"/>
                        <a:pt x="281" y="424"/>
                      </a:cubicBezTo>
                      <a:cubicBezTo>
                        <a:pt x="274" y="421"/>
                        <a:pt x="266" y="417"/>
                        <a:pt x="256" y="414"/>
                      </a:cubicBezTo>
                      <a:cubicBezTo>
                        <a:pt x="254" y="413"/>
                        <a:pt x="251" y="412"/>
                        <a:pt x="248" y="411"/>
                      </a:cubicBezTo>
                      <a:cubicBezTo>
                        <a:pt x="232" y="406"/>
                        <a:pt x="211" y="403"/>
                        <a:pt x="186" y="402"/>
                      </a:cubicBezTo>
                      <a:cubicBezTo>
                        <a:pt x="194" y="316"/>
                        <a:pt x="194" y="316"/>
                        <a:pt x="194" y="316"/>
                      </a:cubicBezTo>
                      <a:cubicBezTo>
                        <a:pt x="242" y="316"/>
                        <a:pt x="242" y="316"/>
                        <a:pt x="242" y="316"/>
                      </a:cubicBezTo>
                      <a:cubicBezTo>
                        <a:pt x="250" y="316"/>
                        <a:pt x="250" y="316"/>
                        <a:pt x="250" y="316"/>
                      </a:cubicBezTo>
                      <a:cubicBezTo>
                        <a:pt x="285" y="316"/>
                        <a:pt x="285" y="316"/>
                        <a:pt x="285" y="316"/>
                      </a:cubicBezTo>
                      <a:cubicBezTo>
                        <a:pt x="293" y="316"/>
                        <a:pt x="293" y="316"/>
                        <a:pt x="293" y="316"/>
                      </a:cubicBezTo>
                      <a:cubicBezTo>
                        <a:pt x="301" y="316"/>
                        <a:pt x="301" y="316"/>
                        <a:pt x="301" y="316"/>
                      </a:cubicBezTo>
                      <a:cubicBezTo>
                        <a:pt x="310" y="316"/>
                        <a:pt x="317" y="309"/>
                        <a:pt x="317" y="300"/>
                      </a:cubicBezTo>
                      <a:cubicBezTo>
                        <a:pt x="317" y="268"/>
                        <a:pt x="317" y="268"/>
                        <a:pt x="317" y="268"/>
                      </a:cubicBezTo>
                      <a:cubicBezTo>
                        <a:pt x="317" y="260"/>
                        <a:pt x="312" y="254"/>
                        <a:pt x="305" y="252"/>
                      </a:cubicBezTo>
                      <a:cubicBezTo>
                        <a:pt x="304" y="252"/>
                        <a:pt x="302" y="252"/>
                        <a:pt x="301" y="252"/>
                      </a:cubicBezTo>
                      <a:cubicBezTo>
                        <a:pt x="301" y="252"/>
                        <a:pt x="299" y="252"/>
                        <a:pt x="296" y="253"/>
                      </a:cubicBezTo>
                      <a:cubicBezTo>
                        <a:pt x="296" y="253"/>
                        <a:pt x="295" y="253"/>
                        <a:pt x="295" y="253"/>
                      </a:cubicBezTo>
                      <a:cubicBezTo>
                        <a:pt x="295" y="169"/>
                        <a:pt x="295" y="169"/>
                        <a:pt x="295" y="169"/>
                      </a:cubicBezTo>
                      <a:cubicBezTo>
                        <a:pt x="295" y="157"/>
                        <a:pt x="295" y="157"/>
                        <a:pt x="295" y="157"/>
                      </a:cubicBezTo>
                      <a:cubicBezTo>
                        <a:pt x="295" y="154"/>
                        <a:pt x="295" y="154"/>
                        <a:pt x="295" y="154"/>
                      </a:cubicBezTo>
                      <a:cubicBezTo>
                        <a:pt x="295" y="146"/>
                        <a:pt x="295" y="146"/>
                        <a:pt x="295" y="146"/>
                      </a:cubicBezTo>
                      <a:cubicBezTo>
                        <a:pt x="295" y="52"/>
                        <a:pt x="295" y="52"/>
                        <a:pt x="295" y="52"/>
                      </a:cubicBezTo>
                      <a:cubicBezTo>
                        <a:pt x="295" y="49"/>
                        <a:pt x="295" y="49"/>
                        <a:pt x="295" y="49"/>
                      </a:cubicBezTo>
                      <a:cubicBezTo>
                        <a:pt x="295" y="44"/>
                        <a:pt x="295" y="44"/>
                        <a:pt x="295" y="44"/>
                      </a:cubicBezTo>
                      <a:cubicBezTo>
                        <a:pt x="295" y="41"/>
                        <a:pt x="295" y="41"/>
                        <a:pt x="295" y="41"/>
                      </a:cubicBezTo>
                      <a:cubicBezTo>
                        <a:pt x="295" y="39"/>
                        <a:pt x="295" y="39"/>
                        <a:pt x="295" y="39"/>
                      </a:cubicBezTo>
                      <a:cubicBezTo>
                        <a:pt x="295" y="30"/>
                        <a:pt x="295" y="30"/>
                        <a:pt x="295" y="30"/>
                      </a:cubicBezTo>
                      <a:cubicBezTo>
                        <a:pt x="295" y="16"/>
                        <a:pt x="295" y="16"/>
                        <a:pt x="295" y="16"/>
                      </a:cubicBezTo>
                      <a:cubicBezTo>
                        <a:pt x="295" y="7"/>
                        <a:pt x="288" y="0"/>
                        <a:pt x="279" y="0"/>
                      </a:cubicBezTo>
                      <a:cubicBezTo>
                        <a:pt x="256" y="0"/>
                        <a:pt x="256" y="0"/>
                        <a:pt x="256" y="0"/>
                      </a:cubicBezTo>
                      <a:cubicBezTo>
                        <a:pt x="247" y="0"/>
                        <a:pt x="247" y="0"/>
                        <a:pt x="247" y="0"/>
                      </a:cubicBezTo>
                      <a:cubicBezTo>
                        <a:pt x="102" y="0"/>
                        <a:pt x="102" y="0"/>
                        <a:pt x="102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44" y="0"/>
                        <a:pt x="37" y="7"/>
                        <a:pt x="37" y="16"/>
                      </a:cubicBezTo>
                      <a:cubicBezTo>
                        <a:pt x="37" y="35"/>
                        <a:pt x="37" y="35"/>
                        <a:pt x="37" y="35"/>
                      </a:cubicBezTo>
                      <a:cubicBezTo>
                        <a:pt x="37" y="40"/>
                        <a:pt x="37" y="40"/>
                        <a:pt x="37" y="40"/>
                      </a:cubicBezTo>
                      <a:cubicBezTo>
                        <a:pt x="37" y="44"/>
                        <a:pt x="37" y="44"/>
                        <a:pt x="37" y="44"/>
                      </a:cubicBezTo>
                      <a:cubicBezTo>
                        <a:pt x="37" y="44"/>
                        <a:pt x="37" y="44"/>
                        <a:pt x="37" y="44"/>
                      </a:cubicBezTo>
                      <a:cubicBezTo>
                        <a:pt x="37" y="49"/>
                        <a:pt x="37" y="49"/>
                        <a:pt x="37" y="49"/>
                      </a:cubicBezTo>
                      <a:cubicBezTo>
                        <a:pt x="37" y="52"/>
                        <a:pt x="37" y="52"/>
                        <a:pt x="37" y="52"/>
                      </a:cubicBezTo>
                      <a:cubicBezTo>
                        <a:pt x="37" y="159"/>
                        <a:pt x="37" y="159"/>
                        <a:pt x="37" y="159"/>
                      </a:cubicBezTo>
                      <a:cubicBezTo>
                        <a:pt x="37" y="172"/>
                        <a:pt x="37" y="172"/>
                        <a:pt x="37" y="172"/>
                      </a:cubicBezTo>
                      <a:cubicBezTo>
                        <a:pt x="37" y="173"/>
                        <a:pt x="37" y="173"/>
                        <a:pt x="37" y="173"/>
                      </a:cubicBezTo>
                      <a:cubicBezTo>
                        <a:pt x="37" y="182"/>
                        <a:pt x="37" y="182"/>
                        <a:pt x="37" y="182"/>
                      </a:cubicBezTo>
                      <a:cubicBezTo>
                        <a:pt x="37" y="207"/>
                        <a:pt x="37" y="207"/>
                        <a:pt x="37" y="207"/>
                      </a:cubicBezTo>
                      <a:cubicBezTo>
                        <a:pt x="37" y="228"/>
                        <a:pt x="37" y="228"/>
                        <a:pt x="37" y="228"/>
                      </a:cubicBezTo>
                      <a:cubicBezTo>
                        <a:pt x="37" y="253"/>
                        <a:pt x="37" y="253"/>
                        <a:pt x="37" y="253"/>
                      </a:cubicBezTo>
                      <a:cubicBezTo>
                        <a:pt x="34" y="252"/>
                        <a:pt x="32" y="252"/>
                        <a:pt x="32" y="252"/>
                      </a:cubicBezTo>
                      <a:cubicBezTo>
                        <a:pt x="28" y="252"/>
                        <a:pt x="24" y="254"/>
                        <a:pt x="22" y="256"/>
                      </a:cubicBezTo>
                      <a:cubicBezTo>
                        <a:pt x="18" y="259"/>
                        <a:pt x="16" y="263"/>
                        <a:pt x="16" y="268"/>
                      </a:cubicBezTo>
                      <a:cubicBezTo>
                        <a:pt x="16" y="300"/>
                        <a:pt x="16" y="300"/>
                        <a:pt x="16" y="300"/>
                      </a:cubicBezTo>
                      <a:cubicBezTo>
                        <a:pt x="16" y="305"/>
                        <a:pt x="18" y="309"/>
                        <a:pt x="22" y="312"/>
                      </a:cubicBezTo>
                      <a:cubicBezTo>
                        <a:pt x="24" y="315"/>
                        <a:pt x="28" y="316"/>
                        <a:pt x="32" y="316"/>
                      </a:cubicBezTo>
                      <a:cubicBezTo>
                        <a:pt x="57" y="316"/>
                        <a:pt x="57" y="316"/>
                        <a:pt x="57" y="316"/>
                      </a:cubicBezTo>
                      <a:cubicBezTo>
                        <a:pt x="65" y="316"/>
                        <a:pt x="65" y="316"/>
                        <a:pt x="65" y="316"/>
                      </a:cubicBezTo>
                      <a:cubicBezTo>
                        <a:pt x="83" y="316"/>
                        <a:pt x="83" y="316"/>
                        <a:pt x="83" y="316"/>
                      </a:cubicBezTo>
                      <a:cubicBezTo>
                        <a:pt x="92" y="316"/>
                        <a:pt x="92" y="316"/>
                        <a:pt x="92" y="316"/>
                      </a:cubicBezTo>
                      <a:cubicBezTo>
                        <a:pt x="141" y="316"/>
                        <a:pt x="141" y="316"/>
                        <a:pt x="141" y="316"/>
                      </a:cubicBezTo>
                      <a:cubicBezTo>
                        <a:pt x="148" y="402"/>
                        <a:pt x="148" y="402"/>
                        <a:pt x="148" y="402"/>
                      </a:cubicBezTo>
                      <a:cubicBezTo>
                        <a:pt x="123" y="403"/>
                        <a:pt x="102" y="407"/>
                        <a:pt x="86" y="411"/>
                      </a:cubicBezTo>
                      <a:cubicBezTo>
                        <a:pt x="83" y="412"/>
                        <a:pt x="80" y="413"/>
                        <a:pt x="77" y="414"/>
                      </a:cubicBezTo>
                      <a:cubicBezTo>
                        <a:pt x="75" y="415"/>
                        <a:pt x="72" y="416"/>
                        <a:pt x="69" y="417"/>
                      </a:cubicBezTo>
                      <a:cubicBezTo>
                        <a:pt x="66" y="418"/>
                        <a:pt x="64" y="420"/>
                        <a:pt x="61" y="421"/>
                      </a:cubicBezTo>
                      <a:cubicBezTo>
                        <a:pt x="35" y="433"/>
                        <a:pt x="25" y="447"/>
                        <a:pt x="24" y="449"/>
                      </a:cubicBezTo>
                      <a:cubicBezTo>
                        <a:pt x="22" y="452"/>
                        <a:pt x="22" y="452"/>
                        <a:pt x="22" y="452"/>
                      </a:cubicBezTo>
                      <a:cubicBezTo>
                        <a:pt x="22" y="459"/>
                        <a:pt x="22" y="459"/>
                        <a:pt x="22" y="459"/>
                      </a:cubicBezTo>
                      <a:cubicBezTo>
                        <a:pt x="22" y="460"/>
                        <a:pt x="22" y="460"/>
                        <a:pt x="22" y="460"/>
                      </a:cubicBezTo>
                      <a:cubicBezTo>
                        <a:pt x="22" y="467"/>
                        <a:pt x="22" y="467"/>
                        <a:pt x="22" y="467"/>
                      </a:cubicBezTo>
                      <a:cubicBezTo>
                        <a:pt x="22" y="468"/>
                        <a:pt x="22" y="468"/>
                        <a:pt x="22" y="468"/>
                      </a:cubicBezTo>
                      <a:cubicBezTo>
                        <a:pt x="22" y="470"/>
                        <a:pt x="22" y="470"/>
                        <a:pt x="22" y="470"/>
                      </a:cubicBezTo>
                      <a:cubicBezTo>
                        <a:pt x="22" y="470"/>
                        <a:pt x="22" y="470"/>
                        <a:pt x="22" y="470"/>
                      </a:cubicBezTo>
                      <a:cubicBezTo>
                        <a:pt x="22" y="470"/>
                        <a:pt x="22" y="470"/>
                        <a:pt x="22" y="470"/>
                      </a:cubicBezTo>
                      <a:cubicBezTo>
                        <a:pt x="16" y="473"/>
                        <a:pt x="11" y="476"/>
                        <a:pt x="7" y="481"/>
                      </a:cubicBezTo>
                      <a:cubicBezTo>
                        <a:pt x="3" y="486"/>
                        <a:pt x="0" y="493"/>
                        <a:pt x="0" y="501"/>
                      </a:cubicBezTo>
                      <a:cubicBezTo>
                        <a:pt x="0" y="515"/>
                        <a:pt x="9" y="527"/>
                        <a:pt x="22" y="532"/>
                      </a:cubicBezTo>
                      <a:cubicBezTo>
                        <a:pt x="25" y="533"/>
                        <a:pt x="29" y="533"/>
                        <a:pt x="32" y="533"/>
                      </a:cubicBezTo>
                      <a:cubicBezTo>
                        <a:pt x="50" y="533"/>
                        <a:pt x="65" y="519"/>
                        <a:pt x="65" y="501"/>
                      </a:cubicBezTo>
                      <a:cubicBezTo>
                        <a:pt x="65" y="488"/>
                        <a:pt x="57" y="477"/>
                        <a:pt x="47" y="472"/>
                      </a:cubicBezTo>
                      <a:cubicBezTo>
                        <a:pt x="47" y="466"/>
                        <a:pt x="47" y="466"/>
                        <a:pt x="47" y="466"/>
                      </a:cubicBezTo>
                      <a:cubicBezTo>
                        <a:pt x="47" y="460"/>
                        <a:pt x="47" y="460"/>
                        <a:pt x="47" y="460"/>
                      </a:cubicBezTo>
                      <a:cubicBezTo>
                        <a:pt x="48" y="458"/>
                        <a:pt x="49" y="457"/>
                        <a:pt x="51" y="455"/>
                      </a:cubicBezTo>
                      <a:cubicBezTo>
                        <a:pt x="54" y="453"/>
                        <a:pt x="58" y="450"/>
                        <a:pt x="63" y="447"/>
                      </a:cubicBezTo>
                      <a:cubicBezTo>
                        <a:pt x="67" y="444"/>
                        <a:pt x="72" y="442"/>
                        <a:pt x="79" y="439"/>
                      </a:cubicBezTo>
                      <a:cubicBezTo>
                        <a:pt x="95" y="433"/>
                        <a:pt x="118" y="427"/>
                        <a:pt x="150" y="426"/>
                      </a:cubicBezTo>
                      <a:cubicBezTo>
                        <a:pt x="154" y="470"/>
                        <a:pt x="154" y="470"/>
                        <a:pt x="154" y="470"/>
                      </a:cubicBezTo>
                      <a:cubicBezTo>
                        <a:pt x="142" y="475"/>
                        <a:pt x="133" y="487"/>
                        <a:pt x="133" y="501"/>
                      </a:cubicBezTo>
                      <a:cubicBezTo>
                        <a:pt x="133" y="519"/>
                        <a:pt x="147" y="533"/>
                        <a:pt x="165" y="533"/>
                      </a:cubicBezTo>
                      <a:cubicBezTo>
                        <a:pt x="183" y="533"/>
                        <a:pt x="198" y="519"/>
                        <a:pt x="198" y="501"/>
                      </a:cubicBezTo>
                      <a:cubicBezTo>
                        <a:pt x="198" y="488"/>
                        <a:pt x="191" y="478"/>
                        <a:pt x="180" y="472"/>
                      </a:cubicBezTo>
                      <a:cubicBezTo>
                        <a:pt x="184" y="426"/>
                        <a:pt x="184" y="426"/>
                        <a:pt x="184" y="426"/>
                      </a:cubicBezTo>
                      <a:cubicBezTo>
                        <a:pt x="216" y="427"/>
                        <a:pt x="239" y="433"/>
                        <a:pt x="255" y="439"/>
                      </a:cubicBezTo>
                      <a:cubicBezTo>
                        <a:pt x="260" y="441"/>
                        <a:pt x="265" y="443"/>
                        <a:pt x="268" y="445"/>
                      </a:cubicBezTo>
                      <a:cubicBezTo>
                        <a:pt x="269" y="445"/>
                        <a:pt x="270" y="446"/>
                        <a:pt x="270" y="446"/>
                      </a:cubicBezTo>
                      <a:cubicBezTo>
                        <a:pt x="277" y="449"/>
                        <a:pt x="281" y="453"/>
                        <a:pt x="284" y="456"/>
                      </a:cubicBezTo>
                      <a:cubicBezTo>
                        <a:pt x="285" y="456"/>
                        <a:pt x="286" y="457"/>
                        <a:pt x="286" y="457"/>
                      </a:cubicBezTo>
                      <a:cubicBezTo>
                        <a:pt x="287" y="458"/>
                        <a:pt x="288" y="459"/>
                        <a:pt x="288" y="460"/>
                      </a:cubicBezTo>
                      <a:cubicBezTo>
                        <a:pt x="288" y="466"/>
                        <a:pt x="288" y="466"/>
                        <a:pt x="288" y="466"/>
                      </a:cubicBezTo>
                      <a:cubicBezTo>
                        <a:pt x="288" y="471"/>
                        <a:pt x="288" y="471"/>
                        <a:pt x="288" y="471"/>
                      </a:cubicBezTo>
                      <a:cubicBezTo>
                        <a:pt x="277" y="476"/>
                        <a:pt x="269" y="488"/>
                        <a:pt x="269" y="501"/>
                      </a:cubicBezTo>
                      <a:cubicBezTo>
                        <a:pt x="269" y="519"/>
                        <a:pt x="283" y="533"/>
                        <a:pt x="301" y="533"/>
                      </a:cubicBezTo>
                      <a:cubicBezTo>
                        <a:pt x="308" y="533"/>
                        <a:pt x="315" y="531"/>
                        <a:pt x="320" y="527"/>
                      </a:cubicBezTo>
                      <a:cubicBezTo>
                        <a:pt x="328" y="522"/>
                        <a:pt x="334" y="512"/>
                        <a:pt x="334" y="501"/>
                      </a:cubicBezTo>
                      <a:cubicBezTo>
                        <a:pt x="334" y="490"/>
                        <a:pt x="328" y="480"/>
                        <a:pt x="320" y="475"/>
                      </a:cubicBezTo>
                      <a:cubicBezTo>
                        <a:pt x="317" y="473"/>
                        <a:pt x="315" y="472"/>
                        <a:pt x="312" y="471"/>
                      </a:cubicBezTo>
                      <a:lnTo>
                        <a:pt x="312" y="468"/>
                      </a:lnTo>
                      <a:close/>
                    </a:path>
                  </a:pathLst>
                </a:custGeom>
                <a:solidFill>
                  <a:srgbClr val="6F7F8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64" name="TextBox 63"/>
          <p:cNvSpPr txBox="1">
            <a:spLocks/>
          </p:cNvSpPr>
          <p:nvPr/>
        </p:nvSpPr>
        <p:spPr>
          <a:xfrm>
            <a:off x="46354" y="1906907"/>
            <a:ext cx="2274706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1. Needs identification</a:t>
            </a:r>
          </a:p>
        </p:txBody>
      </p:sp>
      <p:cxnSp>
        <p:nvCxnSpPr>
          <p:cNvPr id="65" name="Straight Connector 64"/>
          <p:cNvCxnSpPr>
            <a:cxnSpLocks/>
          </p:cNvCxnSpPr>
          <p:nvPr/>
        </p:nvCxnSpPr>
        <p:spPr>
          <a:xfrm>
            <a:off x="739358" y="2362095"/>
            <a:ext cx="0" cy="138470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 flipV="1">
            <a:off x="6215429" y="3550966"/>
            <a:ext cx="0" cy="276769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>
            <a:spLocks/>
          </p:cNvSpPr>
          <p:nvPr/>
        </p:nvSpPr>
        <p:spPr>
          <a:xfrm>
            <a:off x="5214474" y="3836699"/>
            <a:ext cx="2001937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4. Study requirements determination</a:t>
            </a:r>
          </a:p>
        </p:txBody>
      </p:sp>
      <p:sp>
        <p:nvSpPr>
          <p:cNvPr id="68" name="AutoShap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501583"/>
            <a:ext cx="1892102" cy="640080"/>
          </a:xfrm>
          <a:prstGeom prst="homePlate">
            <a:avLst>
              <a:gd name="adj" fmla="val 18199"/>
            </a:avLst>
          </a:pr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square" lIns="91356" tIns="45678" rIns="91356" bIns="45678" rtlCol="0" anchor="ctr"/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oject initiation/ Planning</a:t>
            </a:r>
          </a:p>
        </p:txBody>
      </p:sp>
      <p:sp>
        <p:nvSpPr>
          <p:cNvPr id="69" name="AutoShap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12127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eliminary 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Engineering</a:t>
            </a:r>
          </a:p>
        </p:txBody>
      </p:sp>
      <p:sp>
        <p:nvSpPr>
          <p:cNvPr id="70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624254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lans, 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specifications &amp;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estimate (PS&amp;E)</a:t>
            </a:r>
          </a:p>
        </p:txBody>
      </p:sp>
      <p:sp>
        <p:nvSpPr>
          <p:cNvPr id="71" name="AutoShap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36381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Letting</a:t>
            </a:r>
          </a:p>
        </p:txBody>
      </p:sp>
      <p:sp>
        <p:nvSpPr>
          <p:cNvPr id="72" name="AutoShape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248506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Construction</a:t>
            </a:r>
          </a:p>
        </p:txBody>
      </p:sp>
      <p:sp>
        <p:nvSpPr>
          <p:cNvPr id="74" name="Title 4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First phase – Project </a:t>
            </a:r>
            <a:r>
              <a:rPr lang="en-US" dirty="0" smtClean="0"/>
              <a:t>initiation/Plan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24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667" name="think-cell Slide" r:id="rId14" imgW="526" imgH="526" progId="TCLayout.ActiveDocument.1">
                  <p:embed/>
                </p:oleObj>
              </mc:Choice>
              <mc:Fallback>
                <p:oleObj name="think-cell Slide" r:id="rId1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Title 1"/>
          <p:cNvSpPr txBox="1">
            <a:spLocks/>
          </p:cNvSpPr>
          <p:nvPr/>
        </p:nvSpPr>
        <p:spPr>
          <a:xfrm>
            <a:off x="161984" y="100983"/>
            <a:ext cx="8724842" cy="307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1193817" eaLnBrk="1" hangingPunct="1">
              <a:tabLst>
                <a:tab pos="359838" algn="l"/>
              </a:tabLst>
              <a:defRPr lang="x-none" sz="1999" b="0" baseline="0">
                <a:solidFill>
                  <a:schemeClr val="bg1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  <a:lvl2pPr defTabSz="1193817" eaLnBrk="1" hangingPunct="1">
              <a:defRPr lang="x-none" sz="2533" b="1">
                <a:solidFill>
                  <a:schemeClr val="tx2"/>
                </a:solidFill>
              </a:defRPr>
            </a:lvl2pPr>
            <a:lvl3pPr defTabSz="1193817" eaLnBrk="1" hangingPunct="1">
              <a:defRPr lang="x-none" sz="2533" b="1">
                <a:solidFill>
                  <a:schemeClr val="tx2"/>
                </a:solidFill>
              </a:defRPr>
            </a:lvl3pPr>
            <a:lvl4pPr defTabSz="1193817" eaLnBrk="1" hangingPunct="1">
              <a:defRPr lang="x-none" sz="2533" b="1">
                <a:solidFill>
                  <a:schemeClr val="tx2"/>
                </a:solidFill>
              </a:defRPr>
            </a:lvl4pPr>
            <a:lvl5pPr defTabSz="1193817" eaLnBrk="1" hangingPunct="1">
              <a:defRPr lang="x-none" sz="2533" b="1">
                <a:solidFill>
                  <a:schemeClr val="tx2"/>
                </a:solidFill>
              </a:defRPr>
            </a:lvl5pPr>
            <a:lvl6pPr marL="609608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6pPr>
            <a:lvl7pPr marL="1219217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7pPr>
            <a:lvl8pPr marL="1828823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8pPr>
            <a:lvl9pPr marL="2438433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Second phase – Preliminary engineering </a:t>
            </a:r>
          </a:p>
        </p:txBody>
      </p:sp>
      <p:pic>
        <p:nvPicPr>
          <p:cNvPr id="56" name="Picture 3" descr="Roadma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" t="1381" r="389" b="11241"/>
          <a:stretch>
            <a:fillRect/>
          </a:stretch>
        </p:blipFill>
        <p:spPr bwMode="gray">
          <a:xfrm>
            <a:off x="14" y="2771651"/>
            <a:ext cx="7534487" cy="195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7" name="Straight Connector 56"/>
          <p:cNvCxnSpPr>
            <a:cxnSpLocks/>
            <a:stCxn id="59" idx="0"/>
          </p:cNvCxnSpPr>
          <p:nvPr/>
        </p:nvCxnSpPr>
        <p:spPr>
          <a:xfrm flipH="1" flipV="1">
            <a:off x="4477720" y="3707178"/>
            <a:ext cx="147518" cy="375872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>
            <a:cxnSpLocks/>
          </p:cNvCxnSpPr>
          <p:nvPr/>
        </p:nvCxnSpPr>
        <p:spPr>
          <a:xfrm>
            <a:off x="3206746" y="1912620"/>
            <a:ext cx="0" cy="1632165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>
            <a:spLocks/>
          </p:cNvSpPr>
          <p:nvPr/>
        </p:nvSpPr>
        <p:spPr>
          <a:xfrm>
            <a:off x="3734133" y="4083064"/>
            <a:ext cx="1782237" cy="60397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50000"/>
              </a:spcBef>
              <a:buClrTx/>
              <a:buNone/>
            </a:pPr>
            <a:r>
              <a:rPr lang="en-US" sz="1400" dirty="0"/>
              <a:t>4. ENV, IAJR, ROW, and UTL coordination</a:t>
            </a: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1946252" y="1213478"/>
            <a:ext cx="1758988" cy="69915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3. Schematic development and approval</a:t>
            </a:r>
          </a:p>
        </p:txBody>
      </p:sp>
      <p:cxnSp>
        <p:nvCxnSpPr>
          <p:cNvPr id="61" name="Straight Connector 60"/>
          <p:cNvCxnSpPr>
            <a:cxnSpLocks/>
          </p:cNvCxnSpPr>
          <p:nvPr/>
        </p:nvCxnSpPr>
        <p:spPr>
          <a:xfrm flipH="1">
            <a:off x="878890" y="4489029"/>
            <a:ext cx="463550" cy="3515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>
            <a:spLocks/>
          </p:cNvSpPr>
          <p:nvPr/>
        </p:nvSpPr>
        <p:spPr>
          <a:xfrm>
            <a:off x="1304046" y="4083064"/>
            <a:ext cx="1777364" cy="60397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50000"/>
              </a:spcBef>
              <a:buClrTx/>
              <a:buNone/>
            </a:pPr>
            <a:r>
              <a:rPr lang="en-US" sz="1400" dirty="0"/>
              <a:t>1. Data collection / agreements</a:t>
            </a:r>
          </a:p>
        </p:txBody>
      </p:sp>
      <p:cxnSp>
        <p:nvCxnSpPr>
          <p:cNvPr id="63" name="Straight Connector 62"/>
          <p:cNvCxnSpPr>
            <a:cxnSpLocks/>
          </p:cNvCxnSpPr>
          <p:nvPr/>
        </p:nvCxnSpPr>
        <p:spPr>
          <a:xfrm>
            <a:off x="1000322" y="1912633"/>
            <a:ext cx="0" cy="1794557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>
            <a:spLocks/>
          </p:cNvSpPr>
          <p:nvPr/>
        </p:nvSpPr>
        <p:spPr>
          <a:xfrm>
            <a:off x="99861" y="1213478"/>
            <a:ext cx="1758988" cy="69915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>
              <a:spcBef>
                <a:spcPct val="50000"/>
              </a:spcBef>
              <a:buClrTx/>
            </a:pPr>
            <a:r>
              <a:rPr lang="en-US" sz="1400" dirty="0"/>
              <a:t>2. Design concept conference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7534488" y="1213466"/>
            <a:ext cx="1495136" cy="3518213"/>
          </a:xfrm>
          <a:prstGeom prst="rect">
            <a:avLst/>
          </a:prstGeom>
          <a:noFill/>
          <a:ln>
            <a:solidFill>
              <a:srgbClr val="0A1B2B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>
          <a:xfrm>
            <a:off x="7821719" y="2181981"/>
            <a:ext cx="920674" cy="920674"/>
            <a:chOff x="1275929" y="2416189"/>
            <a:chExt cx="567573" cy="567573"/>
          </a:xfrm>
        </p:grpSpPr>
        <p:sp>
          <p:nvSpPr>
            <p:cNvPr id="67" name="Oval 66"/>
            <p:cNvSpPr>
              <a:spLocks/>
            </p:cNvSpPr>
            <p:nvPr/>
          </p:nvSpPr>
          <p:spPr>
            <a:xfrm>
              <a:off x="1275929" y="2416189"/>
              <a:ext cx="567573" cy="56757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400" dirty="0">
                <a:cs typeface="Arial" pitchFamily="34" charset="0"/>
              </a:endParaRPr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1334050" y="2533494"/>
              <a:ext cx="451330" cy="332962"/>
              <a:chOff x="657866" y="5459216"/>
              <a:chExt cx="705246" cy="520287"/>
            </a:xfrm>
            <a:solidFill>
              <a:srgbClr val="CDCDCD"/>
            </a:solidFill>
          </p:grpSpPr>
          <p:sp>
            <p:nvSpPr>
              <p:cNvPr id="69" name="Oval 344"/>
              <p:cNvSpPr/>
              <p:nvPr>
                <p:custDataLst>
                  <p:tags r:id="rId10"/>
                </p:custDataLst>
              </p:nvPr>
            </p:nvSpPr>
            <p:spPr>
              <a:xfrm>
                <a:off x="657866" y="5459216"/>
                <a:ext cx="468530" cy="468530"/>
              </a:xfrm>
              <a:custGeom>
                <a:avLst/>
                <a:gdLst/>
                <a:ahLst/>
                <a:cxnLst/>
                <a:rect l="l" t="t" r="r" b="b"/>
                <a:pathLst>
                  <a:path w="650792" h="650792">
                    <a:moveTo>
                      <a:pt x="325397" y="170449"/>
                    </a:moveTo>
                    <a:cubicBezTo>
                      <a:pt x="239822" y="170449"/>
                      <a:pt x="170449" y="239821"/>
                      <a:pt x="170449" y="325396"/>
                    </a:cubicBezTo>
                    <a:cubicBezTo>
                      <a:pt x="170449" y="410971"/>
                      <a:pt x="239822" y="480343"/>
                      <a:pt x="325397" y="480343"/>
                    </a:cubicBezTo>
                    <a:cubicBezTo>
                      <a:pt x="410972" y="480343"/>
                      <a:pt x="480345" y="410971"/>
                      <a:pt x="480345" y="325396"/>
                    </a:cubicBezTo>
                    <a:cubicBezTo>
                      <a:pt x="480345" y="239821"/>
                      <a:pt x="410972" y="170449"/>
                      <a:pt x="325397" y="170449"/>
                    </a:cubicBezTo>
                    <a:close/>
                    <a:moveTo>
                      <a:pt x="272937" y="0"/>
                    </a:moveTo>
                    <a:lnTo>
                      <a:pt x="378078" y="0"/>
                    </a:lnTo>
                    <a:cubicBezTo>
                      <a:pt x="384249" y="0"/>
                      <a:pt x="389252" y="5003"/>
                      <a:pt x="389252" y="11174"/>
                    </a:cubicBezTo>
                    <a:lnTo>
                      <a:pt x="389252" y="55867"/>
                    </a:lnTo>
                    <a:lnTo>
                      <a:pt x="386937" y="61456"/>
                    </a:lnTo>
                    <a:cubicBezTo>
                      <a:pt x="417604" y="68418"/>
                      <a:pt x="446274" y="80601"/>
                      <a:pt x="470987" y="98534"/>
                    </a:cubicBezTo>
                    <a:cubicBezTo>
                      <a:pt x="467441" y="95635"/>
                      <a:pt x="468512" y="92289"/>
                      <a:pt x="470987" y="89814"/>
                    </a:cubicBezTo>
                    <a:lnTo>
                      <a:pt x="502590" y="58212"/>
                    </a:lnTo>
                    <a:cubicBezTo>
                      <a:pt x="506953" y="53848"/>
                      <a:pt x="514029" y="53848"/>
                      <a:pt x="518392" y="58212"/>
                    </a:cubicBezTo>
                    <a:lnTo>
                      <a:pt x="592737" y="132557"/>
                    </a:lnTo>
                    <a:cubicBezTo>
                      <a:pt x="597101" y="136920"/>
                      <a:pt x="597101" y="143996"/>
                      <a:pt x="592737" y="148359"/>
                    </a:cubicBezTo>
                    <a:lnTo>
                      <a:pt x="561135" y="179962"/>
                    </a:lnTo>
                    <a:lnTo>
                      <a:pt x="552299" y="179962"/>
                    </a:lnTo>
                    <a:cubicBezTo>
                      <a:pt x="570182" y="204688"/>
                      <a:pt x="582288" y="233364"/>
                      <a:pt x="589132" y="264051"/>
                    </a:cubicBezTo>
                    <a:cubicBezTo>
                      <a:pt x="590533" y="262332"/>
                      <a:pt x="592649" y="261652"/>
                      <a:pt x="594925" y="261652"/>
                    </a:cubicBezTo>
                    <a:lnTo>
                      <a:pt x="639618" y="261652"/>
                    </a:lnTo>
                    <a:cubicBezTo>
                      <a:pt x="645789" y="261652"/>
                      <a:pt x="650792" y="266655"/>
                      <a:pt x="650792" y="272826"/>
                    </a:cubicBezTo>
                    <a:lnTo>
                      <a:pt x="650792" y="377966"/>
                    </a:lnTo>
                    <a:cubicBezTo>
                      <a:pt x="650792" y="384137"/>
                      <a:pt x="645789" y="389140"/>
                      <a:pt x="639618" y="389140"/>
                    </a:cubicBezTo>
                    <a:lnTo>
                      <a:pt x="594925" y="389140"/>
                    </a:lnTo>
                    <a:lnTo>
                      <a:pt x="589132" y="386740"/>
                    </a:lnTo>
                    <a:cubicBezTo>
                      <a:pt x="582288" y="417426"/>
                      <a:pt x="570184" y="446101"/>
                      <a:pt x="552304" y="470828"/>
                    </a:cubicBezTo>
                    <a:lnTo>
                      <a:pt x="561136" y="470828"/>
                    </a:lnTo>
                    <a:lnTo>
                      <a:pt x="592738" y="502431"/>
                    </a:lnTo>
                    <a:cubicBezTo>
                      <a:pt x="597102" y="506794"/>
                      <a:pt x="597102" y="513870"/>
                      <a:pt x="592738" y="518233"/>
                    </a:cubicBezTo>
                    <a:lnTo>
                      <a:pt x="518392" y="592579"/>
                    </a:lnTo>
                    <a:cubicBezTo>
                      <a:pt x="514029" y="596943"/>
                      <a:pt x="506953" y="596943"/>
                      <a:pt x="502590" y="592579"/>
                    </a:cubicBezTo>
                    <a:lnTo>
                      <a:pt x="470987" y="560976"/>
                    </a:lnTo>
                    <a:cubicBezTo>
                      <a:pt x="468510" y="558499"/>
                      <a:pt x="467439" y="555149"/>
                      <a:pt x="470987" y="552249"/>
                    </a:cubicBezTo>
                    <a:cubicBezTo>
                      <a:pt x="446224" y="570234"/>
                      <a:pt x="417484" y="582440"/>
                      <a:pt x="386740" y="589398"/>
                    </a:cubicBezTo>
                    <a:cubicBezTo>
                      <a:pt x="388412" y="590734"/>
                      <a:pt x="389029" y="592758"/>
                      <a:pt x="389029" y="594925"/>
                    </a:cubicBezTo>
                    <a:lnTo>
                      <a:pt x="389029" y="639618"/>
                    </a:lnTo>
                    <a:cubicBezTo>
                      <a:pt x="389029" y="645789"/>
                      <a:pt x="384026" y="650792"/>
                      <a:pt x="377855" y="650792"/>
                    </a:cubicBezTo>
                    <a:lnTo>
                      <a:pt x="272714" y="650792"/>
                    </a:lnTo>
                    <a:cubicBezTo>
                      <a:pt x="266543" y="650792"/>
                      <a:pt x="261540" y="645789"/>
                      <a:pt x="261540" y="639618"/>
                    </a:cubicBezTo>
                    <a:lnTo>
                      <a:pt x="261540" y="594925"/>
                    </a:lnTo>
                    <a:lnTo>
                      <a:pt x="263855" y="589337"/>
                    </a:lnTo>
                    <a:cubicBezTo>
                      <a:pt x="233188" y="582376"/>
                      <a:pt x="204519" y="570192"/>
                      <a:pt x="179805" y="552259"/>
                    </a:cubicBezTo>
                    <a:cubicBezTo>
                      <a:pt x="183350" y="555159"/>
                      <a:pt x="182279" y="558503"/>
                      <a:pt x="179805" y="560976"/>
                    </a:cubicBezTo>
                    <a:lnTo>
                      <a:pt x="148203" y="592579"/>
                    </a:lnTo>
                    <a:cubicBezTo>
                      <a:pt x="143839" y="596943"/>
                      <a:pt x="136764" y="596943"/>
                      <a:pt x="132400" y="592579"/>
                    </a:cubicBezTo>
                    <a:lnTo>
                      <a:pt x="58055" y="518234"/>
                    </a:lnTo>
                    <a:cubicBezTo>
                      <a:pt x="53691" y="513870"/>
                      <a:pt x="53691" y="506795"/>
                      <a:pt x="58055" y="502431"/>
                    </a:cubicBezTo>
                    <a:lnTo>
                      <a:pt x="89658" y="470829"/>
                    </a:lnTo>
                    <a:lnTo>
                      <a:pt x="98490" y="470829"/>
                    </a:lnTo>
                    <a:cubicBezTo>
                      <a:pt x="80608" y="446104"/>
                      <a:pt x="68502" y="417428"/>
                      <a:pt x="61658" y="386741"/>
                    </a:cubicBezTo>
                    <a:cubicBezTo>
                      <a:pt x="60258" y="388460"/>
                      <a:pt x="58142" y="389140"/>
                      <a:pt x="55868" y="389140"/>
                    </a:cubicBezTo>
                    <a:lnTo>
                      <a:pt x="11174" y="389140"/>
                    </a:lnTo>
                    <a:cubicBezTo>
                      <a:pt x="5003" y="389140"/>
                      <a:pt x="0" y="384137"/>
                      <a:pt x="0" y="377966"/>
                    </a:cubicBezTo>
                    <a:lnTo>
                      <a:pt x="0" y="272826"/>
                    </a:lnTo>
                    <a:cubicBezTo>
                      <a:pt x="0" y="266655"/>
                      <a:pt x="5003" y="261652"/>
                      <a:pt x="11174" y="261652"/>
                    </a:cubicBezTo>
                    <a:lnTo>
                      <a:pt x="55868" y="261652"/>
                    </a:lnTo>
                    <a:lnTo>
                      <a:pt x="61658" y="264050"/>
                    </a:lnTo>
                    <a:cubicBezTo>
                      <a:pt x="68502" y="233365"/>
                      <a:pt x="80607" y="204689"/>
                      <a:pt x="98487" y="179962"/>
                    </a:cubicBezTo>
                    <a:lnTo>
                      <a:pt x="89658" y="179962"/>
                    </a:lnTo>
                    <a:lnTo>
                      <a:pt x="58055" y="148359"/>
                    </a:lnTo>
                    <a:cubicBezTo>
                      <a:pt x="53691" y="143996"/>
                      <a:pt x="53691" y="136920"/>
                      <a:pt x="58055" y="132557"/>
                    </a:cubicBezTo>
                    <a:lnTo>
                      <a:pt x="132401" y="58211"/>
                    </a:lnTo>
                    <a:cubicBezTo>
                      <a:pt x="136765" y="53847"/>
                      <a:pt x="143840" y="53847"/>
                      <a:pt x="148204" y="58211"/>
                    </a:cubicBezTo>
                    <a:lnTo>
                      <a:pt x="179806" y="89814"/>
                    </a:lnTo>
                    <a:cubicBezTo>
                      <a:pt x="182283" y="92291"/>
                      <a:pt x="183354" y="95641"/>
                      <a:pt x="179806" y="98541"/>
                    </a:cubicBezTo>
                    <a:cubicBezTo>
                      <a:pt x="204569" y="80557"/>
                      <a:pt x="233309" y="68352"/>
                      <a:pt x="264052" y="61394"/>
                    </a:cubicBezTo>
                    <a:cubicBezTo>
                      <a:pt x="262380" y="60058"/>
                      <a:pt x="261763" y="58034"/>
                      <a:pt x="261763" y="55867"/>
                    </a:cubicBezTo>
                    <a:lnTo>
                      <a:pt x="261763" y="11174"/>
                    </a:lnTo>
                    <a:cubicBezTo>
                      <a:pt x="261763" y="5003"/>
                      <a:pt x="266766" y="0"/>
                      <a:pt x="27293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Oval 354"/>
              <p:cNvSpPr/>
              <p:nvPr>
                <p:custDataLst>
                  <p:tags r:id="rId11"/>
                </p:custDataLst>
              </p:nvPr>
            </p:nvSpPr>
            <p:spPr>
              <a:xfrm rot="20593352">
                <a:off x="1073716" y="5690108"/>
                <a:ext cx="289396" cy="289395"/>
              </a:xfrm>
              <a:custGeom>
                <a:avLst/>
                <a:gdLst/>
                <a:ahLst/>
                <a:cxnLst/>
                <a:rect l="l" t="t" r="r" b="b"/>
                <a:pathLst>
                  <a:path w="401974" h="401973">
                    <a:moveTo>
                      <a:pt x="238241" y="112801"/>
                    </a:moveTo>
                    <a:cubicBezTo>
                      <a:pt x="226791" y="107959"/>
                      <a:pt x="214202" y="105280"/>
                      <a:pt x="200988" y="105280"/>
                    </a:cubicBezTo>
                    <a:cubicBezTo>
                      <a:pt x="148131" y="105281"/>
                      <a:pt x="105282" y="148129"/>
                      <a:pt x="105282" y="200986"/>
                    </a:cubicBezTo>
                    <a:cubicBezTo>
                      <a:pt x="105282" y="253843"/>
                      <a:pt x="148131" y="296692"/>
                      <a:pt x="200988" y="296692"/>
                    </a:cubicBezTo>
                    <a:cubicBezTo>
                      <a:pt x="253845" y="296692"/>
                      <a:pt x="296694" y="253843"/>
                      <a:pt x="296694" y="200986"/>
                    </a:cubicBezTo>
                    <a:cubicBezTo>
                      <a:pt x="296694" y="161344"/>
                      <a:pt x="272592" y="127330"/>
                      <a:pt x="238241" y="112801"/>
                    </a:cubicBezTo>
                    <a:close/>
                    <a:moveTo>
                      <a:pt x="233527" y="0"/>
                    </a:moveTo>
                    <a:cubicBezTo>
                      <a:pt x="237339" y="0"/>
                      <a:pt x="240429" y="3090"/>
                      <a:pt x="240429" y="6902"/>
                    </a:cubicBezTo>
                    <a:lnTo>
                      <a:pt x="240429" y="34507"/>
                    </a:lnTo>
                    <a:lnTo>
                      <a:pt x="234855" y="40081"/>
                    </a:lnTo>
                    <a:cubicBezTo>
                      <a:pt x="255472" y="43480"/>
                      <a:pt x="274673" y="50834"/>
                      <a:pt x="290915" y="62548"/>
                    </a:cubicBezTo>
                    <a:cubicBezTo>
                      <a:pt x="288358" y="60646"/>
                      <a:pt x="288830" y="57560"/>
                      <a:pt x="290915" y="55475"/>
                    </a:cubicBezTo>
                    <a:lnTo>
                      <a:pt x="310435" y="35955"/>
                    </a:lnTo>
                    <a:cubicBezTo>
                      <a:pt x="313130" y="33259"/>
                      <a:pt x="317500" y="33260"/>
                      <a:pt x="320195" y="35955"/>
                    </a:cubicBezTo>
                    <a:lnTo>
                      <a:pt x="366116" y="81876"/>
                    </a:lnTo>
                    <a:cubicBezTo>
                      <a:pt x="368811" y="84571"/>
                      <a:pt x="368811" y="88941"/>
                      <a:pt x="366116" y="91636"/>
                    </a:cubicBezTo>
                    <a:lnTo>
                      <a:pt x="346596" y="111156"/>
                    </a:lnTo>
                    <a:lnTo>
                      <a:pt x="339963" y="111156"/>
                    </a:lnTo>
                    <a:cubicBezTo>
                      <a:pt x="351658" y="127157"/>
                      <a:pt x="359092" y="146082"/>
                      <a:pt x="362642" y="166438"/>
                    </a:cubicBezTo>
                    <a:cubicBezTo>
                      <a:pt x="362184" y="163331"/>
                      <a:pt x="364625" y="161613"/>
                      <a:pt x="367467" y="161613"/>
                    </a:cubicBezTo>
                    <a:lnTo>
                      <a:pt x="395072" y="161614"/>
                    </a:lnTo>
                    <a:cubicBezTo>
                      <a:pt x="398884" y="161613"/>
                      <a:pt x="401974" y="164703"/>
                      <a:pt x="401974" y="168515"/>
                    </a:cubicBezTo>
                    <a:lnTo>
                      <a:pt x="401974" y="233457"/>
                    </a:lnTo>
                    <a:cubicBezTo>
                      <a:pt x="401974" y="237268"/>
                      <a:pt x="398884" y="240358"/>
                      <a:pt x="395072" y="240359"/>
                    </a:cubicBezTo>
                    <a:lnTo>
                      <a:pt x="367467" y="240358"/>
                    </a:lnTo>
                    <a:lnTo>
                      <a:pt x="362639" y="235531"/>
                    </a:lnTo>
                    <a:cubicBezTo>
                      <a:pt x="359090" y="255888"/>
                      <a:pt x="351657" y="274814"/>
                      <a:pt x="339964" y="290815"/>
                    </a:cubicBezTo>
                    <a:lnTo>
                      <a:pt x="346596" y="290815"/>
                    </a:lnTo>
                    <a:lnTo>
                      <a:pt x="366116" y="310334"/>
                    </a:lnTo>
                    <a:cubicBezTo>
                      <a:pt x="368811" y="313030"/>
                      <a:pt x="368811" y="317400"/>
                      <a:pt x="366116" y="320095"/>
                    </a:cubicBezTo>
                    <a:lnTo>
                      <a:pt x="320195" y="366016"/>
                    </a:lnTo>
                    <a:cubicBezTo>
                      <a:pt x="317499" y="368712"/>
                      <a:pt x="313130" y="368712"/>
                      <a:pt x="310434" y="366016"/>
                    </a:cubicBezTo>
                    <a:lnTo>
                      <a:pt x="290914" y="346496"/>
                    </a:lnTo>
                    <a:cubicBezTo>
                      <a:pt x="288828" y="344410"/>
                      <a:pt x="288357" y="341320"/>
                      <a:pt x="290914" y="339417"/>
                    </a:cubicBezTo>
                    <a:cubicBezTo>
                      <a:pt x="274644" y="351160"/>
                      <a:pt x="255402" y="358523"/>
                      <a:pt x="234739" y="361914"/>
                    </a:cubicBezTo>
                    <a:cubicBezTo>
                      <a:pt x="238044" y="361490"/>
                      <a:pt x="240291" y="364215"/>
                      <a:pt x="240291" y="367466"/>
                    </a:cubicBezTo>
                    <a:lnTo>
                      <a:pt x="240292" y="395071"/>
                    </a:lnTo>
                    <a:cubicBezTo>
                      <a:pt x="240291" y="398883"/>
                      <a:pt x="237201" y="401973"/>
                      <a:pt x="233389" y="401973"/>
                    </a:cubicBezTo>
                    <a:lnTo>
                      <a:pt x="168448" y="401973"/>
                    </a:lnTo>
                    <a:cubicBezTo>
                      <a:pt x="164635" y="401973"/>
                      <a:pt x="161545" y="398883"/>
                      <a:pt x="161546" y="395071"/>
                    </a:cubicBezTo>
                    <a:lnTo>
                      <a:pt x="161545" y="367466"/>
                    </a:lnTo>
                    <a:lnTo>
                      <a:pt x="167121" y="361890"/>
                    </a:lnTo>
                    <a:cubicBezTo>
                      <a:pt x="146503" y="358492"/>
                      <a:pt x="127302" y="351138"/>
                      <a:pt x="111059" y="339423"/>
                    </a:cubicBezTo>
                    <a:cubicBezTo>
                      <a:pt x="113616" y="341325"/>
                      <a:pt x="113144" y="344412"/>
                      <a:pt x="111059" y="346497"/>
                    </a:cubicBezTo>
                    <a:lnTo>
                      <a:pt x="91539" y="366016"/>
                    </a:lnTo>
                    <a:cubicBezTo>
                      <a:pt x="88844" y="368712"/>
                      <a:pt x="84474" y="368711"/>
                      <a:pt x="81778" y="366016"/>
                    </a:cubicBezTo>
                    <a:lnTo>
                      <a:pt x="35858" y="320096"/>
                    </a:lnTo>
                    <a:cubicBezTo>
                      <a:pt x="33163" y="317400"/>
                      <a:pt x="33163" y="313030"/>
                      <a:pt x="35858" y="310335"/>
                    </a:cubicBezTo>
                    <a:lnTo>
                      <a:pt x="55378" y="290815"/>
                    </a:lnTo>
                    <a:lnTo>
                      <a:pt x="62012" y="290815"/>
                    </a:lnTo>
                    <a:cubicBezTo>
                      <a:pt x="50318" y="274815"/>
                      <a:pt x="42883" y="255889"/>
                      <a:pt x="39333" y="235532"/>
                    </a:cubicBezTo>
                    <a:cubicBezTo>
                      <a:pt x="39791" y="238640"/>
                      <a:pt x="37350" y="240358"/>
                      <a:pt x="34507" y="240359"/>
                    </a:cubicBezTo>
                    <a:lnTo>
                      <a:pt x="6902" y="240358"/>
                    </a:lnTo>
                    <a:cubicBezTo>
                      <a:pt x="3090" y="240358"/>
                      <a:pt x="0" y="237268"/>
                      <a:pt x="0" y="233457"/>
                    </a:cubicBezTo>
                    <a:lnTo>
                      <a:pt x="0" y="168515"/>
                    </a:lnTo>
                    <a:cubicBezTo>
                      <a:pt x="0" y="164703"/>
                      <a:pt x="3090" y="161613"/>
                      <a:pt x="6902" y="161613"/>
                    </a:cubicBezTo>
                    <a:lnTo>
                      <a:pt x="34507" y="161614"/>
                    </a:lnTo>
                    <a:lnTo>
                      <a:pt x="39336" y="166443"/>
                    </a:lnTo>
                    <a:cubicBezTo>
                      <a:pt x="42885" y="146084"/>
                      <a:pt x="50319" y="127158"/>
                      <a:pt x="62013" y="111155"/>
                    </a:cubicBezTo>
                    <a:lnTo>
                      <a:pt x="55379" y="111156"/>
                    </a:lnTo>
                    <a:lnTo>
                      <a:pt x="35859" y="91636"/>
                    </a:lnTo>
                    <a:cubicBezTo>
                      <a:pt x="33164" y="88940"/>
                      <a:pt x="33164" y="84570"/>
                      <a:pt x="35859" y="81875"/>
                    </a:cubicBezTo>
                    <a:lnTo>
                      <a:pt x="81780" y="35954"/>
                    </a:lnTo>
                    <a:cubicBezTo>
                      <a:pt x="84476" y="33259"/>
                      <a:pt x="88846" y="33259"/>
                      <a:pt x="91541" y="35954"/>
                    </a:cubicBezTo>
                    <a:lnTo>
                      <a:pt x="111061" y="55474"/>
                    </a:lnTo>
                    <a:cubicBezTo>
                      <a:pt x="113148" y="57561"/>
                      <a:pt x="113619" y="60652"/>
                      <a:pt x="111061" y="62555"/>
                    </a:cubicBezTo>
                    <a:cubicBezTo>
                      <a:pt x="127331" y="50812"/>
                      <a:pt x="146573" y="43450"/>
                      <a:pt x="167235" y="40058"/>
                    </a:cubicBezTo>
                    <a:cubicBezTo>
                      <a:pt x="163930" y="40482"/>
                      <a:pt x="161683" y="37757"/>
                      <a:pt x="161683" y="34507"/>
                    </a:cubicBezTo>
                    <a:lnTo>
                      <a:pt x="161683" y="6902"/>
                    </a:lnTo>
                    <a:cubicBezTo>
                      <a:pt x="161683" y="3090"/>
                      <a:pt x="164773" y="0"/>
                      <a:pt x="168585" y="0"/>
                    </a:cubicBezTo>
                    <a:close/>
                  </a:path>
                </a:pathLst>
              </a:custGeom>
              <a:solidFill>
                <a:srgbClr val="6F7F8F"/>
              </a:solidFill>
              <a:ln>
                <a:noFill/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71" name="TextBox 70"/>
          <p:cNvSpPr txBox="1">
            <a:spLocks/>
          </p:cNvSpPr>
          <p:nvPr/>
        </p:nvSpPr>
        <p:spPr>
          <a:xfrm>
            <a:off x="3792643" y="1213478"/>
            <a:ext cx="1758988" cy="69915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50000"/>
              </a:spcBef>
              <a:buClrTx/>
              <a:buNone/>
            </a:pPr>
            <a:r>
              <a:rPr lang="en-US" sz="1400" dirty="0"/>
              <a:t>5. Public involvement</a:t>
            </a:r>
          </a:p>
        </p:txBody>
      </p:sp>
      <p:cxnSp>
        <p:nvCxnSpPr>
          <p:cNvPr id="72" name="Straight Connector 71"/>
          <p:cNvCxnSpPr>
            <a:cxnSpLocks/>
          </p:cNvCxnSpPr>
          <p:nvPr/>
        </p:nvCxnSpPr>
        <p:spPr>
          <a:xfrm>
            <a:off x="6725005" y="1912619"/>
            <a:ext cx="0" cy="946022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/>
          <p:cNvSpPr txBox="1">
            <a:spLocks/>
          </p:cNvSpPr>
          <p:nvPr/>
        </p:nvSpPr>
        <p:spPr>
          <a:xfrm>
            <a:off x="5639033" y="1213478"/>
            <a:ext cx="1758988" cy="69915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50000"/>
              </a:spcBef>
              <a:buClrTx/>
              <a:buNone/>
            </a:pPr>
            <a:r>
              <a:rPr lang="en-US" sz="1400" dirty="0"/>
              <a:t>6. Value engineering</a:t>
            </a:r>
          </a:p>
        </p:txBody>
      </p:sp>
      <p:sp>
        <p:nvSpPr>
          <p:cNvPr id="125" name="AutoShap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501583"/>
            <a:ext cx="1892102" cy="640080"/>
          </a:xfrm>
          <a:prstGeom prst="homePlate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squar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oject initiation/ Planning</a:t>
            </a:r>
          </a:p>
        </p:txBody>
      </p:sp>
      <p:sp>
        <p:nvSpPr>
          <p:cNvPr id="126" name="AutoShap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12127" y="501583"/>
            <a:ext cx="1892102" cy="640080"/>
          </a:xfrm>
          <a:prstGeom prst="chevron">
            <a:avLst>
              <a:gd name="adj" fmla="val 18199"/>
            </a:avLst>
          </a:pr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/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eliminary 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Engineering</a:t>
            </a:r>
          </a:p>
        </p:txBody>
      </p:sp>
      <p:sp>
        <p:nvSpPr>
          <p:cNvPr id="127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624254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lans, 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specifications &amp;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estimate (PS&amp;E)</a:t>
            </a:r>
          </a:p>
        </p:txBody>
      </p:sp>
      <p:sp>
        <p:nvSpPr>
          <p:cNvPr id="128" name="AutoShap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36381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Letting</a:t>
            </a:r>
          </a:p>
        </p:txBody>
      </p:sp>
      <p:sp>
        <p:nvSpPr>
          <p:cNvPr id="129" name="AutoShape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248506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Construction</a:t>
            </a:r>
          </a:p>
        </p:txBody>
      </p:sp>
      <p:cxnSp>
        <p:nvCxnSpPr>
          <p:cNvPr id="130" name="Straight Connector 129"/>
          <p:cNvCxnSpPr>
            <a:cxnSpLocks/>
          </p:cNvCxnSpPr>
          <p:nvPr/>
        </p:nvCxnSpPr>
        <p:spPr>
          <a:xfrm>
            <a:off x="5348692" y="1912619"/>
            <a:ext cx="0" cy="1418410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tangle 5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7591676" y="3096417"/>
            <a:ext cx="1380760" cy="55399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sz="1800" b="1" dirty="0"/>
              <a:t>Parallel processing</a:t>
            </a:r>
          </a:p>
        </p:txBody>
      </p:sp>
    </p:spTree>
    <p:extLst>
      <p:ext uri="{BB962C8B-B14F-4D97-AF65-F5344CB8AC3E}">
        <p14:creationId xmlns:p14="http://schemas.microsoft.com/office/powerpoint/2010/main" val="1082144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3701014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843"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latin typeface="Franklin Gothic Book" panose="020B0503020102090204" pitchFamily="34" charset="0"/>
              <a:sym typeface="Franklin Gothic Book" panose="020B050302010209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947161" y="482600"/>
            <a:ext cx="5196841" cy="4229100"/>
            <a:chOff x="3947159" y="482600"/>
            <a:chExt cx="5196841" cy="4229100"/>
          </a:xfrm>
        </p:grpSpPr>
        <p:pic>
          <p:nvPicPr>
            <p:cNvPr id="3" name="Picture 2"/>
            <p:cNvPicPr>
              <a:picLocks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39" r="9039"/>
            <a:stretch/>
          </p:blipFill>
          <p:spPr>
            <a:xfrm>
              <a:off x="3947160" y="482600"/>
              <a:ext cx="5196840" cy="4229100"/>
            </a:xfrm>
            <a:prstGeom prst="rect">
              <a:avLst/>
            </a:prstGeom>
          </p:spPr>
        </p:pic>
        <p:sp>
          <p:nvSpPr>
            <p:cNvPr id="7" name="Rectangle 6"/>
            <p:cNvSpPr>
              <a:spLocks/>
            </p:cNvSpPr>
            <p:nvPr/>
          </p:nvSpPr>
          <p:spPr>
            <a:xfrm>
              <a:off x="3947159" y="482600"/>
              <a:ext cx="3930015" cy="42291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fld id="{736AB9FE-D634-405C-BC98-8B45F0377B79}" type="datetime'Contents'">
              <a:rPr lang="en-US" altLang="en-US"/>
              <a:pPr/>
              <a:t>Contents</a:t>
            </a:fld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1926" y="536575"/>
            <a:ext cx="5260975" cy="406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xtLst/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altLang="en-US" b="1" dirty="0">
                <a:solidFill>
                  <a:schemeClr val="bg1"/>
                </a:solidFill>
              </a:rPr>
              <a:t>Chapter 1: Overview of Project Development and </a:t>
            </a:r>
            <a:r>
              <a:rPr lang="en-US" altLang="en-US" b="1" dirty="0" smtClean="0">
                <a:solidFill>
                  <a:schemeClr val="bg1"/>
                </a:solidFill>
              </a:rPr>
              <a:t>Delivery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0" name="Text Placeholder 2">
            <a:hlinkClick r:id="rId19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1926" y="942975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Performance Based </a:t>
            </a:r>
            <a:r>
              <a:rPr lang="en-US" altLang="en-US" dirty="0"/>
              <a:t>Planning</a:t>
            </a:r>
            <a:endParaRPr lang="en-US" dirty="0"/>
          </a:p>
        </p:txBody>
      </p:sp>
      <p:sp>
        <p:nvSpPr>
          <p:cNvPr id="114" name="Text Placeholder 2">
            <a:hlinkClick r:id="rId20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1926" y="1350963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/>
              <a:t>Quarterly Review Process</a:t>
            </a:r>
            <a:endParaRPr lang="en-US" dirty="0"/>
          </a:p>
        </p:txBody>
      </p:sp>
      <p:sp>
        <p:nvSpPr>
          <p:cNvPr id="117" name="Text Placeholder 2">
            <a:hlinkClick r:id="rId21" action="ppaction://hlinksldjump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1926" y="1757363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80893" tIns="80893" rIns="0" bIns="82480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altLang="en-US" dirty="0" smtClean="0"/>
              <a:t>Project Delivery and Governance </a:t>
            </a:r>
            <a:endParaRPr lang="en-US" dirty="0"/>
          </a:p>
        </p:txBody>
      </p:sp>
      <p:sp>
        <p:nvSpPr>
          <p:cNvPr id="81" name="Text Placeholder 2">
            <a:hlinkClick r:id="rId22" action="ppaction://hlinksldjump"/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1926" y="2165350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2: Project </a:t>
            </a:r>
            <a:r>
              <a:rPr lang="en-US" altLang="en-US" dirty="0" smtClean="0"/>
              <a:t>Initiation/Planning</a:t>
            </a:r>
            <a:endParaRPr lang="en-US" dirty="0"/>
          </a:p>
        </p:txBody>
      </p:sp>
      <p:sp>
        <p:nvSpPr>
          <p:cNvPr id="87" name="Text Placeholder 2">
            <a:hlinkClick r:id="" action="ppaction://noaction"/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61926" y="2571750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3: Preliminary Engineering</a:t>
            </a:r>
            <a:endParaRPr lang="en-US" dirty="0"/>
          </a:p>
        </p:txBody>
      </p:sp>
      <p:sp>
        <p:nvSpPr>
          <p:cNvPr id="92" name="Text Placeholder 2">
            <a:hlinkClick r:id="" action="ppaction://noaction"/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1926" y="2978150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4: Plans, Specifications, and </a:t>
            </a:r>
            <a:r>
              <a:rPr lang="en-US" altLang="en-US" dirty="0" smtClean="0"/>
              <a:t>Estimate </a:t>
            </a:r>
            <a:r>
              <a:rPr lang="en-US" altLang="en-US" dirty="0"/>
              <a:t>(PS&amp;E)</a:t>
            </a:r>
          </a:p>
        </p:txBody>
      </p:sp>
      <p:sp>
        <p:nvSpPr>
          <p:cNvPr id="97" name="Text Placeholder 2">
            <a:hlinkClick r:id="" action="ppaction://noaction"/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61926" y="3386138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5: Letting </a:t>
            </a:r>
          </a:p>
        </p:txBody>
      </p:sp>
      <p:sp>
        <p:nvSpPr>
          <p:cNvPr id="102" name="Text Placeholder 2">
            <a:hlinkClick r:id="" action="ppaction://noaction"/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61926" y="3792538"/>
            <a:ext cx="5260975" cy="407988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2480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altLang="en-US" dirty="0"/>
              <a:t>Chapter 6: Construction </a:t>
            </a:r>
          </a:p>
        </p:txBody>
      </p:sp>
      <p:sp>
        <p:nvSpPr>
          <p:cNvPr id="107" name="Text Placeholder 2">
            <a:hlinkClick r:id="" action="ppaction://noaction"/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1926" y="4200525"/>
            <a:ext cx="5260975" cy="406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wrap="square" lIns="80893" tIns="80893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6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21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33" name="think-cell Slide" r:id="rId12" imgW="526" imgH="526" progId="TCLayout.ActiveDocument.1">
                  <p:embed/>
                </p:oleObj>
              </mc:Choice>
              <mc:Fallback>
                <p:oleObj name="think-cell Slide" r:id="rId12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itle 1"/>
          <p:cNvSpPr txBox="1">
            <a:spLocks/>
          </p:cNvSpPr>
          <p:nvPr/>
        </p:nvSpPr>
        <p:spPr>
          <a:xfrm>
            <a:off x="161984" y="100983"/>
            <a:ext cx="8724842" cy="307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1193817" eaLnBrk="1" hangingPunct="1">
              <a:tabLst>
                <a:tab pos="359838" algn="l"/>
              </a:tabLst>
              <a:defRPr lang="x-none" sz="1999" b="0" baseline="0">
                <a:solidFill>
                  <a:schemeClr val="bg1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  <a:lvl2pPr defTabSz="1193817" eaLnBrk="1" hangingPunct="1">
              <a:defRPr lang="x-none" sz="2533" b="1">
                <a:solidFill>
                  <a:schemeClr val="tx2"/>
                </a:solidFill>
              </a:defRPr>
            </a:lvl2pPr>
            <a:lvl3pPr defTabSz="1193817" eaLnBrk="1" hangingPunct="1">
              <a:defRPr lang="x-none" sz="2533" b="1">
                <a:solidFill>
                  <a:schemeClr val="tx2"/>
                </a:solidFill>
              </a:defRPr>
            </a:lvl3pPr>
            <a:lvl4pPr defTabSz="1193817" eaLnBrk="1" hangingPunct="1">
              <a:defRPr lang="x-none" sz="2533" b="1">
                <a:solidFill>
                  <a:schemeClr val="tx2"/>
                </a:solidFill>
              </a:defRPr>
            </a:lvl4pPr>
            <a:lvl5pPr defTabSz="1193817" eaLnBrk="1" hangingPunct="1">
              <a:defRPr lang="x-none" sz="2533" b="1">
                <a:solidFill>
                  <a:schemeClr val="tx2"/>
                </a:solidFill>
              </a:defRPr>
            </a:lvl5pPr>
            <a:lvl6pPr marL="609608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6pPr>
            <a:lvl7pPr marL="1219217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7pPr>
            <a:lvl8pPr marL="1828823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8pPr>
            <a:lvl9pPr marL="2438433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Third phase – PS&amp;E</a:t>
            </a:r>
          </a:p>
        </p:txBody>
      </p:sp>
      <p:sp>
        <p:nvSpPr>
          <p:cNvPr id="42" name="AutoShap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501583"/>
            <a:ext cx="1892102" cy="640080"/>
          </a:xfrm>
          <a:prstGeom prst="homePlate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squar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oject initiation/ Planning</a:t>
            </a:r>
          </a:p>
        </p:txBody>
      </p:sp>
      <p:sp>
        <p:nvSpPr>
          <p:cNvPr id="43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12127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eliminary 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Engineering</a:t>
            </a:r>
          </a:p>
        </p:txBody>
      </p:sp>
      <p:sp>
        <p:nvSpPr>
          <p:cNvPr id="44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624254" y="501583"/>
            <a:ext cx="1892102" cy="640080"/>
          </a:xfrm>
          <a:prstGeom prst="chevron">
            <a:avLst>
              <a:gd name="adj" fmla="val 18199"/>
            </a:avLst>
          </a:pr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/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lans, 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specifications &amp;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estimate (PS&amp;E)</a:t>
            </a:r>
          </a:p>
        </p:txBody>
      </p:sp>
      <p:sp>
        <p:nvSpPr>
          <p:cNvPr id="45" name="AutoShap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436381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Letting</a:t>
            </a:r>
          </a:p>
        </p:txBody>
      </p:sp>
      <p:sp>
        <p:nvSpPr>
          <p:cNvPr id="46" name="AutoShap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248506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Construction</a:t>
            </a:r>
          </a:p>
        </p:txBody>
      </p:sp>
      <p:pic>
        <p:nvPicPr>
          <p:cNvPr id="47" name="Picture 3" descr="Roadmap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" t="1381" r="389" b="11241"/>
          <a:stretch>
            <a:fillRect/>
          </a:stretch>
        </p:blipFill>
        <p:spPr bwMode="gray">
          <a:xfrm>
            <a:off x="14" y="2771651"/>
            <a:ext cx="7534487" cy="195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8" name="Straight Connector 47"/>
          <p:cNvCxnSpPr>
            <a:cxnSpLocks/>
            <a:stCxn id="50" idx="0"/>
          </p:cNvCxnSpPr>
          <p:nvPr/>
        </p:nvCxnSpPr>
        <p:spPr>
          <a:xfrm flipV="1">
            <a:off x="6091197" y="3581404"/>
            <a:ext cx="0" cy="294982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cxnSpLocks/>
          </p:cNvCxnSpPr>
          <p:nvPr/>
        </p:nvCxnSpPr>
        <p:spPr>
          <a:xfrm>
            <a:off x="4224091" y="3067051"/>
            <a:ext cx="0" cy="393561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>
            <a:spLocks/>
          </p:cNvSpPr>
          <p:nvPr/>
        </p:nvSpPr>
        <p:spPr>
          <a:xfrm>
            <a:off x="5222807" y="3876386"/>
            <a:ext cx="1736807" cy="5129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4. PS&amp;E assembly / design review</a:t>
            </a: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2942613" y="2576196"/>
            <a:ext cx="2280193" cy="5129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3. ENV, IAJR, ROW, UTL, and RR clearances</a:t>
            </a:r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1264683" y="3251214"/>
            <a:ext cx="1" cy="469901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cxnSpLocks/>
          </p:cNvCxnSpPr>
          <p:nvPr/>
        </p:nvCxnSpPr>
        <p:spPr>
          <a:xfrm flipV="1">
            <a:off x="2824973" y="3905264"/>
            <a:ext cx="0" cy="214783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>
            <a:spLocks/>
          </p:cNvSpPr>
          <p:nvPr/>
        </p:nvSpPr>
        <p:spPr>
          <a:xfrm>
            <a:off x="2009230" y="4091169"/>
            <a:ext cx="1582610" cy="5129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30000"/>
              </a:spcBef>
              <a:buClrTx/>
              <a:buNone/>
            </a:pPr>
            <a:r>
              <a:rPr lang="en-US" sz="1400" dirty="0"/>
              <a:t>2. Detailed design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534501" y="1154726"/>
            <a:ext cx="1609513" cy="3576953"/>
          </a:xfrm>
          <a:prstGeom prst="rect">
            <a:avLst/>
          </a:prstGeom>
          <a:noFill/>
          <a:ln>
            <a:solidFill>
              <a:srgbClr val="0A1B2B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7712708" y="2181982"/>
            <a:ext cx="1331280" cy="1191435"/>
            <a:chOff x="7712708" y="2181981"/>
            <a:chExt cx="1331280" cy="1191435"/>
          </a:xfrm>
        </p:grpSpPr>
        <p:sp>
          <p:nvSpPr>
            <p:cNvPr id="58" name="Rectangle 5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7712708" y="3096417"/>
              <a:ext cx="1331280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800" b="1" dirty="0"/>
                <a:t>Collaboration</a:t>
              </a:r>
            </a:p>
          </p:txBody>
        </p:sp>
        <p:grpSp>
          <p:nvGrpSpPr>
            <p:cNvPr id="59" name="Group 58"/>
            <p:cNvGrpSpPr>
              <a:grpSpLocks/>
            </p:cNvGrpSpPr>
            <p:nvPr/>
          </p:nvGrpSpPr>
          <p:grpSpPr>
            <a:xfrm>
              <a:off x="7900649" y="2181981"/>
              <a:ext cx="920674" cy="920674"/>
              <a:chOff x="1275929" y="1687911"/>
              <a:chExt cx="567573" cy="567573"/>
            </a:xfrm>
          </p:grpSpPr>
          <p:sp>
            <p:nvSpPr>
              <p:cNvPr id="60" name="Oval 59"/>
              <p:cNvSpPr>
                <a:spLocks/>
              </p:cNvSpPr>
              <p:nvPr/>
            </p:nvSpPr>
            <p:spPr>
              <a:xfrm>
                <a:off x="1275929" y="1687911"/>
                <a:ext cx="567573" cy="56757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61" name="Group 60"/>
              <p:cNvGrpSpPr/>
              <p:nvPr/>
            </p:nvGrpSpPr>
            <p:grpSpPr bwMode="gray">
              <a:xfrm>
                <a:off x="1391801" y="1859093"/>
                <a:ext cx="335828" cy="225208"/>
                <a:chOff x="4925934" y="1789732"/>
                <a:chExt cx="568583" cy="425334"/>
              </a:xfrm>
            </p:grpSpPr>
            <p:sp>
              <p:nvSpPr>
                <p:cNvPr id="62" name="Freeform 61"/>
                <p:cNvSpPr/>
                <p:nvPr/>
              </p:nvSpPr>
              <p:spPr bwMode="gray">
                <a:xfrm>
                  <a:off x="5032968" y="1817943"/>
                  <a:ext cx="173416" cy="38444"/>
                </a:xfrm>
                <a:custGeom>
                  <a:avLst/>
                  <a:gdLst>
                    <a:gd name="connsiteX0" fmla="*/ 0 w 617220"/>
                    <a:gd name="connsiteY0" fmla="*/ 106680 h 129540"/>
                    <a:gd name="connsiteX1" fmla="*/ 144780 w 617220"/>
                    <a:gd name="connsiteY1" fmla="*/ 129540 h 129540"/>
                    <a:gd name="connsiteX2" fmla="*/ 441960 w 617220"/>
                    <a:gd name="connsiteY2" fmla="*/ 0 h 129540"/>
                    <a:gd name="connsiteX3" fmla="*/ 617220 w 617220"/>
                    <a:gd name="connsiteY3" fmla="*/ 53340 h 129540"/>
                    <a:gd name="connsiteX0" fmla="*/ 0 w 617220"/>
                    <a:gd name="connsiteY0" fmla="*/ 106680 h 129540"/>
                    <a:gd name="connsiteX1" fmla="*/ 144780 w 617220"/>
                    <a:gd name="connsiteY1" fmla="*/ 129540 h 129540"/>
                    <a:gd name="connsiteX2" fmla="*/ 441960 w 617220"/>
                    <a:gd name="connsiteY2" fmla="*/ 0 h 129540"/>
                    <a:gd name="connsiteX3" fmla="*/ 617220 w 617220"/>
                    <a:gd name="connsiteY3" fmla="*/ 53340 h 129540"/>
                    <a:gd name="connsiteX0" fmla="*/ 0 w 617220"/>
                    <a:gd name="connsiteY0" fmla="*/ 106680 h 134727"/>
                    <a:gd name="connsiteX1" fmla="*/ 144780 w 617220"/>
                    <a:gd name="connsiteY1" fmla="*/ 129540 h 134727"/>
                    <a:gd name="connsiteX2" fmla="*/ 441960 w 617220"/>
                    <a:gd name="connsiteY2" fmla="*/ 0 h 134727"/>
                    <a:gd name="connsiteX3" fmla="*/ 617220 w 617220"/>
                    <a:gd name="connsiteY3" fmla="*/ 53340 h 134727"/>
                    <a:gd name="connsiteX0" fmla="*/ 0 w 617220"/>
                    <a:gd name="connsiteY0" fmla="*/ 108782 h 136829"/>
                    <a:gd name="connsiteX1" fmla="*/ 144780 w 617220"/>
                    <a:gd name="connsiteY1" fmla="*/ 131642 h 136829"/>
                    <a:gd name="connsiteX2" fmla="*/ 441960 w 617220"/>
                    <a:gd name="connsiteY2" fmla="*/ 2102 h 136829"/>
                    <a:gd name="connsiteX3" fmla="*/ 617220 w 617220"/>
                    <a:gd name="connsiteY3" fmla="*/ 55442 h 13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17220" h="136829">
                      <a:moveTo>
                        <a:pt x="0" y="108782"/>
                      </a:moveTo>
                      <a:cubicBezTo>
                        <a:pt x="48260" y="116402"/>
                        <a:pt x="71120" y="149422"/>
                        <a:pt x="144780" y="131642"/>
                      </a:cubicBezTo>
                      <a:cubicBezTo>
                        <a:pt x="218440" y="113862"/>
                        <a:pt x="363220" y="14802"/>
                        <a:pt x="441960" y="2102"/>
                      </a:cubicBezTo>
                      <a:cubicBezTo>
                        <a:pt x="520700" y="-10598"/>
                        <a:pt x="558800" y="37662"/>
                        <a:pt x="617220" y="55442"/>
                      </a:cubicBezTo>
                    </a:path>
                  </a:pathLst>
                </a:custGeom>
                <a:noFill/>
                <a:ln w="12700">
                  <a:solidFill>
                    <a:srgbClr val="6F7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3" name="Freeform 62"/>
                <p:cNvSpPr/>
                <p:nvPr/>
              </p:nvSpPr>
              <p:spPr bwMode="gray">
                <a:xfrm>
                  <a:off x="4946794" y="1999444"/>
                  <a:ext cx="48171" cy="49510"/>
                </a:xfrm>
                <a:custGeom>
                  <a:avLst/>
                  <a:gdLst>
                    <a:gd name="connsiteX0" fmla="*/ 0 w 171450"/>
                    <a:gd name="connsiteY0" fmla="*/ 0 h 176213"/>
                    <a:gd name="connsiteX1" fmla="*/ 171450 w 171450"/>
                    <a:gd name="connsiteY1" fmla="*/ 176213 h 176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1450" h="176213">
                      <a:moveTo>
                        <a:pt x="0" y="0"/>
                      </a:moveTo>
                      <a:lnTo>
                        <a:pt x="171450" y="176213"/>
                      </a:lnTo>
                    </a:path>
                  </a:pathLst>
                </a:custGeom>
                <a:noFill/>
                <a:ln w="12700">
                  <a:solidFill>
                    <a:srgbClr val="6F7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4" name="Freeform 63"/>
                <p:cNvSpPr/>
                <p:nvPr/>
              </p:nvSpPr>
              <p:spPr bwMode="gray">
                <a:xfrm>
                  <a:off x="5098348" y="1814903"/>
                  <a:ext cx="381006" cy="246093"/>
                </a:xfrm>
                <a:custGeom>
                  <a:avLst/>
                  <a:gdLst>
                    <a:gd name="connsiteX0" fmla="*/ 1076326 w 1366838"/>
                    <a:gd name="connsiteY0" fmla="*/ 85725 h 866775"/>
                    <a:gd name="connsiteX1" fmla="*/ 900113 w 1366838"/>
                    <a:gd name="connsiteY1" fmla="*/ 109538 h 866775"/>
                    <a:gd name="connsiteX2" fmla="*/ 628651 w 1366838"/>
                    <a:gd name="connsiteY2" fmla="*/ 14288 h 866775"/>
                    <a:gd name="connsiteX3" fmla="*/ 485776 w 1366838"/>
                    <a:gd name="connsiteY3" fmla="*/ 0 h 866775"/>
                    <a:gd name="connsiteX4" fmla="*/ 376238 w 1366838"/>
                    <a:gd name="connsiteY4" fmla="*/ 52388 h 866775"/>
                    <a:gd name="connsiteX5" fmla="*/ 0 w 1366838"/>
                    <a:gd name="connsiteY5" fmla="*/ 523875 h 866775"/>
                    <a:gd name="connsiteX6" fmla="*/ 28575 w 1366838"/>
                    <a:gd name="connsiteY6" fmla="*/ 628650 h 866775"/>
                    <a:gd name="connsiteX7" fmla="*/ 142875 w 1366838"/>
                    <a:gd name="connsiteY7" fmla="*/ 661988 h 866775"/>
                    <a:gd name="connsiteX8" fmla="*/ 538163 w 1366838"/>
                    <a:gd name="connsiteY8" fmla="*/ 438150 h 866775"/>
                    <a:gd name="connsiteX9" fmla="*/ 638176 w 1366838"/>
                    <a:gd name="connsiteY9" fmla="*/ 447675 h 866775"/>
                    <a:gd name="connsiteX10" fmla="*/ 1138238 w 1366838"/>
                    <a:gd name="connsiteY10" fmla="*/ 866775 h 866775"/>
                    <a:gd name="connsiteX11" fmla="*/ 1366838 w 1366838"/>
                    <a:gd name="connsiteY11" fmla="*/ 719138 h 866775"/>
                    <a:gd name="connsiteX12" fmla="*/ 1076326 w 1366838"/>
                    <a:gd name="connsiteY12" fmla="*/ 85725 h 866775"/>
                    <a:gd name="connsiteX0" fmla="*/ 1076326 w 1366838"/>
                    <a:gd name="connsiteY0" fmla="*/ 85725 h 866775"/>
                    <a:gd name="connsiteX1" fmla="*/ 900113 w 1366838"/>
                    <a:gd name="connsiteY1" fmla="*/ 109538 h 866775"/>
                    <a:gd name="connsiteX2" fmla="*/ 628651 w 1366838"/>
                    <a:gd name="connsiteY2" fmla="*/ 14288 h 866775"/>
                    <a:gd name="connsiteX3" fmla="*/ 485776 w 1366838"/>
                    <a:gd name="connsiteY3" fmla="*/ 0 h 866775"/>
                    <a:gd name="connsiteX4" fmla="*/ 376238 w 1366838"/>
                    <a:gd name="connsiteY4" fmla="*/ 52388 h 866775"/>
                    <a:gd name="connsiteX5" fmla="*/ 0 w 1366838"/>
                    <a:gd name="connsiteY5" fmla="*/ 523875 h 866775"/>
                    <a:gd name="connsiteX6" fmla="*/ 28575 w 1366838"/>
                    <a:gd name="connsiteY6" fmla="*/ 628650 h 866775"/>
                    <a:gd name="connsiteX7" fmla="*/ 142875 w 1366838"/>
                    <a:gd name="connsiteY7" fmla="*/ 661988 h 866775"/>
                    <a:gd name="connsiteX8" fmla="*/ 538163 w 1366838"/>
                    <a:gd name="connsiteY8" fmla="*/ 438150 h 866775"/>
                    <a:gd name="connsiteX9" fmla="*/ 638176 w 1366838"/>
                    <a:gd name="connsiteY9" fmla="*/ 447675 h 866775"/>
                    <a:gd name="connsiteX10" fmla="*/ 1138238 w 1366838"/>
                    <a:gd name="connsiteY10" fmla="*/ 866775 h 866775"/>
                    <a:gd name="connsiteX11" fmla="*/ 1366838 w 1366838"/>
                    <a:gd name="connsiteY11" fmla="*/ 719138 h 866775"/>
                    <a:gd name="connsiteX12" fmla="*/ 1076326 w 1366838"/>
                    <a:gd name="connsiteY12" fmla="*/ 85725 h 866775"/>
                    <a:gd name="connsiteX0" fmla="*/ 1076326 w 1366838"/>
                    <a:gd name="connsiteY0" fmla="*/ 85725 h 866775"/>
                    <a:gd name="connsiteX1" fmla="*/ 900113 w 1366838"/>
                    <a:gd name="connsiteY1" fmla="*/ 109538 h 866775"/>
                    <a:gd name="connsiteX2" fmla="*/ 628651 w 1366838"/>
                    <a:gd name="connsiteY2" fmla="*/ 14288 h 866775"/>
                    <a:gd name="connsiteX3" fmla="*/ 485776 w 1366838"/>
                    <a:gd name="connsiteY3" fmla="*/ 0 h 866775"/>
                    <a:gd name="connsiteX4" fmla="*/ 376238 w 1366838"/>
                    <a:gd name="connsiteY4" fmla="*/ 52388 h 866775"/>
                    <a:gd name="connsiteX5" fmla="*/ 0 w 1366838"/>
                    <a:gd name="connsiteY5" fmla="*/ 523875 h 866775"/>
                    <a:gd name="connsiteX6" fmla="*/ 28575 w 1366838"/>
                    <a:gd name="connsiteY6" fmla="*/ 628650 h 866775"/>
                    <a:gd name="connsiteX7" fmla="*/ 142875 w 1366838"/>
                    <a:gd name="connsiteY7" fmla="*/ 661988 h 866775"/>
                    <a:gd name="connsiteX8" fmla="*/ 538163 w 1366838"/>
                    <a:gd name="connsiteY8" fmla="*/ 438150 h 866775"/>
                    <a:gd name="connsiteX9" fmla="*/ 638176 w 1366838"/>
                    <a:gd name="connsiteY9" fmla="*/ 447675 h 866775"/>
                    <a:gd name="connsiteX10" fmla="*/ 1138238 w 1366838"/>
                    <a:gd name="connsiteY10" fmla="*/ 866775 h 866775"/>
                    <a:gd name="connsiteX11" fmla="*/ 1366838 w 1366838"/>
                    <a:gd name="connsiteY11" fmla="*/ 719138 h 866775"/>
                    <a:gd name="connsiteX12" fmla="*/ 1076326 w 1366838"/>
                    <a:gd name="connsiteY12" fmla="*/ 85725 h 866775"/>
                    <a:gd name="connsiteX0" fmla="*/ 1076326 w 1366838"/>
                    <a:gd name="connsiteY0" fmla="*/ 88904 h 869954"/>
                    <a:gd name="connsiteX1" fmla="*/ 900113 w 1366838"/>
                    <a:gd name="connsiteY1" fmla="*/ 112717 h 869954"/>
                    <a:gd name="connsiteX2" fmla="*/ 628651 w 1366838"/>
                    <a:gd name="connsiteY2" fmla="*/ 17467 h 869954"/>
                    <a:gd name="connsiteX3" fmla="*/ 485776 w 1366838"/>
                    <a:gd name="connsiteY3" fmla="*/ 3179 h 869954"/>
                    <a:gd name="connsiteX4" fmla="*/ 376238 w 1366838"/>
                    <a:gd name="connsiteY4" fmla="*/ 55567 h 869954"/>
                    <a:gd name="connsiteX5" fmla="*/ 0 w 1366838"/>
                    <a:gd name="connsiteY5" fmla="*/ 527054 h 869954"/>
                    <a:gd name="connsiteX6" fmla="*/ 28575 w 1366838"/>
                    <a:gd name="connsiteY6" fmla="*/ 631829 h 869954"/>
                    <a:gd name="connsiteX7" fmla="*/ 142875 w 1366838"/>
                    <a:gd name="connsiteY7" fmla="*/ 665167 h 869954"/>
                    <a:gd name="connsiteX8" fmla="*/ 538163 w 1366838"/>
                    <a:gd name="connsiteY8" fmla="*/ 441329 h 869954"/>
                    <a:gd name="connsiteX9" fmla="*/ 638176 w 1366838"/>
                    <a:gd name="connsiteY9" fmla="*/ 450854 h 869954"/>
                    <a:gd name="connsiteX10" fmla="*/ 1138238 w 1366838"/>
                    <a:gd name="connsiteY10" fmla="*/ 869954 h 869954"/>
                    <a:gd name="connsiteX11" fmla="*/ 1366838 w 1366838"/>
                    <a:gd name="connsiteY11" fmla="*/ 722317 h 869954"/>
                    <a:gd name="connsiteX12" fmla="*/ 1076326 w 1366838"/>
                    <a:gd name="connsiteY12" fmla="*/ 88904 h 869954"/>
                    <a:gd name="connsiteX0" fmla="*/ 1076326 w 1366838"/>
                    <a:gd name="connsiteY0" fmla="*/ 90042 h 871092"/>
                    <a:gd name="connsiteX1" fmla="*/ 900113 w 1366838"/>
                    <a:gd name="connsiteY1" fmla="*/ 113855 h 871092"/>
                    <a:gd name="connsiteX2" fmla="*/ 628651 w 1366838"/>
                    <a:gd name="connsiteY2" fmla="*/ 18605 h 871092"/>
                    <a:gd name="connsiteX3" fmla="*/ 485776 w 1366838"/>
                    <a:gd name="connsiteY3" fmla="*/ 4317 h 871092"/>
                    <a:gd name="connsiteX4" fmla="*/ 376238 w 1366838"/>
                    <a:gd name="connsiteY4" fmla="*/ 56705 h 871092"/>
                    <a:gd name="connsiteX5" fmla="*/ 0 w 1366838"/>
                    <a:gd name="connsiteY5" fmla="*/ 528192 h 871092"/>
                    <a:gd name="connsiteX6" fmla="*/ 28575 w 1366838"/>
                    <a:gd name="connsiteY6" fmla="*/ 632967 h 871092"/>
                    <a:gd name="connsiteX7" fmla="*/ 142875 w 1366838"/>
                    <a:gd name="connsiteY7" fmla="*/ 666305 h 871092"/>
                    <a:gd name="connsiteX8" fmla="*/ 538163 w 1366838"/>
                    <a:gd name="connsiteY8" fmla="*/ 442467 h 871092"/>
                    <a:gd name="connsiteX9" fmla="*/ 638176 w 1366838"/>
                    <a:gd name="connsiteY9" fmla="*/ 451992 h 871092"/>
                    <a:gd name="connsiteX10" fmla="*/ 1138238 w 1366838"/>
                    <a:gd name="connsiteY10" fmla="*/ 871092 h 871092"/>
                    <a:gd name="connsiteX11" fmla="*/ 1366838 w 1366838"/>
                    <a:gd name="connsiteY11" fmla="*/ 723455 h 871092"/>
                    <a:gd name="connsiteX12" fmla="*/ 1076326 w 1366838"/>
                    <a:gd name="connsiteY12" fmla="*/ 90042 h 871092"/>
                    <a:gd name="connsiteX0" fmla="*/ 1076326 w 1366838"/>
                    <a:gd name="connsiteY0" fmla="*/ 90042 h 871092"/>
                    <a:gd name="connsiteX1" fmla="*/ 900113 w 1366838"/>
                    <a:gd name="connsiteY1" fmla="*/ 113855 h 871092"/>
                    <a:gd name="connsiteX2" fmla="*/ 628651 w 1366838"/>
                    <a:gd name="connsiteY2" fmla="*/ 18605 h 871092"/>
                    <a:gd name="connsiteX3" fmla="*/ 485776 w 1366838"/>
                    <a:gd name="connsiteY3" fmla="*/ 4317 h 871092"/>
                    <a:gd name="connsiteX4" fmla="*/ 376238 w 1366838"/>
                    <a:gd name="connsiteY4" fmla="*/ 56705 h 871092"/>
                    <a:gd name="connsiteX5" fmla="*/ 0 w 1366838"/>
                    <a:gd name="connsiteY5" fmla="*/ 528192 h 871092"/>
                    <a:gd name="connsiteX6" fmla="*/ 28575 w 1366838"/>
                    <a:gd name="connsiteY6" fmla="*/ 632967 h 871092"/>
                    <a:gd name="connsiteX7" fmla="*/ 142875 w 1366838"/>
                    <a:gd name="connsiteY7" fmla="*/ 666305 h 871092"/>
                    <a:gd name="connsiteX8" fmla="*/ 538163 w 1366838"/>
                    <a:gd name="connsiteY8" fmla="*/ 442467 h 871092"/>
                    <a:gd name="connsiteX9" fmla="*/ 638176 w 1366838"/>
                    <a:gd name="connsiteY9" fmla="*/ 451992 h 871092"/>
                    <a:gd name="connsiteX10" fmla="*/ 1138238 w 1366838"/>
                    <a:gd name="connsiteY10" fmla="*/ 871092 h 871092"/>
                    <a:gd name="connsiteX11" fmla="*/ 1366838 w 1366838"/>
                    <a:gd name="connsiteY11" fmla="*/ 723455 h 871092"/>
                    <a:gd name="connsiteX12" fmla="*/ 1076326 w 1366838"/>
                    <a:gd name="connsiteY12" fmla="*/ 90042 h 871092"/>
                    <a:gd name="connsiteX0" fmla="*/ 1100207 w 1390719"/>
                    <a:gd name="connsiteY0" fmla="*/ 90042 h 871092"/>
                    <a:gd name="connsiteX1" fmla="*/ 923994 w 1390719"/>
                    <a:gd name="connsiteY1" fmla="*/ 113855 h 871092"/>
                    <a:gd name="connsiteX2" fmla="*/ 652532 w 1390719"/>
                    <a:gd name="connsiteY2" fmla="*/ 18605 h 871092"/>
                    <a:gd name="connsiteX3" fmla="*/ 509657 w 1390719"/>
                    <a:gd name="connsiteY3" fmla="*/ 4317 h 871092"/>
                    <a:gd name="connsiteX4" fmla="*/ 400119 w 1390719"/>
                    <a:gd name="connsiteY4" fmla="*/ 56705 h 871092"/>
                    <a:gd name="connsiteX5" fmla="*/ 23881 w 1390719"/>
                    <a:gd name="connsiteY5" fmla="*/ 528192 h 871092"/>
                    <a:gd name="connsiteX6" fmla="*/ 52456 w 1390719"/>
                    <a:gd name="connsiteY6" fmla="*/ 632967 h 871092"/>
                    <a:gd name="connsiteX7" fmla="*/ 166756 w 1390719"/>
                    <a:gd name="connsiteY7" fmla="*/ 666305 h 871092"/>
                    <a:gd name="connsiteX8" fmla="*/ 562044 w 1390719"/>
                    <a:gd name="connsiteY8" fmla="*/ 442467 h 871092"/>
                    <a:gd name="connsiteX9" fmla="*/ 662057 w 1390719"/>
                    <a:gd name="connsiteY9" fmla="*/ 451992 h 871092"/>
                    <a:gd name="connsiteX10" fmla="*/ 1162119 w 1390719"/>
                    <a:gd name="connsiteY10" fmla="*/ 871092 h 871092"/>
                    <a:gd name="connsiteX11" fmla="*/ 1390719 w 1390719"/>
                    <a:gd name="connsiteY11" fmla="*/ 723455 h 871092"/>
                    <a:gd name="connsiteX12" fmla="*/ 1100207 w 1390719"/>
                    <a:gd name="connsiteY12" fmla="*/ 90042 h 871092"/>
                    <a:gd name="connsiteX0" fmla="*/ 1100207 w 1390719"/>
                    <a:gd name="connsiteY0" fmla="*/ 90042 h 871092"/>
                    <a:gd name="connsiteX1" fmla="*/ 923994 w 1390719"/>
                    <a:gd name="connsiteY1" fmla="*/ 113855 h 871092"/>
                    <a:gd name="connsiteX2" fmla="*/ 652532 w 1390719"/>
                    <a:gd name="connsiteY2" fmla="*/ 18605 h 871092"/>
                    <a:gd name="connsiteX3" fmla="*/ 509657 w 1390719"/>
                    <a:gd name="connsiteY3" fmla="*/ 4317 h 871092"/>
                    <a:gd name="connsiteX4" fmla="*/ 400119 w 1390719"/>
                    <a:gd name="connsiteY4" fmla="*/ 56705 h 871092"/>
                    <a:gd name="connsiteX5" fmla="*/ 23881 w 1390719"/>
                    <a:gd name="connsiteY5" fmla="*/ 528192 h 871092"/>
                    <a:gd name="connsiteX6" fmla="*/ 52456 w 1390719"/>
                    <a:gd name="connsiteY6" fmla="*/ 632967 h 871092"/>
                    <a:gd name="connsiteX7" fmla="*/ 166756 w 1390719"/>
                    <a:gd name="connsiteY7" fmla="*/ 666305 h 871092"/>
                    <a:gd name="connsiteX8" fmla="*/ 562044 w 1390719"/>
                    <a:gd name="connsiteY8" fmla="*/ 442467 h 871092"/>
                    <a:gd name="connsiteX9" fmla="*/ 662057 w 1390719"/>
                    <a:gd name="connsiteY9" fmla="*/ 451992 h 871092"/>
                    <a:gd name="connsiteX10" fmla="*/ 1162119 w 1390719"/>
                    <a:gd name="connsiteY10" fmla="*/ 871092 h 871092"/>
                    <a:gd name="connsiteX11" fmla="*/ 1390719 w 1390719"/>
                    <a:gd name="connsiteY11" fmla="*/ 723455 h 871092"/>
                    <a:gd name="connsiteX12" fmla="*/ 1100207 w 1390719"/>
                    <a:gd name="connsiteY12" fmla="*/ 90042 h 871092"/>
                    <a:gd name="connsiteX0" fmla="*/ 1100207 w 1390719"/>
                    <a:gd name="connsiteY0" fmla="*/ 90042 h 871092"/>
                    <a:gd name="connsiteX1" fmla="*/ 923994 w 1390719"/>
                    <a:gd name="connsiteY1" fmla="*/ 113855 h 871092"/>
                    <a:gd name="connsiteX2" fmla="*/ 652532 w 1390719"/>
                    <a:gd name="connsiteY2" fmla="*/ 18605 h 871092"/>
                    <a:gd name="connsiteX3" fmla="*/ 509657 w 1390719"/>
                    <a:gd name="connsiteY3" fmla="*/ 4317 h 871092"/>
                    <a:gd name="connsiteX4" fmla="*/ 400119 w 1390719"/>
                    <a:gd name="connsiteY4" fmla="*/ 56705 h 871092"/>
                    <a:gd name="connsiteX5" fmla="*/ 23881 w 1390719"/>
                    <a:gd name="connsiteY5" fmla="*/ 528192 h 871092"/>
                    <a:gd name="connsiteX6" fmla="*/ 52456 w 1390719"/>
                    <a:gd name="connsiteY6" fmla="*/ 632967 h 871092"/>
                    <a:gd name="connsiteX7" fmla="*/ 166756 w 1390719"/>
                    <a:gd name="connsiteY7" fmla="*/ 666305 h 871092"/>
                    <a:gd name="connsiteX8" fmla="*/ 562044 w 1390719"/>
                    <a:gd name="connsiteY8" fmla="*/ 442467 h 871092"/>
                    <a:gd name="connsiteX9" fmla="*/ 662057 w 1390719"/>
                    <a:gd name="connsiteY9" fmla="*/ 451992 h 871092"/>
                    <a:gd name="connsiteX10" fmla="*/ 1162119 w 1390719"/>
                    <a:gd name="connsiteY10" fmla="*/ 871092 h 871092"/>
                    <a:gd name="connsiteX11" fmla="*/ 1390719 w 1390719"/>
                    <a:gd name="connsiteY11" fmla="*/ 723455 h 871092"/>
                    <a:gd name="connsiteX12" fmla="*/ 1100207 w 1390719"/>
                    <a:gd name="connsiteY12" fmla="*/ 90042 h 871092"/>
                    <a:gd name="connsiteX0" fmla="*/ 1100207 w 1390719"/>
                    <a:gd name="connsiteY0" fmla="*/ 90042 h 871092"/>
                    <a:gd name="connsiteX1" fmla="*/ 923994 w 1390719"/>
                    <a:gd name="connsiteY1" fmla="*/ 113855 h 871092"/>
                    <a:gd name="connsiteX2" fmla="*/ 652532 w 1390719"/>
                    <a:gd name="connsiteY2" fmla="*/ 18605 h 871092"/>
                    <a:gd name="connsiteX3" fmla="*/ 509657 w 1390719"/>
                    <a:gd name="connsiteY3" fmla="*/ 4317 h 871092"/>
                    <a:gd name="connsiteX4" fmla="*/ 400119 w 1390719"/>
                    <a:gd name="connsiteY4" fmla="*/ 56705 h 871092"/>
                    <a:gd name="connsiteX5" fmla="*/ 23881 w 1390719"/>
                    <a:gd name="connsiteY5" fmla="*/ 528192 h 871092"/>
                    <a:gd name="connsiteX6" fmla="*/ 52456 w 1390719"/>
                    <a:gd name="connsiteY6" fmla="*/ 632967 h 871092"/>
                    <a:gd name="connsiteX7" fmla="*/ 166756 w 1390719"/>
                    <a:gd name="connsiteY7" fmla="*/ 666305 h 871092"/>
                    <a:gd name="connsiteX8" fmla="*/ 562044 w 1390719"/>
                    <a:gd name="connsiteY8" fmla="*/ 442467 h 871092"/>
                    <a:gd name="connsiteX9" fmla="*/ 662057 w 1390719"/>
                    <a:gd name="connsiteY9" fmla="*/ 451992 h 871092"/>
                    <a:gd name="connsiteX10" fmla="*/ 1162119 w 1390719"/>
                    <a:gd name="connsiteY10" fmla="*/ 871092 h 871092"/>
                    <a:gd name="connsiteX11" fmla="*/ 1390719 w 1390719"/>
                    <a:gd name="connsiteY11" fmla="*/ 723455 h 871092"/>
                    <a:gd name="connsiteX12" fmla="*/ 1100207 w 1390719"/>
                    <a:gd name="connsiteY12" fmla="*/ 90042 h 871092"/>
                    <a:gd name="connsiteX0" fmla="*/ 1128782 w 1390719"/>
                    <a:gd name="connsiteY0" fmla="*/ 130523 h 871092"/>
                    <a:gd name="connsiteX1" fmla="*/ 923994 w 1390719"/>
                    <a:gd name="connsiteY1" fmla="*/ 113855 h 871092"/>
                    <a:gd name="connsiteX2" fmla="*/ 652532 w 1390719"/>
                    <a:gd name="connsiteY2" fmla="*/ 18605 h 871092"/>
                    <a:gd name="connsiteX3" fmla="*/ 509657 w 1390719"/>
                    <a:gd name="connsiteY3" fmla="*/ 4317 h 871092"/>
                    <a:gd name="connsiteX4" fmla="*/ 400119 w 1390719"/>
                    <a:gd name="connsiteY4" fmla="*/ 56705 h 871092"/>
                    <a:gd name="connsiteX5" fmla="*/ 23881 w 1390719"/>
                    <a:gd name="connsiteY5" fmla="*/ 528192 h 871092"/>
                    <a:gd name="connsiteX6" fmla="*/ 52456 w 1390719"/>
                    <a:gd name="connsiteY6" fmla="*/ 632967 h 871092"/>
                    <a:gd name="connsiteX7" fmla="*/ 166756 w 1390719"/>
                    <a:gd name="connsiteY7" fmla="*/ 666305 h 871092"/>
                    <a:gd name="connsiteX8" fmla="*/ 562044 w 1390719"/>
                    <a:gd name="connsiteY8" fmla="*/ 442467 h 871092"/>
                    <a:gd name="connsiteX9" fmla="*/ 662057 w 1390719"/>
                    <a:gd name="connsiteY9" fmla="*/ 451992 h 871092"/>
                    <a:gd name="connsiteX10" fmla="*/ 1162119 w 1390719"/>
                    <a:gd name="connsiteY10" fmla="*/ 871092 h 871092"/>
                    <a:gd name="connsiteX11" fmla="*/ 1390719 w 1390719"/>
                    <a:gd name="connsiteY11" fmla="*/ 723455 h 871092"/>
                    <a:gd name="connsiteX12" fmla="*/ 1128782 w 1390719"/>
                    <a:gd name="connsiteY12" fmla="*/ 130523 h 871092"/>
                    <a:gd name="connsiteX0" fmla="*/ 1128782 w 1390719"/>
                    <a:gd name="connsiteY0" fmla="*/ 135315 h 875884"/>
                    <a:gd name="connsiteX1" fmla="*/ 923994 w 1390719"/>
                    <a:gd name="connsiteY1" fmla="*/ 118647 h 875884"/>
                    <a:gd name="connsiteX2" fmla="*/ 652532 w 1390719"/>
                    <a:gd name="connsiteY2" fmla="*/ 23397 h 875884"/>
                    <a:gd name="connsiteX3" fmla="*/ 535851 w 1390719"/>
                    <a:gd name="connsiteY3" fmla="*/ 1966 h 875884"/>
                    <a:gd name="connsiteX4" fmla="*/ 400119 w 1390719"/>
                    <a:gd name="connsiteY4" fmla="*/ 61497 h 875884"/>
                    <a:gd name="connsiteX5" fmla="*/ 23881 w 1390719"/>
                    <a:gd name="connsiteY5" fmla="*/ 532984 h 875884"/>
                    <a:gd name="connsiteX6" fmla="*/ 52456 w 1390719"/>
                    <a:gd name="connsiteY6" fmla="*/ 637759 h 875884"/>
                    <a:gd name="connsiteX7" fmla="*/ 166756 w 1390719"/>
                    <a:gd name="connsiteY7" fmla="*/ 671097 h 875884"/>
                    <a:gd name="connsiteX8" fmla="*/ 562044 w 1390719"/>
                    <a:gd name="connsiteY8" fmla="*/ 447259 h 875884"/>
                    <a:gd name="connsiteX9" fmla="*/ 662057 w 1390719"/>
                    <a:gd name="connsiteY9" fmla="*/ 456784 h 875884"/>
                    <a:gd name="connsiteX10" fmla="*/ 1162119 w 1390719"/>
                    <a:gd name="connsiteY10" fmla="*/ 875884 h 875884"/>
                    <a:gd name="connsiteX11" fmla="*/ 1390719 w 1390719"/>
                    <a:gd name="connsiteY11" fmla="*/ 728247 h 875884"/>
                    <a:gd name="connsiteX12" fmla="*/ 1128782 w 1390719"/>
                    <a:gd name="connsiteY12" fmla="*/ 135315 h 875884"/>
                    <a:gd name="connsiteX0" fmla="*/ 1128782 w 1390719"/>
                    <a:gd name="connsiteY0" fmla="*/ 135315 h 875884"/>
                    <a:gd name="connsiteX1" fmla="*/ 923994 w 1390719"/>
                    <a:gd name="connsiteY1" fmla="*/ 118647 h 875884"/>
                    <a:gd name="connsiteX2" fmla="*/ 652532 w 1390719"/>
                    <a:gd name="connsiteY2" fmla="*/ 23397 h 875884"/>
                    <a:gd name="connsiteX3" fmla="*/ 535851 w 1390719"/>
                    <a:gd name="connsiteY3" fmla="*/ 1966 h 875884"/>
                    <a:gd name="connsiteX4" fmla="*/ 359637 w 1390719"/>
                    <a:gd name="connsiteY4" fmla="*/ 111504 h 875884"/>
                    <a:gd name="connsiteX5" fmla="*/ 23881 w 1390719"/>
                    <a:gd name="connsiteY5" fmla="*/ 532984 h 875884"/>
                    <a:gd name="connsiteX6" fmla="*/ 52456 w 1390719"/>
                    <a:gd name="connsiteY6" fmla="*/ 637759 h 875884"/>
                    <a:gd name="connsiteX7" fmla="*/ 166756 w 1390719"/>
                    <a:gd name="connsiteY7" fmla="*/ 671097 h 875884"/>
                    <a:gd name="connsiteX8" fmla="*/ 562044 w 1390719"/>
                    <a:gd name="connsiteY8" fmla="*/ 447259 h 875884"/>
                    <a:gd name="connsiteX9" fmla="*/ 662057 w 1390719"/>
                    <a:gd name="connsiteY9" fmla="*/ 456784 h 875884"/>
                    <a:gd name="connsiteX10" fmla="*/ 1162119 w 1390719"/>
                    <a:gd name="connsiteY10" fmla="*/ 875884 h 875884"/>
                    <a:gd name="connsiteX11" fmla="*/ 1390719 w 1390719"/>
                    <a:gd name="connsiteY11" fmla="*/ 728247 h 875884"/>
                    <a:gd name="connsiteX12" fmla="*/ 1128782 w 1390719"/>
                    <a:gd name="connsiteY12" fmla="*/ 135315 h 875884"/>
                    <a:gd name="connsiteX0" fmla="*/ 1128782 w 1390719"/>
                    <a:gd name="connsiteY0" fmla="*/ 135315 h 875884"/>
                    <a:gd name="connsiteX1" fmla="*/ 923994 w 1390719"/>
                    <a:gd name="connsiteY1" fmla="*/ 118647 h 875884"/>
                    <a:gd name="connsiteX2" fmla="*/ 652532 w 1390719"/>
                    <a:gd name="connsiteY2" fmla="*/ 23397 h 875884"/>
                    <a:gd name="connsiteX3" fmla="*/ 535851 w 1390719"/>
                    <a:gd name="connsiteY3" fmla="*/ 1966 h 875884"/>
                    <a:gd name="connsiteX4" fmla="*/ 359637 w 1390719"/>
                    <a:gd name="connsiteY4" fmla="*/ 111504 h 875884"/>
                    <a:gd name="connsiteX5" fmla="*/ 23881 w 1390719"/>
                    <a:gd name="connsiteY5" fmla="*/ 532984 h 875884"/>
                    <a:gd name="connsiteX6" fmla="*/ 52456 w 1390719"/>
                    <a:gd name="connsiteY6" fmla="*/ 637759 h 875884"/>
                    <a:gd name="connsiteX7" fmla="*/ 226287 w 1390719"/>
                    <a:gd name="connsiteY7" fmla="*/ 647285 h 875884"/>
                    <a:gd name="connsiteX8" fmla="*/ 562044 w 1390719"/>
                    <a:gd name="connsiteY8" fmla="*/ 447259 h 875884"/>
                    <a:gd name="connsiteX9" fmla="*/ 662057 w 1390719"/>
                    <a:gd name="connsiteY9" fmla="*/ 456784 h 875884"/>
                    <a:gd name="connsiteX10" fmla="*/ 1162119 w 1390719"/>
                    <a:gd name="connsiteY10" fmla="*/ 875884 h 875884"/>
                    <a:gd name="connsiteX11" fmla="*/ 1390719 w 1390719"/>
                    <a:gd name="connsiteY11" fmla="*/ 728247 h 875884"/>
                    <a:gd name="connsiteX12" fmla="*/ 1128782 w 1390719"/>
                    <a:gd name="connsiteY12" fmla="*/ 135315 h 875884"/>
                    <a:gd name="connsiteX0" fmla="*/ 1123517 w 1385454"/>
                    <a:gd name="connsiteY0" fmla="*/ 135315 h 875884"/>
                    <a:gd name="connsiteX1" fmla="*/ 918729 w 1385454"/>
                    <a:gd name="connsiteY1" fmla="*/ 118647 h 875884"/>
                    <a:gd name="connsiteX2" fmla="*/ 647267 w 1385454"/>
                    <a:gd name="connsiteY2" fmla="*/ 23397 h 875884"/>
                    <a:gd name="connsiteX3" fmla="*/ 530586 w 1385454"/>
                    <a:gd name="connsiteY3" fmla="*/ 1966 h 875884"/>
                    <a:gd name="connsiteX4" fmla="*/ 354372 w 1385454"/>
                    <a:gd name="connsiteY4" fmla="*/ 111504 h 875884"/>
                    <a:gd name="connsiteX5" fmla="*/ 18616 w 1385454"/>
                    <a:gd name="connsiteY5" fmla="*/ 532984 h 875884"/>
                    <a:gd name="connsiteX6" fmla="*/ 78147 w 1385454"/>
                    <a:gd name="connsiteY6" fmla="*/ 656809 h 875884"/>
                    <a:gd name="connsiteX7" fmla="*/ 221022 w 1385454"/>
                    <a:gd name="connsiteY7" fmla="*/ 647285 h 875884"/>
                    <a:gd name="connsiteX8" fmla="*/ 556779 w 1385454"/>
                    <a:gd name="connsiteY8" fmla="*/ 447259 h 875884"/>
                    <a:gd name="connsiteX9" fmla="*/ 656792 w 1385454"/>
                    <a:gd name="connsiteY9" fmla="*/ 456784 h 875884"/>
                    <a:gd name="connsiteX10" fmla="*/ 1156854 w 1385454"/>
                    <a:gd name="connsiteY10" fmla="*/ 875884 h 875884"/>
                    <a:gd name="connsiteX11" fmla="*/ 1385454 w 1385454"/>
                    <a:gd name="connsiteY11" fmla="*/ 728247 h 875884"/>
                    <a:gd name="connsiteX12" fmla="*/ 1123517 w 1385454"/>
                    <a:gd name="connsiteY12" fmla="*/ 135315 h 875884"/>
                    <a:gd name="connsiteX0" fmla="*/ 1094132 w 1356069"/>
                    <a:gd name="connsiteY0" fmla="*/ 135315 h 875884"/>
                    <a:gd name="connsiteX1" fmla="*/ 889344 w 1356069"/>
                    <a:gd name="connsiteY1" fmla="*/ 118647 h 875884"/>
                    <a:gd name="connsiteX2" fmla="*/ 617882 w 1356069"/>
                    <a:gd name="connsiteY2" fmla="*/ 23397 h 875884"/>
                    <a:gd name="connsiteX3" fmla="*/ 501201 w 1356069"/>
                    <a:gd name="connsiteY3" fmla="*/ 1966 h 875884"/>
                    <a:gd name="connsiteX4" fmla="*/ 324987 w 1356069"/>
                    <a:gd name="connsiteY4" fmla="*/ 111504 h 875884"/>
                    <a:gd name="connsiteX5" fmla="*/ 24950 w 1356069"/>
                    <a:gd name="connsiteY5" fmla="*/ 478215 h 875884"/>
                    <a:gd name="connsiteX6" fmla="*/ 48762 w 1356069"/>
                    <a:gd name="connsiteY6" fmla="*/ 656809 h 875884"/>
                    <a:gd name="connsiteX7" fmla="*/ 191637 w 1356069"/>
                    <a:gd name="connsiteY7" fmla="*/ 647285 h 875884"/>
                    <a:gd name="connsiteX8" fmla="*/ 527394 w 1356069"/>
                    <a:gd name="connsiteY8" fmla="*/ 447259 h 875884"/>
                    <a:gd name="connsiteX9" fmla="*/ 627407 w 1356069"/>
                    <a:gd name="connsiteY9" fmla="*/ 456784 h 875884"/>
                    <a:gd name="connsiteX10" fmla="*/ 1127469 w 1356069"/>
                    <a:gd name="connsiteY10" fmla="*/ 875884 h 875884"/>
                    <a:gd name="connsiteX11" fmla="*/ 1356069 w 1356069"/>
                    <a:gd name="connsiteY11" fmla="*/ 728247 h 875884"/>
                    <a:gd name="connsiteX12" fmla="*/ 1094132 w 1356069"/>
                    <a:gd name="connsiteY12" fmla="*/ 135315 h 875884"/>
                    <a:gd name="connsiteX0" fmla="*/ 1094132 w 1356069"/>
                    <a:gd name="connsiteY0" fmla="*/ 135315 h 875884"/>
                    <a:gd name="connsiteX1" fmla="*/ 889344 w 1356069"/>
                    <a:gd name="connsiteY1" fmla="*/ 118647 h 875884"/>
                    <a:gd name="connsiteX2" fmla="*/ 617882 w 1356069"/>
                    <a:gd name="connsiteY2" fmla="*/ 23397 h 875884"/>
                    <a:gd name="connsiteX3" fmla="*/ 501201 w 1356069"/>
                    <a:gd name="connsiteY3" fmla="*/ 1966 h 875884"/>
                    <a:gd name="connsiteX4" fmla="*/ 324987 w 1356069"/>
                    <a:gd name="connsiteY4" fmla="*/ 111504 h 875884"/>
                    <a:gd name="connsiteX5" fmla="*/ 24950 w 1356069"/>
                    <a:gd name="connsiteY5" fmla="*/ 478215 h 875884"/>
                    <a:gd name="connsiteX6" fmla="*/ 48762 w 1356069"/>
                    <a:gd name="connsiteY6" fmla="*/ 656809 h 875884"/>
                    <a:gd name="connsiteX7" fmla="*/ 227355 w 1356069"/>
                    <a:gd name="connsiteY7" fmla="*/ 630616 h 875884"/>
                    <a:gd name="connsiteX8" fmla="*/ 527394 w 1356069"/>
                    <a:gd name="connsiteY8" fmla="*/ 447259 h 875884"/>
                    <a:gd name="connsiteX9" fmla="*/ 627407 w 1356069"/>
                    <a:gd name="connsiteY9" fmla="*/ 456784 h 875884"/>
                    <a:gd name="connsiteX10" fmla="*/ 1127469 w 1356069"/>
                    <a:gd name="connsiteY10" fmla="*/ 875884 h 875884"/>
                    <a:gd name="connsiteX11" fmla="*/ 1356069 w 1356069"/>
                    <a:gd name="connsiteY11" fmla="*/ 728247 h 875884"/>
                    <a:gd name="connsiteX12" fmla="*/ 1094132 w 1356069"/>
                    <a:gd name="connsiteY12" fmla="*/ 135315 h 8758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356069" h="875884">
                      <a:moveTo>
                        <a:pt x="1094132" y="135315"/>
                      </a:moveTo>
                      <a:cubicBezTo>
                        <a:pt x="1016345" y="33715"/>
                        <a:pt x="963956" y="130553"/>
                        <a:pt x="889344" y="118647"/>
                      </a:cubicBezTo>
                      <a:cubicBezTo>
                        <a:pt x="814732" y="106741"/>
                        <a:pt x="686938" y="41653"/>
                        <a:pt x="617882" y="23397"/>
                      </a:cubicBezTo>
                      <a:cubicBezTo>
                        <a:pt x="548826" y="5141"/>
                        <a:pt x="543270" y="-4384"/>
                        <a:pt x="501201" y="1966"/>
                      </a:cubicBezTo>
                      <a:cubicBezTo>
                        <a:pt x="459132" y="8316"/>
                        <a:pt x="405950" y="24192"/>
                        <a:pt x="324987" y="111504"/>
                      </a:cubicBezTo>
                      <a:cubicBezTo>
                        <a:pt x="244024" y="198816"/>
                        <a:pt x="82894" y="382171"/>
                        <a:pt x="24950" y="478215"/>
                      </a:cubicBezTo>
                      <a:cubicBezTo>
                        <a:pt x="-32994" y="574259"/>
                        <a:pt x="24950" y="633790"/>
                        <a:pt x="48762" y="656809"/>
                      </a:cubicBezTo>
                      <a:cubicBezTo>
                        <a:pt x="72574" y="679828"/>
                        <a:pt x="142424" y="662366"/>
                        <a:pt x="227355" y="630616"/>
                      </a:cubicBezTo>
                      <a:cubicBezTo>
                        <a:pt x="312286" y="598866"/>
                        <a:pt x="444844" y="482978"/>
                        <a:pt x="527394" y="447259"/>
                      </a:cubicBezTo>
                      <a:lnTo>
                        <a:pt x="627407" y="456784"/>
                      </a:lnTo>
                      <a:cubicBezTo>
                        <a:pt x="727419" y="528221"/>
                        <a:pt x="1006025" y="830640"/>
                        <a:pt x="1127469" y="875884"/>
                      </a:cubicBezTo>
                      <a:lnTo>
                        <a:pt x="1356069" y="728247"/>
                      </a:lnTo>
                      <a:lnTo>
                        <a:pt x="1094132" y="13531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5" name="Rectangle 64"/>
                <p:cNvSpPr/>
                <p:nvPr/>
              </p:nvSpPr>
              <p:spPr bwMode="gray">
                <a:xfrm rot="20048276" flipH="1">
                  <a:off x="5436711" y="1798654"/>
                  <a:ext cx="57806" cy="231443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6" name="Rounded Rectangle 65"/>
                <p:cNvSpPr/>
                <p:nvPr/>
              </p:nvSpPr>
              <p:spPr bwMode="gray">
                <a:xfrm rot="2128182">
                  <a:off x="4994969" y="2025302"/>
                  <a:ext cx="48171" cy="7139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7" name="Rounded Rectangle 66"/>
                <p:cNvSpPr/>
                <p:nvPr/>
              </p:nvSpPr>
              <p:spPr bwMode="gray">
                <a:xfrm rot="2128182">
                  <a:off x="5044180" y="2059006"/>
                  <a:ext cx="48903" cy="85127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8" name="Rounded Rectangle 67"/>
                <p:cNvSpPr/>
                <p:nvPr/>
              </p:nvSpPr>
              <p:spPr bwMode="gray">
                <a:xfrm rot="2128182">
                  <a:off x="5091141" y="2106448"/>
                  <a:ext cx="48903" cy="78961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9" name="Rounded Rectangle 68"/>
                <p:cNvSpPr/>
                <p:nvPr/>
              </p:nvSpPr>
              <p:spPr bwMode="gray">
                <a:xfrm rot="2128182">
                  <a:off x="5144064" y="2147721"/>
                  <a:ext cx="48903" cy="6734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0" name="Freeform 69"/>
                <p:cNvSpPr/>
                <p:nvPr/>
              </p:nvSpPr>
              <p:spPr bwMode="gray">
                <a:xfrm>
                  <a:off x="5204600" y="2055641"/>
                  <a:ext cx="213202" cy="136896"/>
                </a:xfrm>
                <a:custGeom>
                  <a:avLst/>
                  <a:gdLst>
                    <a:gd name="connsiteX0" fmla="*/ 0 w 758825"/>
                    <a:gd name="connsiteY0" fmla="*/ 485775 h 485775"/>
                    <a:gd name="connsiteX1" fmla="*/ 139700 w 758825"/>
                    <a:gd name="connsiteY1" fmla="*/ 476250 h 485775"/>
                    <a:gd name="connsiteX2" fmla="*/ 158750 w 758825"/>
                    <a:gd name="connsiteY2" fmla="*/ 368300 h 485775"/>
                    <a:gd name="connsiteX3" fmla="*/ 314325 w 758825"/>
                    <a:gd name="connsiteY3" fmla="*/ 393700 h 485775"/>
                    <a:gd name="connsiteX4" fmla="*/ 371475 w 758825"/>
                    <a:gd name="connsiteY4" fmla="*/ 333375 h 485775"/>
                    <a:gd name="connsiteX5" fmla="*/ 342900 w 758825"/>
                    <a:gd name="connsiteY5" fmla="*/ 254000 h 485775"/>
                    <a:gd name="connsiteX6" fmla="*/ 501650 w 758825"/>
                    <a:gd name="connsiteY6" fmla="*/ 279400 h 485775"/>
                    <a:gd name="connsiteX7" fmla="*/ 558800 w 758825"/>
                    <a:gd name="connsiteY7" fmla="*/ 203200 h 485775"/>
                    <a:gd name="connsiteX8" fmla="*/ 552450 w 758825"/>
                    <a:gd name="connsiteY8" fmla="*/ 133350 h 485775"/>
                    <a:gd name="connsiteX9" fmla="*/ 692150 w 758825"/>
                    <a:gd name="connsiteY9" fmla="*/ 161925 h 485775"/>
                    <a:gd name="connsiteX10" fmla="*/ 758825 w 758825"/>
                    <a:gd name="connsiteY10" fmla="*/ 98425 h 485775"/>
                    <a:gd name="connsiteX11" fmla="*/ 755650 w 758825"/>
                    <a:gd name="connsiteY11" fmla="*/ 0 h 485775"/>
                    <a:gd name="connsiteX0" fmla="*/ 0 w 758825"/>
                    <a:gd name="connsiteY0" fmla="*/ 485775 h 487235"/>
                    <a:gd name="connsiteX1" fmla="*/ 139700 w 758825"/>
                    <a:gd name="connsiteY1" fmla="*/ 476250 h 487235"/>
                    <a:gd name="connsiteX2" fmla="*/ 158750 w 758825"/>
                    <a:gd name="connsiteY2" fmla="*/ 368300 h 487235"/>
                    <a:gd name="connsiteX3" fmla="*/ 314325 w 758825"/>
                    <a:gd name="connsiteY3" fmla="*/ 393700 h 487235"/>
                    <a:gd name="connsiteX4" fmla="*/ 371475 w 758825"/>
                    <a:gd name="connsiteY4" fmla="*/ 333375 h 487235"/>
                    <a:gd name="connsiteX5" fmla="*/ 342900 w 758825"/>
                    <a:gd name="connsiteY5" fmla="*/ 254000 h 487235"/>
                    <a:gd name="connsiteX6" fmla="*/ 501650 w 758825"/>
                    <a:gd name="connsiteY6" fmla="*/ 279400 h 487235"/>
                    <a:gd name="connsiteX7" fmla="*/ 558800 w 758825"/>
                    <a:gd name="connsiteY7" fmla="*/ 203200 h 487235"/>
                    <a:gd name="connsiteX8" fmla="*/ 552450 w 758825"/>
                    <a:gd name="connsiteY8" fmla="*/ 133350 h 487235"/>
                    <a:gd name="connsiteX9" fmla="*/ 692150 w 758825"/>
                    <a:gd name="connsiteY9" fmla="*/ 161925 h 487235"/>
                    <a:gd name="connsiteX10" fmla="*/ 758825 w 758825"/>
                    <a:gd name="connsiteY10" fmla="*/ 98425 h 487235"/>
                    <a:gd name="connsiteX11" fmla="*/ 755650 w 758825"/>
                    <a:gd name="connsiteY11" fmla="*/ 0 h 487235"/>
                    <a:gd name="connsiteX0" fmla="*/ 0 w 758825"/>
                    <a:gd name="connsiteY0" fmla="*/ 485775 h 487235"/>
                    <a:gd name="connsiteX1" fmla="*/ 139700 w 758825"/>
                    <a:gd name="connsiteY1" fmla="*/ 476250 h 487235"/>
                    <a:gd name="connsiteX2" fmla="*/ 158750 w 758825"/>
                    <a:gd name="connsiteY2" fmla="*/ 368300 h 487235"/>
                    <a:gd name="connsiteX3" fmla="*/ 314325 w 758825"/>
                    <a:gd name="connsiteY3" fmla="*/ 393700 h 487235"/>
                    <a:gd name="connsiteX4" fmla="*/ 371475 w 758825"/>
                    <a:gd name="connsiteY4" fmla="*/ 333375 h 487235"/>
                    <a:gd name="connsiteX5" fmla="*/ 342900 w 758825"/>
                    <a:gd name="connsiteY5" fmla="*/ 254000 h 487235"/>
                    <a:gd name="connsiteX6" fmla="*/ 501650 w 758825"/>
                    <a:gd name="connsiteY6" fmla="*/ 279400 h 487235"/>
                    <a:gd name="connsiteX7" fmla="*/ 558800 w 758825"/>
                    <a:gd name="connsiteY7" fmla="*/ 203200 h 487235"/>
                    <a:gd name="connsiteX8" fmla="*/ 552450 w 758825"/>
                    <a:gd name="connsiteY8" fmla="*/ 133350 h 487235"/>
                    <a:gd name="connsiteX9" fmla="*/ 692150 w 758825"/>
                    <a:gd name="connsiteY9" fmla="*/ 161925 h 487235"/>
                    <a:gd name="connsiteX10" fmla="*/ 758825 w 758825"/>
                    <a:gd name="connsiteY10" fmla="*/ 98425 h 487235"/>
                    <a:gd name="connsiteX11" fmla="*/ 755650 w 758825"/>
                    <a:gd name="connsiteY11" fmla="*/ 0 h 487235"/>
                    <a:gd name="connsiteX0" fmla="*/ 0 w 758825"/>
                    <a:gd name="connsiteY0" fmla="*/ 485775 h 487235"/>
                    <a:gd name="connsiteX1" fmla="*/ 139700 w 758825"/>
                    <a:gd name="connsiteY1" fmla="*/ 476250 h 487235"/>
                    <a:gd name="connsiteX2" fmla="*/ 158750 w 758825"/>
                    <a:gd name="connsiteY2" fmla="*/ 368300 h 487235"/>
                    <a:gd name="connsiteX3" fmla="*/ 314325 w 758825"/>
                    <a:gd name="connsiteY3" fmla="*/ 393700 h 487235"/>
                    <a:gd name="connsiteX4" fmla="*/ 371475 w 758825"/>
                    <a:gd name="connsiteY4" fmla="*/ 333375 h 487235"/>
                    <a:gd name="connsiteX5" fmla="*/ 342900 w 758825"/>
                    <a:gd name="connsiteY5" fmla="*/ 254000 h 487235"/>
                    <a:gd name="connsiteX6" fmla="*/ 501650 w 758825"/>
                    <a:gd name="connsiteY6" fmla="*/ 279400 h 487235"/>
                    <a:gd name="connsiteX7" fmla="*/ 558800 w 758825"/>
                    <a:gd name="connsiteY7" fmla="*/ 203200 h 487235"/>
                    <a:gd name="connsiteX8" fmla="*/ 552450 w 758825"/>
                    <a:gd name="connsiteY8" fmla="*/ 133350 h 487235"/>
                    <a:gd name="connsiteX9" fmla="*/ 692150 w 758825"/>
                    <a:gd name="connsiteY9" fmla="*/ 161925 h 487235"/>
                    <a:gd name="connsiteX10" fmla="*/ 758825 w 758825"/>
                    <a:gd name="connsiteY10" fmla="*/ 98425 h 487235"/>
                    <a:gd name="connsiteX11" fmla="*/ 755650 w 758825"/>
                    <a:gd name="connsiteY11" fmla="*/ 0 h 487235"/>
                    <a:gd name="connsiteX0" fmla="*/ 0 w 758825"/>
                    <a:gd name="connsiteY0" fmla="*/ 485775 h 487235"/>
                    <a:gd name="connsiteX1" fmla="*/ 139700 w 758825"/>
                    <a:gd name="connsiteY1" fmla="*/ 476250 h 487235"/>
                    <a:gd name="connsiteX2" fmla="*/ 158750 w 758825"/>
                    <a:gd name="connsiteY2" fmla="*/ 368300 h 487235"/>
                    <a:gd name="connsiteX3" fmla="*/ 314325 w 758825"/>
                    <a:gd name="connsiteY3" fmla="*/ 393700 h 487235"/>
                    <a:gd name="connsiteX4" fmla="*/ 371475 w 758825"/>
                    <a:gd name="connsiteY4" fmla="*/ 333375 h 487235"/>
                    <a:gd name="connsiteX5" fmla="*/ 342900 w 758825"/>
                    <a:gd name="connsiteY5" fmla="*/ 254000 h 487235"/>
                    <a:gd name="connsiteX6" fmla="*/ 501650 w 758825"/>
                    <a:gd name="connsiteY6" fmla="*/ 279400 h 487235"/>
                    <a:gd name="connsiteX7" fmla="*/ 558800 w 758825"/>
                    <a:gd name="connsiteY7" fmla="*/ 203200 h 487235"/>
                    <a:gd name="connsiteX8" fmla="*/ 552450 w 758825"/>
                    <a:gd name="connsiteY8" fmla="*/ 133350 h 487235"/>
                    <a:gd name="connsiteX9" fmla="*/ 692150 w 758825"/>
                    <a:gd name="connsiteY9" fmla="*/ 161925 h 487235"/>
                    <a:gd name="connsiteX10" fmla="*/ 758825 w 758825"/>
                    <a:gd name="connsiteY10" fmla="*/ 98425 h 487235"/>
                    <a:gd name="connsiteX11" fmla="*/ 755650 w 758825"/>
                    <a:gd name="connsiteY11" fmla="*/ 0 h 487235"/>
                    <a:gd name="connsiteX0" fmla="*/ 0 w 758825"/>
                    <a:gd name="connsiteY0" fmla="*/ 485775 h 487235"/>
                    <a:gd name="connsiteX1" fmla="*/ 139700 w 758825"/>
                    <a:gd name="connsiteY1" fmla="*/ 476250 h 487235"/>
                    <a:gd name="connsiteX2" fmla="*/ 158750 w 758825"/>
                    <a:gd name="connsiteY2" fmla="*/ 368300 h 487235"/>
                    <a:gd name="connsiteX3" fmla="*/ 314325 w 758825"/>
                    <a:gd name="connsiteY3" fmla="*/ 393700 h 487235"/>
                    <a:gd name="connsiteX4" fmla="*/ 371475 w 758825"/>
                    <a:gd name="connsiteY4" fmla="*/ 333375 h 487235"/>
                    <a:gd name="connsiteX5" fmla="*/ 342900 w 758825"/>
                    <a:gd name="connsiteY5" fmla="*/ 254000 h 487235"/>
                    <a:gd name="connsiteX6" fmla="*/ 501650 w 758825"/>
                    <a:gd name="connsiteY6" fmla="*/ 279400 h 487235"/>
                    <a:gd name="connsiteX7" fmla="*/ 558800 w 758825"/>
                    <a:gd name="connsiteY7" fmla="*/ 203200 h 487235"/>
                    <a:gd name="connsiteX8" fmla="*/ 552450 w 758825"/>
                    <a:gd name="connsiteY8" fmla="*/ 133350 h 487235"/>
                    <a:gd name="connsiteX9" fmla="*/ 692150 w 758825"/>
                    <a:gd name="connsiteY9" fmla="*/ 161925 h 487235"/>
                    <a:gd name="connsiteX10" fmla="*/ 758825 w 758825"/>
                    <a:gd name="connsiteY10" fmla="*/ 98425 h 487235"/>
                    <a:gd name="connsiteX11" fmla="*/ 755650 w 758825"/>
                    <a:gd name="connsiteY11" fmla="*/ 0 h 487235"/>
                    <a:gd name="connsiteX0" fmla="*/ 0 w 758825"/>
                    <a:gd name="connsiteY0" fmla="*/ 485775 h 487235"/>
                    <a:gd name="connsiteX1" fmla="*/ 139700 w 758825"/>
                    <a:gd name="connsiteY1" fmla="*/ 476250 h 487235"/>
                    <a:gd name="connsiteX2" fmla="*/ 158750 w 758825"/>
                    <a:gd name="connsiteY2" fmla="*/ 368300 h 487235"/>
                    <a:gd name="connsiteX3" fmla="*/ 314325 w 758825"/>
                    <a:gd name="connsiteY3" fmla="*/ 393700 h 487235"/>
                    <a:gd name="connsiteX4" fmla="*/ 371475 w 758825"/>
                    <a:gd name="connsiteY4" fmla="*/ 333375 h 487235"/>
                    <a:gd name="connsiteX5" fmla="*/ 342900 w 758825"/>
                    <a:gd name="connsiteY5" fmla="*/ 254000 h 487235"/>
                    <a:gd name="connsiteX6" fmla="*/ 501650 w 758825"/>
                    <a:gd name="connsiteY6" fmla="*/ 279400 h 487235"/>
                    <a:gd name="connsiteX7" fmla="*/ 558800 w 758825"/>
                    <a:gd name="connsiteY7" fmla="*/ 203200 h 487235"/>
                    <a:gd name="connsiteX8" fmla="*/ 552450 w 758825"/>
                    <a:gd name="connsiteY8" fmla="*/ 133350 h 487235"/>
                    <a:gd name="connsiteX9" fmla="*/ 692150 w 758825"/>
                    <a:gd name="connsiteY9" fmla="*/ 161925 h 487235"/>
                    <a:gd name="connsiteX10" fmla="*/ 758825 w 758825"/>
                    <a:gd name="connsiteY10" fmla="*/ 98425 h 487235"/>
                    <a:gd name="connsiteX11" fmla="*/ 755650 w 758825"/>
                    <a:gd name="connsiteY11" fmla="*/ 0 h 487235"/>
                    <a:gd name="connsiteX0" fmla="*/ 0 w 758825"/>
                    <a:gd name="connsiteY0" fmla="*/ 485775 h 487235"/>
                    <a:gd name="connsiteX1" fmla="*/ 139700 w 758825"/>
                    <a:gd name="connsiteY1" fmla="*/ 476250 h 487235"/>
                    <a:gd name="connsiteX2" fmla="*/ 158750 w 758825"/>
                    <a:gd name="connsiteY2" fmla="*/ 368300 h 487235"/>
                    <a:gd name="connsiteX3" fmla="*/ 314325 w 758825"/>
                    <a:gd name="connsiteY3" fmla="*/ 393700 h 487235"/>
                    <a:gd name="connsiteX4" fmla="*/ 371475 w 758825"/>
                    <a:gd name="connsiteY4" fmla="*/ 333375 h 487235"/>
                    <a:gd name="connsiteX5" fmla="*/ 342900 w 758825"/>
                    <a:gd name="connsiteY5" fmla="*/ 254000 h 487235"/>
                    <a:gd name="connsiteX6" fmla="*/ 501650 w 758825"/>
                    <a:gd name="connsiteY6" fmla="*/ 279400 h 487235"/>
                    <a:gd name="connsiteX7" fmla="*/ 558800 w 758825"/>
                    <a:gd name="connsiteY7" fmla="*/ 203200 h 487235"/>
                    <a:gd name="connsiteX8" fmla="*/ 552450 w 758825"/>
                    <a:gd name="connsiteY8" fmla="*/ 133350 h 487235"/>
                    <a:gd name="connsiteX9" fmla="*/ 692150 w 758825"/>
                    <a:gd name="connsiteY9" fmla="*/ 161925 h 487235"/>
                    <a:gd name="connsiteX10" fmla="*/ 758825 w 758825"/>
                    <a:gd name="connsiteY10" fmla="*/ 98425 h 487235"/>
                    <a:gd name="connsiteX11" fmla="*/ 755650 w 758825"/>
                    <a:gd name="connsiteY11" fmla="*/ 0 h 487235"/>
                    <a:gd name="connsiteX0" fmla="*/ 0 w 758825"/>
                    <a:gd name="connsiteY0" fmla="*/ 485775 h 487235"/>
                    <a:gd name="connsiteX1" fmla="*/ 139700 w 758825"/>
                    <a:gd name="connsiteY1" fmla="*/ 476250 h 487235"/>
                    <a:gd name="connsiteX2" fmla="*/ 158750 w 758825"/>
                    <a:gd name="connsiteY2" fmla="*/ 368300 h 487235"/>
                    <a:gd name="connsiteX3" fmla="*/ 314325 w 758825"/>
                    <a:gd name="connsiteY3" fmla="*/ 393700 h 487235"/>
                    <a:gd name="connsiteX4" fmla="*/ 371475 w 758825"/>
                    <a:gd name="connsiteY4" fmla="*/ 333375 h 487235"/>
                    <a:gd name="connsiteX5" fmla="*/ 342900 w 758825"/>
                    <a:gd name="connsiteY5" fmla="*/ 254000 h 487235"/>
                    <a:gd name="connsiteX6" fmla="*/ 501650 w 758825"/>
                    <a:gd name="connsiteY6" fmla="*/ 279400 h 487235"/>
                    <a:gd name="connsiteX7" fmla="*/ 558800 w 758825"/>
                    <a:gd name="connsiteY7" fmla="*/ 203200 h 487235"/>
                    <a:gd name="connsiteX8" fmla="*/ 552450 w 758825"/>
                    <a:gd name="connsiteY8" fmla="*/ 133350 h 487235"/>
                    <a:gd name="connsiteX9" fmla="*/ 692150 w 758825"/>
                    <a:gd name="connsiteY9" fmla="*/ 161925 h 487235"/>
                    <a:gd name="connsiteX10" fmla="*/ 758825 w 758825"/>
                    <a:gd name="connsiteY10" fmla="*/ 98425 h 487235"/>
                    <a:gd name="connsiteX11" fmla="*/ 755650 w 758825"/>
                    <a:gd name="connsiteY11" fmla="*/ 0 h 4872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58825" h="487235">
                      <a:moveTo>
                        <a:pt x="0" y="485775"/>
                      </a:moveTo>
                      <a:cubicBezTo>
                        <a:pt x="46567" y="482600"/>
                        <a:pt x="113242" y="495829"/>
                        <a:pt x="139700" y="476250"/>
                      </a:cubicBezTo>
                      <a:cubicBezTo>
                        <a:pt x="166158" y="456671"/>
                        <a:pt x="129646" y="382058"/>
                        <a:pt x="158750" y="368300"/>
                      </a:cubicBezTo>
                      <a:cubicBezTo>
                        <a:pt x="187854" y="354542"/>
                        <a:pt x="278871" y="399521"/>
                        <a:pt x="314325" y="393700"/>
                      </a:cubicBezTo>
                      <a:cubicBezTo>
                        <a:pt x="349779" y="387879"/>
                        <a:pt x="366713" y="356658"/>
                        <a:pt x="371475" y="333375"/>
                      </a:cubicBezTo>
                      <a:lnTo>
                        <a:pt x="342900" y="254000"/>
                      </a:lnTo>
                      <a:cubicBezTo>
                        <a:pt x="364596" y="245004"/>
                        <a:pt x="465667" y="287867"/>
                        <a:pt x="501650" y="279400"/>
                      </a:cubicBezTo>
                      <a:cubicBezTo>
                        <a:pt x="537633" y="270933"/>
                        <a:pt x="550333" y="227542"/>
                        <a:pt x="558800" y="203200"/>
                      </a:cubicBezTo>
                      <a:lnTo>
                        <a:pt x="552450" y="133350"/>
                      </a:lnTo>
                      <a:cubicBezTo>
                        <a:pt x="574675" y="126471"/>
                        <a:pt x="657754" y="167746"/>
                        <a:pt x="692150" y="161925"/>
                      </a:cubicBezTo>
                      <a:cubicBezTo>
                        <a:pt x="726546" y="156104"/>
                        <a:pt x="748242" y="125412"/>
                        <a:pt x="758825" y="98425"/>
                      </a:cubicBezTo>
                      <a:lnTo>
                        <a:pt x="755650" y="0"/>
                      </a:lnTo>
                    </a:path>
                  </a:pathLst>
                </a:custGeom>
                <a:noFill/>
                <a:ln w="12700">
                  <a:solidFill>
                    <a:srgbClr val="6F7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71" name="Rectangle 70"/>
                <p:cNvSpPr/>
                <p:nvPr/>
              </p:nvSpPr>
              <p:spPr bwMode="gray">
                <a:xfrm rot="1430153">
                  <a:off x="4925934" y="1789732"/>
                  <a:ext cx="57806" cy="231443"/>
                </a:xfrm>
                <a:prstGeom prst="rect">
                  <a:avLst/>
                </a:prstGeom>
                <a:solidFill>
                  <a:srgbClr val="6F7F8F"/>
                </a:solidFill>
                <a:ln w="12700">
                  <a:solidFill>
                    <a:srgbClr val="6F7F8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dirty="0" smtClean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72" name="TextBox 71"/>
          <p:cNvSpPr txBox="1">
            <a:spLocks/>
          </p:cNvSpPr>
          <p:nvPr/>
        </p:nvSpPr>
        <p:spPr>
          <a:xfrm>
            <a:off x="363535" y="2758397"/>
            <a:ext cx="1908014" cy="5232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30000"/>
              </a:spcBef>
              <a:buClrTx/>
              <a:buNone/>
            </a:pPr>
            <a:r>
              <a:rPr lang="en-US" sz="1400" dirty="0"/>
              <a:t>1. Finalize alignment and profiles</a:t>
            </a:r>
          </a:p>
        </p:txBody>
      </p:sp>
    </p:spTree>
    <p:extLst>
      <p:ext uri="{BB962C8B-B14F-4D97-AF65-F5344CB8AC3E}">
        <p14:creationId xmlns:p14="http://schemas.microsoft.com/office/powerpoint/2010/main" val="2349678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953" name="think-cell Slide" r:id="rId12" imgW="526" imgH="526" progId="TCLayout.ActiveDocument.1">
                  <p:embed/>
                </p:oleObj>
              </mc:Choice>
              <mc:Fallback>
                <p:oleObj name="think-cell Slide" r:id="rId12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le 1"/>
          <p:cNvSpPr txBox="1">
            <a:spLocks/>
          </p:cNvSpPr>
          <p:nvPr/>
        </p:nvSpPr>
        <p:spPr>
          <a:xfrm>
            <a:off x="161984" y="100983"/>
            <a:ext cx="8724842" cy="307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1193817" eaLnBrk="1" hangingPunct="1">
              <a:tabLst>
                <a:tab pos="359838" algn="l"/>
              </a:tabLst>
              <a:defRPr lang="x-none" sz="1999" b="0" baseline="0">
                <a:solidFill>
                  <a:schemeClr val="bg1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  <a:lvl2pPr defTabSz="1193817" eaLnBrk="1" hangingPunct="1">
              <a:defRPr lang="x-none" sz="2533" b="1">
                <a:solidFill>
                  <a:schemeClr val="tx2"/>
                </a:solidFill>
              </a:defRPr>
            </a:lvl2pPr>
            <a:lvl3pPr defTabSz="1193817" eaLnBrk="1" hangingPunct="1">
              <a:defRPr lang="x-none" sz="2533" b="1">
                <a:solidFill>
                  <a:schemeClr val="tx2"/>
                </a:solidFill>
              </a:defRPr>
            </a:lvl3pPr>
            <a:lvl4pPr defTabSz="1193817" eaLnBrk="1" hangingPunct="1">
              <a:defRPr lang="x-none" sz="2533" b="1">
                <a:solidFill>
                  <a:schemeClr val="tx2"/>
                </a:solidFill>
              </a:defRPr>
            </a:lvl4pPr>
            <a:lvl5pPr defTabSz="1193817" eaLnBrk="1" hangingPunct="1">
              <a:defRPr lang="x-none" sz="2533" b="1">
                <a:solidFill>
                  <a:schemeClr val="tx2"/>
                </a:solidFill>
              </a:defRPr>
            </a:lvl5pPr>
            <a:lvl6pPr marL="609608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6pPr>
            <a:lvl7pPr marL="1219217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7pPr>
            <a:lvl8pPr marL="1828823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8pPr>
            <a:lvl9pPr marL="2438433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Fourth phase – Letting</a:t>
            </a:r>
          </a:p>
        </p:txBody>
      </p:sp>
      <p:pic>
        <p:nvPicPr>
          <p:cNvPr id="35" name="Picture 3" descr="Roadma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" t="1381" r="389" b="11241"/>
          <a:stretch>
            <a:fillRect/>
          </a:stretch>
        </p:blipFill>
        <p:spPr bwMode="gray">
          <a:xfrm>
            <a:off x="14" y="2771651"/>
            <a:ext cx="7534487" cy="195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6" name="Straight Connector 35"/>
          <p:cNvCxnSpPr>
            <a:cxnSpLocks/>
            <a:stCxn id="38" idx="2"/>
          </p:cNvCxnSpPr>
          <p:nvPr/>
        </p:nvCxnSpPr>
        <p:spPr>
          <a:xfrm>
            <a:off x="1471786" y="3214858"/>
            <a:ext cx="0" cy="461920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/>
        </p:nvCxnSpPr>
        <p:spPr>
          <a:xfrm>
            <a:off x="6081760" y="2001790"/>
            <a:ext cx="0" cy="884644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>
            <a:spLocks/>
          </p:cNvSpPr>
          <p:nvPr/>
        </p:nvSpPr>
        <p:spPr>
          <a:xfrm>
            <a:off x="409936" y="2759670"/>
            <a:ext cx="2123727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50000"/>
              </a:spcBef>
              <a:buClrTx/>
              <a:buNone/>
            </a:pPr>
            <a:r>
              <a:rPr lang="en-US" sz="1400" dirty="0"/>
              <a:t>1. Letter of authority</a:t>
            </a:r>
          </a:p>
        </p:txBody>
      </p:sp>
      <p:sp>
        <p:nvSpPr>
          <p:cNvPr id="39" name="TextBox 38"/>
          <p:cNvSpPr txBox="1">
            <a:spLocks/>
          </p:cNvSpPr>
          <p:nvPr/>
        </p:nvSpPr>
        <p:spPr>
          <a:xfrm>
            <a:off x="5080717" y="1557870"/>
            <a:ext cx="1770947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50000"/>
              </a:spcBef>
              <a:buClrTx/>
              <a:buNone/>
            </a:pPr>
            <a:r>
              <a:rPr lang="en-US" sz="1400" dirty="0"/>
              <a:t>4. Award of contracts</a:t>
            </a:r>
          </a:p>
        </p:txBody>
      </p:sp>
      <p:sp>
        <p:nvSpPr>
          <p:cNvPr id="40" name="Rectangle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983386" y="3096431"/>
            <a:ext cx="1081481" cy="276999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800" b="1" dirty="0"/>
              <a:t>Visibility</a:t>
            </a:r>
          </a:p>
        </p:txBody>
      </p:sp>
      <p:grpSp>
        <p:nvGrpSpPr>
          <p:cNvPr id="55" name="Group 54"/>
          <p:cNvGrpSpPr>
            <a:grpSpLocks/>
          </p:cNvGrpSpPr>
          <p:nvPr/>
        </p:nvGrpSpPr>
        <p:grpSpPr>
          <a:xfrm>
            <a:off x="7900649" y="2181981"/>
            <a:ext cx="920674" cy="920674"/>
            <a:chOff x="1275929" y="3144466"/>
            <a:chExt cx="567573" cy="567573"/>
          </a:xfrm>
        </p:grpSpPr>
        <p:sp>
          <p:nvSpPr>
            <p:cNvPr id="69" name="Oval 68"/>
            <p:cNvSpPr>
              <a:spLocks/>
            </p:cNvSpPr>
            <p:nvPr/>
          </p:nvSpPr>
          <p:spPr>
            <a:xfrm>
              <a:off x="1275929" y="3144466"/>
              <a:ext cx="567573" cy="56757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70" name="Group 69"/>
            <p:cNvGrpSpPr/>
            <p:nvPr/>
          </p:nvGrpSpPr>
          <p:grpSpPr>
            <a:xfrm>
              <a:off x="1381611" y="3260531"/>
              <a:ext cx="356208" cy="335442"/>
              <a:chOff x="2184576" y="1812006"/>
              <a:chExt cx="939098" cy="884351"/>
            </a:xfrm>
            <a:solidFill>
              <a:schemeClr val="bg1"/>
            </a:solidFill>
          </p:grpSpPr>
          <p:grpSp>
            <p:nvGrpSpPr>
              <p:cNvPr id="71" name="Group 70"/>
              <p:cNvGrpSpPr/>
              <p:nvPr/>
            </p:nvGrpSpPr>
            <p:grpSpPr>
              <a:xfrm>
                <a:off x="2184576" y="1812006"/>
                <a:ext cx="706835" cy="684482"/>
                <a:chOff x="2184576" y="1812006"/>
                <a:chExt cx="706835" cy="684482"/>
              </a:xfrm>
              <a:grpFill/>
            </p:grpSpPr>
            <p:sp>
              <p:nvSpPr>
                <p:cNvPr id="73" name="Freeform 20"/>
                <p:cNvSpPr>
                  <a:spLocks noEditPoints="1"/>
                </p:cNvSpPr>
                <p:nvPr/>
              </p:nvSpPr>
              <p:spPr bwMode="auto">
                <a:xfrm>
                  <a:off x="2184576" y="1812006"/>
                  <a:ext cx="574551" cy="658032"/>
                </a:xfrm>
                <a:custGeom>
                  <a:avLst/>
                  <a:gdLst>
                    <a:gd name="T0" fmla="*/ 141 w 988"/>
                    <a:gd name="T1" fmla="*/ 670 h 1129"/>
                    <a:gd name="T2" fmla="*/ 177 w 988"/>
                    <a:gd name="T3" fmla="*/ 635 h 1129"/>
                    <a:gd name="T4" fmla="*/ 812 w 988"/>
                    <a:gd name="T5" fmla="*/ 635 h 1129"/>
                    <a:gd name="T6" fmla="*/ 847 w 988"/>
                    <a:gd name="T7" fmla="*/ 670 h 1129"/>
                    <a:gd name="T8" fmla="*/ 812 w 988"/>
                    <a:gd name="T9" fmla="*/ 706 h 1129"/>
                    <a:gd name="T10" fmla="*/ 177 w 988"/>
                    <a:gd name="T11" fmla="*/ 706 h 1129"/>
                    <a:gd name="T12" fmla="*/ 141 w 988"/>
                    <a:gd name="T13" fmla="*/ 670 h 1129"/>
                    <a:gd name="T14" fmla="*/ 141 w 988"/>
                    <a:gd name="T15" fmla="*/ 459 h 1129"/>
                    <a:gd name="T16" fmla="*/ 177 w 988"/>
                    <a:gd name="T17" fmla="*/ 423 h 1129"/>
                    <a:gd name="T18" fmla="*/ 812 w 988"/>
                    <a:gd name="T19" fmla="*/ 423 h 1129"/>
                    <a:gd name="T20" fmla="*/ 847 w 988"/>
                    <a:gd name="T21" fmla="*/ 459 h 1129"/>
                    <a:gd name="T22" fmla="*/ 812 w 988"/>
                    <a:gd name="T23" fmla="*/ 494 h 1129"/>
                    <a:gd name="T24" fmla="*/ 177 w 988"/>
                    <a:gd name="T25" fmla="*/ 494 h 1129"/>
                    <a:gd name="T26" fmla="*/ 141 w 988"/>
                    <a:gd name="T27" fmla="*/ 459 h 1129"/>
                    <a:gd name="T28" fmla="*/ 141 w 988"/>
                    <a:gd name="T29" fmla="*/ 247 h 1129"/>
                    <a:gd name="T30" fmla="*/ 177 w 988"/>
                    <a:gd name="T31" fmla="*/ 212 h 1129"/>
                    <a:gd name="T32" fmla="*/ 812 w 988"/>
                    <a:gd name="T33" fmla="*/ 212 h 1129"/>
                    <a:gd name="T34" fmla="*/ 847 w 988"/>
                    <a:gd name="T35" fmla="*/ 247 h 1129"/>
                    <a:gd name="T36" fmla="*/ 812 w 988"/>
                    <a:gd name="T37" fmla="*/ 282 h 1129"/>
                    <a:gd name="T38" fmla="*/ 177 w 988"/>
                    <a:gd name="T39" fmla="*/ 282 h 1129"/>
                    <a:gd name="T40" fmla="*/ 141 w 988"/>
                    <a:gd name="T41" fmla="*/ 247 h 1129"/>
                    <a:gd name="T42" fmla="*/ 917 w 988"/>
                    <a:gd name="T43" fmla="*/ 776 h 1129"/>
                    <a:gd name="T44" fmla="*/ 706 w 988"/>
                    <a:gd name="T45" fmla="*/ 776 h 1129"/>
                    <a:gd name="T46" fmla="*/ 635 w 988"/>
                    <a:gd name="T47" fmla="*/ 847 h 1129"/>
                    <a:gd name="T48" fmla="*/ 635 w 988"/>
                    <a:gd name="T49" fmla="*/ 1058 h 1129"/>
                    <a:gd name="T50" fmla="*/ 71 w 988"/>
                    <a:gd name="T51" fmla="*/ 1058 h 1129"/>
                    <a:gd name="T52" fmla="*/ 71 w 988"/>
                    <a:gd name="T53" fmla="*/ 71 h 1129"/>
                    <a:gd name="T54" fmla="*/ 917 w 988"/>
                    <a:gd name="T55" fmla="*/ 71 h 1129"/>
                    <a:gd name="T56" fmla="*/ 917 w 988"/>
                    <a:gd name="T57" fmla="*/ 776 h 1129"/>
                    <a:gd name="T58" fmla="*/ 706 w 988"/>
                    <a:gd name="T59" fmla="*/ 1029 h 1129"/>
                    <a:gd name="T60" fmla="*/ 706 w 988"/>
                    <a:gd name="T61" fmla="*/ 847 h 1129"/>
                    <a:gd name="T62" fmla="*/ 888 w 988"/>
                    <a:gd name="T63" fmla="*/ 847 h 1129"/>
                    <a:gd name="T64" fmla="*/ 706 w 988"/>
                    <a:gd name="T65" fmla="*/ 1029 h 1129"/>
                    <a:gd name="T66" fmla="*/ 917 w 988"/>
                    <a:gd name="T67" fmla="*/ 0 h 1129"/>
                    <a:gd name="T68" fmla="*/ 71 w 988"/>
                    <a:gd name="T69" fmla="*/ 0 h 1129"/>
                    <a:gd name="T70" fmla="*/ 0 w 988"/>
                    <a:gd name="T71" fmla="*/ 71 h 1129"/>
                    <a:gd name="T72" fmla="*/ 0 w 988"/>
                    <a:gd name="T73" fmla="*/ 1058 h 1129"/>
                    <a:gd name="T74" fmla="*/ 71 w 988"/>
                    <a:gd name="T75" fmla="*/ 1129 h 1129"/>
                    <a:gd name="T76" fmla="*/ 706 w 988"/>
                    <a:gd name="T77" fmla="*/ 1129 h 1129"/>
                    <a:gd name="T78" fmla="*/ 988 w 988"/>
                    <a:gd name="T79" fmla="*/ 847 h 1129"/>
                    <a:gd name="T80" fmla="*/ 988 w 988"/>
                    <a:gd name="T81" fmla="*/ 71 h 1129"/>
                    <a:gd name="T82" fmla="*/ 917 w 988"/>
                    <a:gd name="T83" fmla="*/ 0 h 1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88" h="1129">
                      <a:moveTo>
                        <a:pt x="141" y="670"/>
                      </a:moveTo>
                      <a:cubicBezTo>
                        <a:pt x="141" y="651"/>
                        <a:pt x="157" y="635"/>
                        <a:pt x="177" y="635"/>
                      </a:cubicBezTo>
                      <a:lnTo>
                        <a:pt x="812" y="635"/>
                      </a:lnTo>
                      <a:cubicBezTo>
                        <a:pt x="831" y="635"/>
                        <a:pt x="847" y="651"/>
                        <a:pt x="847" y="670"/>
                      </a:cubicBezTo>
                      <a:cubicBezTo>
                        <a:pt x="847" y="690"/>
                        <a:pt x="831" y="706"/>
                        <a:pt x="812" y="706"/>
                      </a:cubicBezTo>
                      <a:lnTo>
                        <a:pt x="177" y="706"/>
                      </a:lnTo>
                      <a:cubicBezTo>
                        <a:pt x="157" y="706"/>
                        <a:pt x="141" y="690"/>
                        <a:pt x="141" y="670"/>
                      </a:cubicBezTo>
                      <a:moveTo>
                        <a:pt x="141" y="459"/>
                      </a:moveTo>
                      <a:cubicBezTo>
                        <a:pt x="141" y="439"/>
                        <a:pt x="157" y="423"/>
                        <a:pt x="177" y="423"/>
                      </a:cubicBezTo>
                      <a:lnTo>
                        <a:pt x="812" y="423"/>
                      </a:lnTo>
                      <a:cubicBezTo>
                        <a:pt x="831" y="423"/>
                        <a:pt x="847" y="439"/>
                        <a:pt x="847" y="459"/>
                      </a:cubicBezTo>
                      <a:cubicBezTo>
                        <a:pt x="847" y="478"/>
                        <a:pt x="831" y="494"/>
                        <a:pt x="812" y="494"/>
                      </a:cubicBezTo>
                      <a:lnTo>
                        <a:pt x="177" y="494"/>
                      </a:lnTo>
                      <a:cubicBezTo>
                        <a:pt x="157" y="494"/>
                        <a:pt x="141" y="478"/>
                        <a:pt x="141" y="459"/>
                      </a:cubicBezTo>
                      <a:moveTo>
                        <a:pt x="141" y="247"/>
                      </a:moveTo>
                      <a:cubicBezTo>
                        <a:pt x="141" y="228"/>
                        <a:pt x="157" y="212"/>
                        <a:pt x="177" y="212"/>
                      </a:cubicBezTo>
                      <a:lnTo>
                        <a:pt x="812" y="212"/>
                      </a:lnTo>
                      <a:cubicBezTo>
                        <a:pt x="831" y="212"/>
                        <a:pt x="847" y="228"/>
                        <a:pt x="847" y="247"/>
                      </a:cubicBezTo>
                      <a:cubicBezTo>
                        <a:pt x="847" y="267"/>
                        <a:pt x="831" y="282"/>
                        <a:pt x="812" y="282"/>
                      </a:cubicBezTo>
                      <a:lnTo>
                        <a:pt x="177" y="282"/>
                      </a:lnTo>
                      <a:cubicBezTo>
                        <a:pt x="157" y="282"/>
                        <a:pt x="141" y="267"/>
                        <a:pt x="141" y="247"/>
                      </a:cubicBezTo>
                      <a:moveTo>
                        <a:pt x="917" y="776"/>
                      </a:moveTo>
                      <a:lnTo>
                        <a:pt x="706" y="776"/>
                      </a:lnTo>
                      <a:cubicBezTo>
                        <a:pt x="667" y="776"/>
                        <a:pt x="635" y="808"/>
                        <a:pt x="635" y="847"/>
                      </a:cubicBezTo>
                      <a:lnTo>
                        <a:pt x="635" y="1058"/>
                      </a:lnTo>
                      <a:lnTo>
                        <a:pt x="71" y="1058"/>
                      </a:lnTo>
                      <a:lnTo>
                        <a:pt x="71" y="71"/>
                      </a:lnTo>
                      <a:lnTo>
                        <a:pt x="917" y="71"/>
                      </a:lnTo>
                      <a:lnTo>
                        <a:pt x="917" y="776"/>
                      </a:lnTo>
                      <a:close/>
                      <a:moveTo>
                        <a:pt x="706" y="1029"/>
                      </a:moveTo>
                      <a:lnTo>
                        <a:pt x="706" y="847"/>
                      </a:lnTo>
                      <a:lnTo>
                        <a:pt x="888" y="847"/>
                      </a:lnTo>
                      <a:lnTo>
                        <a:pt x="706" y="1029"/>
                      </a:lnTo>
                      <a:close/>
                      <a:moveTo>
                        <a:pt x="917" y="0"/>
                      </a:moveTo>
                      <a:lnTo>
                        <a:pt x="71" y="0"/>
                      </a:lnTo>
                      <a:cubicBezTo>
                        <a:pt x="32" y="0"/>
                        <a:pt x="0" y="32"/>
                        <a:pt x="0" y="71"/>
                      </a:cubicBezTo>
                      <a:lnTo>
                        <a:pt x="0" y="1058"/>
                      </a:lnTo>
                      <a:cubicBezTo>
                        <a:pt x="0" y="1097"/>
                        <a:pt x="32" y="1129"/>
                        <a:pt x="71" y="1129"/>
                      </a:cubicBezTo>
                      <a:lnTo>
                        <a:pt x="706" y="1129"/>
                      </a:lnTo>
                      <a:lnTo>
                        <a:pt x="988" y="847"/>
                      </a:lnTo>
                      <a:lnTo>
                        <a:pt x="988" y="71"/>
                      </a:lnTo>
                      <a:cubicBezTo>
                        <a:pt x="988" y="32"/>
                        <a:pt x="956" y="0"/>
                        <a:pt x="917" y="0"/>
                      </a:cubicBezTo>
                    </a:path>
                  </a:pathLst>
                </a:custGeom>
                <a:solidFill>
                  <a:srgbClr val="6F7F8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grpSp>
              <p:nvGrpSpPr>
                <p:cNvPr id="74" name="Group 73"/>
                <p:cNvGrpSpPr/>
                <p:nvPr/>
              </p:nvGrpSpPr>
              <p:grpSpPr>
                <a:xfrm>
                  <a:off x="2401213" y="2010606"/>
                  <a:ext cx="490198" cy="485882"/>
                  <a:chOff x="2401213" y="2010606"/>
                  <a:chExt cx="490198" cy="485882"/>
                </a:xfrm>
                <a:grpFill/>
              </p:grpSpPr>
              <p:sp>
                <p:nvSpPr>
                  <p:cNvPr id="75" name="Oval 74"/>
                  <p:cNvSpPr/>
                  <p:nvPr/>
                </p:nvSpPr>
                <p:spPr>
                  <a:xfrm rot="20671348">
                    <a:off x="2405529" y="2010606"/>
                    <a:ext cx="485882" cy="485882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>
                    <a:noAutofit/>
                  </a:bodyPr>
                  <a:lstStyle/>
                  <a:p>
                    <a:pPr algn="ctr"/>
                    <a:endParaRPr lang="de-DE" dirty="0" smtClean="0">
                      <a:solidFill>
                        <a:schemeClr val="tx1"/>
                      </a:solidFill>
                    </a:endParaRPr>
                  </a:p>
                </p:txBody>
              </p:sp>
              <p:grpSp>
                <p:nvGrpSpPr>
                  <p:cNvPr id="76" name="Group 75"/>
                  <p:cNvGrpSpPr/>
                  <p:nvPr/>
                </p:nvGrpSpPr>
                <p:grpSpPr>
                  <a:xfrm>
                    <a:off x="2401213" y="2057607"/>
                    <a:ext cx="321695" cy="201325"/>
                    <a:chOff x="2238375" y="2212789"/>
                    <a:chExt cx="903345" cy="565336"/>
                  </a:xfrm>
                  <a:grpFill/>
                </p:grpSpPr>
                <p:sp>
                  <p:nvSpPr>
                    <p:cNvPr id="77" name="Freeform 76"/>
                    <p:cNvSpPr/>
                    <p:nvPr/>
                  </p:nvSpPr>
                  <p:spPr>
                    <a:xfrm>
                      <a:off x="2327275" y="2212789"/>
                      <a:ext cx="806451" cy="216086"/>
                    </a:xfrm>
                    <a:custGeom>
                      <a:avLst/>
                      <a:gdLst>
                        <a:gd name="connsiteX0" fmla="*/ 0 w 806451"/>
                        <a:gd name="connsiteY0" fmla="*/ 0 h 216086"/>
                        <a:gd name="connsiteX1" fmla="*/ 698408 w 806451"/>
                        <a:gd name="connsiteY1" fmla="*/ 0 h 216086"/>
                        <a:gd name="connsiteX2" fmla="*/ 806451 w 806451"/>
                        <a:gd name="connsiteY2" fmla="*/ 108043 h 216086"/>
                        <a:gd name="connsiteX3" fmla="*/ 698408 w 806451"/>
                        <a:gd name="connsiteY3" fmla="*/ 216086 h 216086"/>
                        <a:gd name="connsiteX4" fmla="*/ 0 w 806451"/>
                        <a:gd name="connsiteY4" fmla="*/ 216086 h 2160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06451" h="216086">
                          <a:moveTo>
                            <a:pt x="0" y="0"/>
                          </a:moveTo>
                          <a:lnTo>
                            <a:pt x="698408" y="0"/>
                          </a:lnTo>
                          <a:cubicBezTo>
                            <a:pt x="758079" y="0"/>
                            <a:pt x="806451" y="48372"/>
                            <a:pt x="806451" y="108043"/>
                          </a:cubicBezTo>
                          <a:cubicBezTo>
                            <a:pt x="806451" y="167714"/>
                            <a:pt x="758079" y="216086"/>
                            <a:pt x="698408" y="216086"/>
                          </a:cubicBezTo>
                          <a:lnTo>
                            <a:pt x="0" y="216086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9525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>
                      <a:noAutofit/>
                    </a:bodyPr>
                    <a:lstStyle/>
                    <a:p>
                      <a:pPr algn="ctr"/>
                      <a:endParaRPr lang="de-DE" dirty="0" smtClean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78" name="Freeform 77"/>
                    <p:cNvSpPr/>
                    <p:nvPr/>
                  </p:nvSpPr>
                  <p:spPr>
                    <a:xfrm>
                      <a:off x="2238375" y="2562039"/>
                      <a:ext cx="903345" cy="216086"/>
                    </a:xfrm>
                    <a:custGeom>
                      <a:avLst/>
                      <a:gdLst>
                        <a:gd name="connsiteX0" fmla="*/ 0 w 903345"/>
                        <a:gd name="connsiteY0" fmla="*/ 0 h 216086"/>
                        <a:gd name="connsiteX1" fmla="*/ 795302 w 903345"/>
                        <a:gd name="connsiteY1" fmla="*/ 0 h 216086"/>
                        <a:gd name="connsiteX2" fmla="*/ 903345 w 903345"/>
                        <a:gd name="connsiteY2" fmla="*/ 108043 h 216086"/>
                        <a:gd name="connsiteX3" fmla="*/ 795302 w 903345"/>
                        <a:gd name="connsiteY3" fmla="*/ 216086 h 216086"/>
                        <a:gd name="connsiteX4" fmla="*/ 0 w 903345"/>
                        <a:gd name="connsiteY4" fmla="*/ 216086 h 2160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03345" h="216086">
                          <a:moveTo>
                            <a:pt x="0" y="0"/>
                          </a:moveTo>
                          <a:lnTo>
                            <a:pt x="795302" y="0"/>
                          </a:lnTo>
                          <a:cubicBezTo>
                            <a:pt x="854973" y="0"/>
                            <a:pt x="903345" y="48372"/>
                            <a:pt x="903345" y="108043"/>
                          </a:cubicBezTo>
                          <a:cubicBezTo>
                            <a:pt x="903345" y="167714"/>
                            <a:pt x="854973" y="216086"/>
                            <a:pt x="795302" y="216086"/>
                          </a:cubicBezTo>
                          <a:lnTo>
                            <a:pt x="0" y="216086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9525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>
                      <a:noAutofit/>
                    </a:bodyPr>
                    <a:lstStyle/>
                    <a:p>
                      <a:pPr algn="ctr"/>
                      <a:endParaRPr lang="de-DE" dirty="0" smtClean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72" name="Freeform 191"/>
              <p:cNvSpPr>
                <a:spLocks noEditPoints="1"/>
              </p:cNvSpPr>
              <p:nvPr/>
            </p:nvSpPr>
            <p:spPr bwMode="gray">
              <a:xfrm rot="20671348" flipH="1">
                <a:off x="2394579" y="1936813"/>
                <a:ext cx="729095" cy="759544"/>
              </a:xfrm>
              <a:custGeom>
                <a:avLst/>
                <a:gdLst>
                  <a:gd name="T0" fmla="*/ 166 w 268"/>
                  <a:gd name="T1" fmla="*/ 0 h 269"/>
                  <a:gd name="T2" fmla="*/ 65 w 268"/>
                  <a:gd name="T3" fmla="*/ 102 h 269"/>
                  <a:gd name="T4" fmla="*/ 79 w 268"/>
                  <a:gd name="T5" fmla="*/ 153 h 269"/>
                  <a:gd name="T6" fmla="*/ 75 w 268"/>
                  <a:gd name="T7" fmla="*/ 156 h 269"/>
                  <a:gd name="T8" fmla="*/ 10 w 268"/>
                  <a:gd name="T9" fmla="*/ 221 h 269"/>
                  <a:gd name="T10" fmla="*/ 10 w 268"/>
                  <a:gd name="T11" fmla="*/ 258 h 269"/>
                  <a:gd name="T12" fmla="*/ 47 w 268"/>
                  <a:gd name="T13" fmla="*/ 258 h 269"/>
                  <a:gd name="T14" fmla="*/ 113 w 268"/>
                  <a:gd name="T15" fmla="*/ 193 h 269"/>
                  <a:gd name="T16" fmla="*/ 116 w 268"/>
                  <a:gd name="T17" fmla="*/ 190 h 269"/>
                  <a:gd name="T18" fmla="*/ 166 w 268"/>
                  <a:gd name="T19" fmla="*/ 203 h 269"/>
                  <a:gd name="T20" fmla="*/ 268 w 268"/>
                  <a:gd name="T21" fmla="*/ 102 h 269"/>
                  <a:gd name="T22" fmla="*/ 166 w 268"/>
                  <a:gd name="T23" fmla="*/ 0 h 269"/>
                  <a:gd name="T24" fmla="*/ 167 w 268"/>
                  <a:gd name="T25" fmla="*/ 182 h 269"/>
                  <a:gd name="T26" fmla="*/ 86 w 268"/>
                  <a:gd name="T27" fmla="*/ 101 h 269"/>
                  <a:gd name="T28" fmla="*/ 167 w 268"/>
                  <a:gd name="T29" fmla="*/ 21 h 269"/>
                  <a:gd name="T30" fmla="*/ 247 w 268"/>
                  <a:gd name="T31" fmla="*/ 101 h 269"/>
                  <a:gd name="T32" fmla="*/ 167 w 268"/>
                  <a:gd name="T33" fmla="*/ 182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68" h="269">
                    <a:moveTo>
                      <a:pt x="166" y="0"/>
                    </a:moveTo>
                    <a:cubicBezTo>
                      <a:pt x="110" y="0"/>
                      <a:pt x="65" y="46"/>
                      <a:pt x="65" y="102"/>
                    </a:cubicBezTo>
                    <a:cubicBezTo>
                      <a:pt x="65" y="121"/>
                      <a:pt x="70" y="138"/>
                      <a:pt x="79" y="153"/>
                    </a:cubicBezTo>
                    <a:cubicBezTo>
                      <a:pt x="78" y="154"/>
                      <a:pt x="76" y="155"/>
                      <a:pt x="75" y="156"/>
                    </a:cubicBezTo>
                    <a:cubicBezTo>
                      <a:pt x="10" y="221"/>
                      <a:pt x="10" y="221"/>
                      <a:pt x="10" y="221"/>
                    </a:cubicBezTo>
                    <a:cubicBezTo>
                      <a:pt x="0" y="231"/>
                      <a:pt x="0" y="248"/>
                      <a:pt x="10" y="258"/>
                    </a:cubicBezTo>
                    <a:cubicBezTo>
                      <a:pt x="21" y="269"/>
                      <a:pt x="37" y="269"/>
                      <a:pt x="47" y="258"/>
                    </a:cubicBezTo>
                    <a:cubicBezTo>
                      <a:pt x="113" y="193"/>
                      <a:pt x="113" y="193"/>
                      <a:pt x="113" y="193"/>
                    </a:cubicBezTo>
                    <a:cubicBezTo>
                      <a:pt x="114" y="192"/>
                      <a:pt x="115" y="191"/>
                      <a:pt x="116" y="190"/>
                    </a:cubicBezTo>
                    <a:cubicBezTo>
                      <a:pt x="131" y="198"/>
                      <a:pt x="148" y="203"/>
                      <a:pt x="166" y="203"/>
                    </a:cubicBezTo>
                    <a:cubicBezTo>
                      <a:pt x="222" y="203"/>
                      <a:pt x="268" y="158"/>
                      <a:pt x="268" y="102"/>
                    </a:cubicBezTo>
                    <a:cubicBezTo>
                      <a:pt x="268" y="46"/>
                      <a:pt x="222" y="0"/>
                      <a:pt x="166" y="0"/>
                    </a:cubicBezTo>
                    <a:close/>
                    <a:moveTo>
                      <a:pt x="167" y="182"/>
                    </a:moveTo>
                    <a:cubicBezTo>
                      <a:pt x="122" y="182"/>
                      <a:pt x="86" y="146"/>
                      <a:pt x="86" y="101"/>
                    </a:cubicBezTo>
                    <a:cubicBezTo>
                      <a:pt x="86" y="57"/>
                      <a:pt x="122" y="21"/>
                      <a:pt x="167" y="21"/>
                    </a:cubicBezTo>
                    <a:cubicBezTo>
                      <a:pt x="211" y="21"/>
                      <a:pt x="247" y="57"/>
                      <a:pt x="247" y="101"/>
                    </a:cubicBezTo>
                    <a:cubicBezTo>
                      <a:pt x="247" y="146"/>
                      <a:pt x="211" y="182"/>
                      <a:pt x="167" y="182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cxnSp>
        <p:nvCxnSpPr>
          <p:cNvPr id="79" name="Straight Connector 78"/>
          <p:cNvCxnSpPr>
            <a:cxnSpLocks/>
          </p:cNvCxnSpPr>
          <p:nvPr/>
        </p:nvCxnSpPr>
        <p:spPr>
          <a:xfrm flipV="1">
            <a:off x="2770871" y="3973451"/>
            <a:ext cx="0" cy="248530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>
            <a:spLocks/>
          </p:cNvSpPr>
          <p:nvPr/>
        </p:nvSpPr>
        <p:spPr>
          <a:xfrm>
            <a:off x="1807511" y="4165601"/>
            <a:ext cx="2115558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50000"/>
              </a:spcBef>
              <a:buClrTx/>
              <a:buNone/>
            </a:pPr>
            <a:r>
              <a:rPr lang="en-US" sz="1400" dirty="0"/>
              <a:t>2. Project advertisement</a:t>
            </a:r>
          </a:p>
        </p:txBody>
      </p:sp>
      <p:cxnSp>
        <p:nvCxnSpPr>
          <p:cNvPr id="81" name="Straight Connector 80"/>
          <p:cNvCxnSpPr>
            <a:cxnSpLocks/>
          </p:cNvCxnSpPr>
          <p:nvPr/>
        </p:nvCxnSpPr>
        <p:spPr>
          <a:xfrm flipV="1">
            <a:off x="5216052" y="3645028"/>
            <a:ext cx="0" cy="248530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>
            <a:spLocks/>
          </p:cNvSpPr>
          <p:nvPr/>
        </p:nvSpPr>
        <p:spPr>
          <a:xfrm>
            <a:off x="4452261" y="3893557"/>
            <a:ext cx="1560905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50000"/>
              </a:spcBef>
              <a:buClrTx/>
              <a:buNone/>
            </a:pPr>
            <a:r>
              <a:rPr lang="en-US" sz="1400" dirty="0"/>
              <a:t>3. Bidding process</a:t>
            </a:r>
          </a:p>
        </p:txBody>
      </p:sp>
      <p:sp>
        <p:nvSpPr>
          <p:cNvPr id="83" name="AutoShap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501583"/>
            <a:ext cx="1892102" cy="640080"/>
          </a:xfrm>
          <a:prstGeom prst="homePlate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squar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oject initiation/ Planning</a:t>
            </a:r>
          </a:p>
        </p:txBody>
      </p:sp>
      <p:sp>
        <p:nvSpPr>
          <p:cNvPr id="84" name="AutoShap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12127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eliminary 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Engineering</a:t>
            </a:r>
          </a:p>
        </p:txBody>
      </p:sp>
      <p:sp>
        <p:nvSpPr>
          <p:cNvPr id="85" name="AutoShap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624254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lans, 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specifications &amp;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estimate (PS&amp;E)</a:t>
            </a:r>
          </a:p>
        </p:txBody>
      </p:sp>
      <p:sp>
        <p:nvSpPr>
          <p:cNvPr id="86" name="AutoShap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436381" y="501583"/>
            <a:ext cx="1892102" cy="640080"/>
          </a:xfrm>
          <a:prstGeom prst="chevron">
            <a:avLst>
              <a:gd name="adj" fmla="val 18199"/>
            </a:avLst>
          </a:pr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/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Letting</a:t>
            </a:r>
          </a:p>
        </p:txBody>
      </p:sp>
      <p:sp>
        <p:nvSpPr>
          <p:cNvPr id="87" name="AutoShape 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248506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Construction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7534501" y="1154726"/>
            <a:ext cx="1609513" cy="3576953"/>
          </a:xfrm>
          <a:prstGeom prst="rect">
            <a:avLst/>
          </a:prstGeom>
          <a:noFill/>
          <a:ln>
            <a:solidFill>
              <a:srgbClr val="0A1B2B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7235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73" name="think-cell Slide" r:id="rId12" imgW="526" imgH="526" progId="TCLayout.ActiveDocument.1">
                  <p:embed/>
                </p:oleObj>
              </mc:Choice>
              <mc:Fallback>
                <p:oleObj name="think-cell Slide" r:id="rId12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7549055" y="1122509"/>
            <a:ext cx="1609513" cy="3599457"/>
          </a:xfrm>
          <a:prstGeom prst="rect">
            <a:avLst/>
          </a:prstGeom>
          <a:noFill/>
          <a:ln>
            <a:solidFill>
              <a:srgbClr val="0A1B2B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161984" y="100983"/>
            <a:ext cx="8724842" cy="307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1193817" eaLnBrk="1" hangingPunct="1">
              <a:tabLst>
                <a:tab pos="359838" algn="l"/>
              </a:tabLst>
              <a:defRPr lang="x-none" sz="1999" b="0" baseline="0">
                <a:solidFill>
                  <a:schemeClr val="bg1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  <a:lvl2pPr defTabSz="1193817" eaLnBrk="1" hangingPunct="1">
              <a:defRPr lang="x-none" sz="2533" b="1">
                <a:solidFill>
                  <a:schemeClr val="tx2"/>
                </a:solidFill>
              </a:defRPr>
            </a:lvl2pPr>
            <a:lvl3pPr defTabSz="1193817" eaLnBrk="1" hangingPunct="1">
              <a:defRPr lang="x-none" sz="2533" b="1">
                <a:solidFill>
                  <a:schemeClr val="tx2"/>
                </a:solidFill>
              </a:defRPr>
            </a:lvl3pPr>
            <a:lvl4pPr defTabSz="1193817" eaLnBrk="1" hangingPunct="1">
              <a:defRPr lang="x-none" sz="2533" b="1">
                <a:solidFill>
                  <a:schemeClr val="tx2"/>
                </a:solidFill>
              </a:defRPr>
            </a:lvl4pPr>
            <a:lvl5pPr defTabSz="1193817" eaLnBrk="1" hangingPunct="1">
              <a:defRPr lang="x-none" sz="2533" b="1">
                <a:solidFill>
                  <a:schemeClr val="tx2"/>
                </a:solidFill>
              </a:defRPr>
            </a:lvl5pPr>
            <a:lvl6pPr marL="609608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6pPr>
            <a:lvl7pPr marL="1219217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7pPr>
            <a:lvl8pPr marL="1828823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8pPr>
            <a:lvl9pPr marL="2438433" defTabSz="1193817" fontAlgn="base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Fifth phase – Construction</a:t>
            </a:r>
          </a:p>
        </p:txBody>
      </p:sp>
      <p:pic>
        <p:nvPicPr>
          <p:cNvPr id="33" name="Picture 3" descr="Roadma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" t="1381" r="389" b="11241"/>
          <a:stretch>
            <a:fillRect/>
          </a:stretch>
        </p:blipFill>
        <p:spPr bwMode="gray">
          <a:xfrm>
            <a:off x="14" y="2771651"/>
            <a:ext cx="7534487" cy="195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" name="Straight Connector 40"/>
          <p:cNvCxnSpPr>
            <a:cxnSpLocks/>
          </p:cNvCxnSpPr>
          <p:nvPr/>
        </p:nvCxnSpPr>
        <p:spPr>
          <a:xfrm>
            <a:off x="4224091" y="3067051"/>
            <a:ext cx="0" cy="393561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>
            <a:spLocks/>
          </p:cNvSpPr>
          <p:nvPr/>
        </p:nvSpPr>
        <p:spPr>
          <a:xfrm>
            <a:off x="2942599" y="2605060"/>
            <a:ext cx="2217229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3. Supervision and inspection</a:t>
            </a:r>
          </a:p>
        </p:txBody>
      </p:sp>
      <p:cxnSp>
        <p:nvCxnSpPr>
          <p:cNvPr id="43" name="Straight Connector 42"/>
          <p:cNvCxnSpPr>
            <a:cxnSpLocks/>
          </p:cNvCxnSpPr>
          <p:nvPr/>
        </p:nvCxnSpPr>
        <p:spPr>
          <a:xfrm>
            <a:off x="1264683" y="3251214"/>
            <a:ext cx="1" cy="469901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>
            <a:spLocks/>
          </p:cNvSpPr>
          <p:nvPr/>
        </p:nvSpPr>
        <p:spPr>
          <a:xfrm>
            <a:off x="363535" y="2792401"/>
            <a:ext cx="1908014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30000"/>
              </a:spcBef>
              <a:buClrTx/>
              <a:buNone/>
            </a:pPr>
            <a:r>
              <a:rPr lang="en-US" sz="1400" dirty="0"/>
              <a:t>1. Notice to proceed</a:t>
            </a:r>
          </a:p>
        </p:txBody>
      </p:sp>
      <p:cxnSp>
        <p:nvCxnSpPr>
          <p:cNvPr id="45" name="Straight Connector 44"/>
          <p:cNvCxnSpPr>
            <a:cxnSpLocks/>
          </p:cNvCxnSpPr>
          <p:nvPr/>
        </p:nvCxnSpPr>
        <p:spPr>
          <a:xfrm flipV="1">
            <a:off x="2824973" y="3905264"/>
            <a:ext cx="0" cy="214783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AutoShap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501583"/>
            <a:ext cx="1892102" cy="640080"/>
          </a:xfrm>
          <a:prstGeom prst="homePlate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squar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oject initiation/ Planning</a:t>
            </a:r>
          </a:p>
        </p:txBody>
      </p:sp>
      <p:sp>
        <p:nvSpPr>
          <p:cNvPr id="47" name="AutoShap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12127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reliminary 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Engineering</a:t>
            </a:r>
          </a:p>
        </p:txBody>
      </p:sp>
      <p:sp>
        <p:nvSpPr>
          <p:cNvPr id="48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624254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Plans, 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specifications &amp;</a:t>
            </a:r>
          </a:p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estimate (PS&amp;E)</a:t>
            </a:r>
          </a:p>
        </p:txBody>
      </p:sp>
      <p:sp>
        <p:nvSpPr>
          <p:cNvPr id="49" name="AutoShap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36381" y="501583"/>
            <a:ext cx="1892102" cy="640080"/>
          </a:xfrm>
          <a:prstGeom prst="chevron">
            <a:avLst>
              <a:gd name="adj" fmla="val 18199"/>
            </a:avLst>
          </a:pr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>
            <a:noAutofit/>
          </a:bodyPr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Letting</a:t>
            </a:r>
          </a:p>
        </p:txBody>
      </p:sp>
      <p:sp>
        <p:nvSpPr>
          <p:cNvPr id="50" name="AutoShape 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248506" y="501583"/>
            <a:ext cx="1892102" cy="640080"/>
          </a:xfrm>
          <a:prstGeom prst="chevron">
            <a:avLst>
              <a:gd name="adj" fmla="val 18199"/>
            </a:avLst>
          </a:pr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356" tIns="45678" rIns="91356" bIns="45678" rtlCol="0" anchor="ctr"/>
          <a:lstStyle/>
          <a:p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Construction</a:t>
            </a: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2009230" y="4120033"/>
            <a:ext cx="1582610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30000"/>
              </a:spcBef>
              <a:buClrTx/>
              <a:buNone/>
            </a:pPr>
            <a:r>
              <a:rPr lang="en-US" sz="1400" dirty="0"/>
              <a:t>2. Pre-construction conference</a:t>
            </a:r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5918201" y="2494490"/>
            <a:ext cx="1" cy="454846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>
            <a:spLocks/>
          </p:cNvSpPr>
          <p:nvPr/>
        </p:nvSpPr>
        <p:spPr>
          <a:xfrm>
            <a:off x="3164206" y="2205681"/>
            <a:ext cx="2752091" cy="28263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5. Quality assurance and testing</a:t>
            </a:r>
          </a:p>
        </p:txBody>
      </p:sp>
      <p:cxnSp>
        <p:nvCxnSpPr>
          <p:cNvPr id="54" name="Straight Connector 53"/>
          <p:cNvCxnSpPr>
            <a:cxnSpLocks/>
          </p:cNvCxnSpPr>
          <p:nvPr/>
        </p:nvCxnSpPr>
        <p:spPr>
          <a:xfrm>
            <a:off x="6422178" y="2075390"/>
            <a:ext cx="1" cy="810446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>
            <a:spLocks/>
          </p:cNvSpPr>
          <p:nvPr/>
        </p:nvSpPr>
        <p:spPr>
          <a:xfrm>
            <a:off x="3920278" y="1786581"/>
            <a:ext cx="2501901" cy="28263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6. Change orders</a:t>
            </a:r>
          </a:p>
        </p:txBody>
      </p:sp>
      <p:cxnSp>
        <p:nvCxnSpPr>
          <p:cNvPr id="57" name="Straight Connector 56"/>
          <p:cNvCxnSpPr>
            <a:cxnSpLocks/>
          </p:cNvCxnSpPr>
          <p:nvPr/>
        </p:nvCxnSpPr>
        <p:spPr>
          <a:xfrm>
            <a:off x="7279988" y="1719804"/>
            <a:ext cx="0" cy="1088051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>
            <a:spLocks/>
          </p:cNvSpPr>
          <p:nvPr/>
        </p:nvSpPr>
        <p:spPr>
          <a:xfrm>
            <a:off x="4248688" y="1430967"/>
            <a:ext cx="3027300" cy="28263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7. Project acceptance and close-out</a:t>
            </a:r>
          </a:p>
        </p:txBody>
      </p:sp>
      <p:cxnSp>
        <p:nvCxnSpPr>
          <p:cNvPr id="59" name="Straight Connector 58"/>
          <p:cNvCxnSpPr>
            <a:cxnSpLocks/>
            <a:stCxn id="60" idx="0"/>
          </p:cNvCxnSpPr>
          <p:nvPr/>
        </p:nvCxnSpPr>
        <p:spPr>
          <a:xfrm flipV="1">
            <a:off x="5845536" y="3581400"/>
            <a:ext cx="1" cy="323850"/>
          </a:xfrm>
          <a:prstGeom prst="line">
            <a:avLst/>
          </a:prstGeom>
          <a:ln w="19050"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>
            <a:spLocks/>
          </p:cNvSpPr>
          <p:nvPr/>
        </p:nvSpPr>
        <p:spPr>
          <a:xfrm>
            <a:off x="4767456" y="3905250"/>
            <a:ext cx="2156156" cy="4551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71940" tIns="71940" rIns="71940" bIns="71940" rtlCol="0" anchor="ctr" anchorCtr="0">
            <a:no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3600" lvl="1" indent="0">
              <a:spcBef>
                <a:spcPct val="20000"/>
              </a:spcBef>
              <a:buNone/>
            </a:pPr>
            <a:r>
              <a:rPr lang="en-US" sz="1400" dirty="0"/>
              <a:t>4. Contract Administration</a:t>
            </a:r>
          </a:p>
        </p:txBody>
      </p:sp>
      <p:grpSp>
        <p:nvGrpSpPr>
          <p:cNvPr id="61" name="Group 60"/>
          <p:cNvGrpSpPr>
            <a:grpSpLocks/>
          </p:cNvGrpSpPr>
          <p:nvPr/>
        </p:nvGrpSpPr>
        <p:grpSpPr>
          <a:xfrm>
            <a:off x="7799668" y="2205680"/>
            <a:ext cx="1048626" cy="1017415"/>
            <a:chOff x="1275929" y="1687911"/>
            <a:chExt cx="567573" cy="567573"/>
          </a:xfrm>
        </p:grpSpPr>
        <p:sp>
          <p:nvSpPr>
            <p:cNvPr id="62" name="Oval 61"/>
            <p:cNvSpPr>
              <a:spLocks/>
            </p:cNvSpPr>
            <p:nvPr/>
          </p:nvSpPr>
          <p:spPr>
            <a:xfrm>
              <a:off x="1275929" y="1687911"/>
              <a:ext cx="567573" cy="56757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63" name="Group 62"/>
            <p:cNvGrpSpPr/>
            <p:nvPr/>
          </p:nvGrpSpPr>
          <p:grpSpPr bwMode="gray">
            <a:xfrm>
              <a:off x="1391801" y="1859093"/>
              <a:ext cx="335828" cy="225208"/>
              <a:chOff x="4925934" y="1789732"/>
              <a:chExt cx="568583" cy="425334"/>
            </a:xfrm>
          </p:grpSpPr>
          <p:sp>
            <p:nvSpPr>
              <p:cNvPr id="80" name="Freeform 79"/>
              <p:cNvSpPr/>
              <p:nvPr/>
            </p:nvSpPr>
            <p:spPr bwMode="gray">
              <a:xfrm>
                <a:off x="5032968" y="1817943"/>
                <a:ext cx="173416" cy="38444"/>
              </a:xfrm>
              <a:custGeom>
                <a:avLst/>
                <a:gdLst>
                  <a:gd name="connsiteX0" fmla="*/ 0 w 617220"/>
                  <a:gd name="connsiteY0" fmla="*/ 106680 h 129540"/>
                  <a:gd name="connsiteX1" fmla="*/ 144780 w 617220"/>
                  <a:gd name="connsiteY1" fmla="*/ 129540 h 129540"/>
                  <a:gd name="connsiteX2" fmla="*/ 441960 w 617220"/>
                  <a:gd name="connsiteY2" fmla="*/ 0 h 129540"/>
                  <a:gd name="connsiteX3" fmla="*/ 617220 w 617220"/>
                  <a:gd name="connsiteY3" fmla="*/ 53340 h 129540"/>
                  <a:gd name="connsiteX0" fmla="*/ 0 w 617220"/>
                  <a:gd name="connsiteY0" fmla="*/ 106680 h 129540"/>
                  <a:gd name="connsiteX1" fmla="*/ 144780 w 617220"/>
                  <a:gd name="connsiteY1" fmla="*/ 129540 h 129540"/>
                  <a:gd name="connsiteX2" fmla="*/ 441960 w 617220"/>
                  <a:gd name="connsiteY2" fmla="*/ 0 h 129540"/>
                  <a:gd name="connsiteX3" fmla="*/ 617220 w 617220"/>
                  <a:gd name="connsiteY3" fmla="*/ 53340 h 129540"/>
                  <a:gd name="connsiteX0" fmla="*/ 0 w 617220"/>
                  <a:gd name="connsiteY0" fmla="*/ 106680 h 134727"/>
                  <a:gd name="connsiteX1" fmla="*/ 144780 w 617220"/>
                  <a:gd name="connsiteY1" fmla="*/ 129540 h 134727"/>
                  <a:gd name="connsiteX2" fmla="*/ 441960 w 617220"/>
                  <a:gd name="connsiteY2" fmla="*/ 0 h 134727"/>
                  <a:gd name="connsiteX3" fmla="*/ 617220 w 617220"/>
                  <a:gd name="connsiteY3" fmla="*/ 53340 h 134727"/>
                  <a:gd name="connsiteX0" fmla="*/ 0 w 617220"/>
                  <a:gd name="connsiteY0" fmla="*/ 108782 h 136829"/>
                  <a:gd name="connsiteX1" fmla="*/ 144780 w 617220"/>
                  <a:gd name="connsiteY1" fmla="*/ 131642 h 136829"/>
                  <a:gd name="connsiteX2" fmla="*/ 441960 w 617220"/>
                  <a:gd name="connsiteY2" fmla="*/ 2102 h 136829"/>
                  <a:gd name="connsiteX3" fmla="*/ 617220 w 617220"/>
                  <a:gd name="connsiteY3" fmla="*/ 55442 h 13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220" h="136829">
                    <a:moveTo>
                      <a:pt x="0" y="108782"/>
                    </a:moveTo>
                    <a:cubicBezTo>
                      <a:pt x="48260" y="116402"/>
                      <a:pt x="71120" y="149422"/>
                      <a:pt x="144780" y="131642"/>
                    </a:cubicBezTo>
                    <a:cubicBezTo>
                      <a:pt x="218440" y="113862"/>
                      <a:pt x="363220" y="14802"/>
                      <a:pt x="441960" y="2102"/>
                    </a:cubicBezTo>
                    <a:cubicBezTo>
                      <a:pt x="520700" y="-10598"/>
                      <a:pt x="558800" y="37662"/>
                      <a:pt x="617220" y="55442"/>
                    </a:cubicBezTo>
                  </a:path>
                </a:pathLst>
              </a:custGeom>
              <a:noFill/>
              <a:ln w="12700">
                <a:solidFill>
                  <a:srgbClr val="6F7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81" name="Freeform 80"/>
              <p:cNvSpPr/>
              <p:nvPr/>
            </p:nvSpPr>
            <p:spPr bwMode="gray">
              <a:xfrm>
                <a:off x="4946794" y="1999444"/>
                <a:ext cx="48171" cy="49510"/>
              </a:xfrm>
              <a:custGeom>
                <a:avLst/>
                <a:gdLst>
                  <a:gd name="connsiteX0" fmla="*/ 0 w 171450"/>
                  <a:gd name="connsiteY0" fmla="*/ 0 h 176213"/>
                  <a:gd name="connsiteX1" fmla="*/ 171450 w 171450"/>
                  <a:gd name="connsiteY1" fmla="*/ 176213 h 176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450" h="176213">
                    <a:moveTo>
                      <a:pt x="0" y="0"/>
                    </a:moveTo>
                    <a:lnTo>
                      <a:pt x="171450" y="176213"/>
                    </a:lnTo>
                  </a:path>
                </a:pathLst>
              </a:custGeom>
              <a:noFill/>
              <a:ln w="12700">
                <a:solidFill>
                  <a:srgbClr val="6F7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82" name="Freeform 81"/>
              <p:cNvSpPr/>
              <p:nvPr/>
            </p:nvSpPr>
            <p:spPr bwMode="gray">
              <a:xfrm>
                <a:off x="5098348" y="1814903"/>
                <a:ext cx="381006" cy="246093"/>
              </a:xfrm>
              <a:custGeom>
                <a:avLst/>
                <a:gdLst>
                  <a:gd name="connsiteX0" fmla="*/ 1076326 w 1366838"/>
                  <a:gd name="connsiteY0" fmla="*/ 85725 h 866775"/>
                  <a:gd name="connsiteX1" fmla="*/ 900113 w 1366838"/>
                  <a:gd name="connsiteY1" fmla="*/ 109538 h 866775"/>
                  <a:gd name="connsiteX2" fmla="*/ 628651 w 1366838"/>
                  <a:gd name="connsiteY2" fmla="*/ 14288 h 866775"/>
                  <a:gd name="connsiteX3" fmla="*/ 485776 w 1366838"/>
                  <a:gd name="connsiteY3" fmla="*/ 0 h 866775"/>
                  <a:gd name="connsiteX4" fmla="*/ 376238 w 1366838"/>
                  <a:gd name="connsiteY4" fmla="*/ 52388 h 866775"/>
                  <a:gd name="connsiteX5" fmla="*/ 0 w 1366838"/>
                  <a:gd name="connsiteY5" fmla="*/ 523875 h 866775"/>
                  <a:gd name="connsiteX6" fmla="*/ 28575 w 1366838"/>
                  <a:gd name="connsiteY6" fmla="*/ 628650 h 866775"/>
                  <a:gd name="connsiteX7" fmla="*/ 142875 w 1366838"/>
                  <a:gd name="connsiteY7" fmla="*/ 661988 h 866775"/>
                  <a:gd name="connsiteX8" fmla="*/ 538163 w 1366838"/>
                  <a:gd name="connsiteY8" fmla="*/ 438150 h 866775"/>
                  <a:gd name="connsiteX9" fmla="*/ 638176 w 1366838"/>
                  <a:gd name="connsiteY9" fmla="*/ 447675 h 866775"/>
                  <a:gd name="connsiteX10" fmla="*/ 1138238 w 1366838"/>
                  <a:gd name="connsiteY10" fmla="*/ 866775 h 866775"/>
                  <a:gd name="connsiteX11" fmla="*/ 1366838 w 1366838"/>
                  <a:gd name="connsiteY11" fmla="*/ 719138 h 866775"/>
                  <a:gd name="connsiteX12" fmla="*/ 1076326 w 1366838"/>
                  <a:gd name="connsiteY12" fmla="*/ 85725 h 866775"/>
                  <a:gd name="connsiteX0" fmla="*/ 1076326 w 1366838"/>
                  <a:gd name="connsiteY0" fmla="*/ 85725 h 866775"/>
                  <a:gd name="connsiteX1" fmla="*/ 900113 w 1366838"/>
                  <a:gd name="connsiteY1" fmla="*/ 109538 h 866775"/>
                  <a:gd name="connsiteX2" fmla="*/ 628651 w 1366838"/>
                  <a:gd name="connsiteY2" fmla="*/ 14288 h 866775"/>
                  <a:gd name="connsiteX3" fmla="*/ 485776 w 1366838"/>
                  <a:gd name="connsiteY3" fmla="*/ 0 h 866775"/>
                  <a:gd name="connsiteX4" fmla="*/ 376238 w 1366838"/>
                  <a:gd name="connsiteY4" fmla="*/ 52388 h 866775"/>
                  <a:gd name="connsiteX5" fmla="*/ 0 w 1366838"/>
                  <a:gd name="connsiteY5" fmla="*/ 523875 h 866775"/>
                  <a:gd name="connsiteX6" fmla="*/ 28575 w 1366838"/>
                  <a:gd name="connsiteY6" fmla="*/ 628650 h 866775"/>
                  <a:gd name="connsiteX7" fmla="*/ 142875 w 1366838"/>
                  <a:gd name="connsiteY7" fmla="*/ 661988 h 866775"/>
                  <a:gd name="connsiteX8" fmla="*/ 538163 w 1366838"/>
                  <a:gd name="connsiteY8" fmla="*/ 438150 h 866775"/>
                  <a:gd name="connsiteX9" fmla="*/ 638176 w 1366838"/>
                  <a:gd name="connsiteY9" fmla="*/ 447675 h 866775"/>
                  <a:gd name="connsiteX10" fmla="*/ 1138238 w 1366838"/>
                  <a:gd name="connsiteY10" fmla="*/ 866775 h 866775"/>
                  <a:gd name="connsiteX11" fmla="*/ 1366838 w 1366838"/>
                  <a:gd name="connsiteY11" fmla="*/ 719138 h 866775"/>
                  <a:gd name="connsiteX12" fmla="*/ 1076326 w 1366838"/>
                  <a:gd name="connsiteY12" fmla="*/ 85725 h 866775"/>
                  <a:gd name="connsiteX0" fmla="*/ 1076326 w 1366838"/>
                  <a:gd name="connsiteY0" fmla="*/ 85725 h 866775"/>
                  <a:gd name="connsiteX1" fmla="*/ 900113 w 1366838"/>
                  <a:gd name="connsiteY1" fmla="*/ 109538 h 866775"/>
                  <a:gd name="connsiteX2" fmla="*/ 628651 w 1366838"/>
                  <a:gd name="connsiteY2" fmla="*/ 14288 h 866775"/>
                  <a:gd name="connsiteX3" fmla="*/ 485776 w 1366838"/>
                  <a:gd name="connsiteY3" fmla="*/ 0 h 866775"/>
                  <a:gd name="connsiteX4" fmla="*/ 376238 w 1366838"/>
                  <a:gd name="connsiteY4" fmla="*/ 52388 h 866775"/>
                  <a:gd name="connsiteX5" fmla="*/ 0 w 1366838"/>
                  <a:gd name="connsiteY5" fmla="*/ 523875 h 866775"/>
                  <a:gd name="connsiteX6" fmla="*/ 28575 w 1366838"/>
                  <a:gd name="connsiteY6" fmla="*/ 628650 h 866775"/>
                  <a:gd name="connsiteX7" fmla="*/ 142875 w 1366838"/>
                  <a:gd name="connsiteY7" fmla="*/ 661988 h 866775"/>
                  <a:gd name="connsiteX8" fmla="*/ 538163 w 1366838"/>
                  <a:gd name="connsiteY8" fmla="*/ 438150 h 866775"/>
                  <a:gd name="connsiteX9" fmla="*/ 638176 w 1366838"/>
                  <a:gd name="connsiteY9" fmla="*/ 447675 h 866775"/>
                  <a:gd name="connsiteX10" fmla="*/ 1138238 w 1366838"/>
                  <a:gd name="connsiteY10" fmla="*/ 866775 h 866775"/>
                  <a:gd name="connsiteX11" fmla="*/ 1366838 w 1366838"/>
                  <a:gd name="connsiteY11" fmla="*/ 719138 h 866775"/>
                  <a:gd name="connsiteX12" fmla="*/ 1076326 w 1366838"/>
                  <a:gd name="connsiteY12" fmla="*/ 85725 h 866775"/>
                  <a:gd name="connsiteX0" fmla="*/ 1076326 w 1366838"/>
                  <a:gd name="connsiteY0" fmla="*/ 88904 h 869954"/>
                  <a:gd name="connsiteX1" fmla="*/ 900113 w 1366838"/>
                  <a:gd name="connsiteY1" fmla="*/ 112717 h 869954"/>
                  <a:gd name="connsiteX2" fmla="*/ 628651 w 1366838"/>
                  <a:gd name="connsiteY2" fmla="*/ 17467 h 869954"/>
                  <a:gd name="connsiteX3" fmla="*/ 485776 w 1366838"/>
                  <a:gd name="connsiteY3" fmla="*/ 3179 h 869954"/>
                  <a:gd name="connsiteX4" fmla="*/ 376238 w 1366838"/>
                  <a:gd name="connsiteY4" fmla="*/ 55567 h 869954"/>
                  <a:gd name="connsiteX5" fmla="*/ 0 w 1366838"/>
                  <a:gd name="connsiteY5" fmla="*/ 527054 h 869954"/>
                  <a:gd name="connsiteX6" fmla="*/ 28575 w 1366838"/>
                  <a:gd name="connsiteY6" fmla="*/ 631829 h 869954"/>
                  <a:gd name="connsiteX7" fmla="*/ 142875 w 1366838"/>
                  <a:gd name="connsiteY7" fmla="*/ 665167 h 869954"/>
                  <a:gd name="connsiteX8" fmla="*/ 538163 w 1366838"/>
                  <a:gd name="connsiteY8" fmla="*/ 441329 h 869954"/>
                  <a:gd name="connsiteX9" fmla="*/ 638176 w 1366838"/>
                  <a:gd name="connsiteY9" fmla="*/ 450854 h 869954"/>
                  <a:gd name="connsiteX10" fmla="*/ 1138238 w 1366838"/>
                  <a:gd name="connsiteY10" fmla="*/ 869954 h 869954"/>
                  <a:gd name="connsiteX11" fmla="*/ 1366838 w 1366838"/>
                  <a:gd name="connsiteY11" fmla="*/ 722317 h 869954"/>
                  <a:gd name="connsiteX12" fmla="*/ 1076326 w 1366838"/>
                  <a:gd name="connsiteY12" fmla="*/ 88904 h 869954"/>
                  <a:gd name="connsiteX0" fmla="*/ 1076326 w 1366838"/>
                  <a:gd name="connsiteY0" fmla="*/ 90042 h 871092"/>
                  <a:gd name="connsiteX1" fmla="*/ 900113 w 1366838"/>
                  <a:gd name="connsiteY1" fmla="*/ 113855 h 871092"/>
                  <a:gd name="connsiteX2" fmla="*/ 628651 w 1366838"/>
                  <a:gd name="connsiteY2" fmla="*/ 18605 h 871092"/>
                  <a:gd name="connsiteX3" fmla="*/ 485776 w 1366838"/>
                  <a:gd name="connsiteY3" fmla="*/ 4317 h 871092"/>
                  <a:gd name="connsiteX4" fmla="*/ 376238 w 1366838"/>
                  <a:gd name="connsiteY4" fmla="*/ 56705 h 871092"/>
                  <a:gd name="connsiteX5" fmla="*/ 0 w 1366838"/>
                  <a:gd name="connsiteY5" fmla="*/ 528192 h 871092"/>
                  <a:gd name="connsiteX6" fmla="*/ 28575 w 1366838"/>
                  <a:gd name="connsiteY6" fmla="*/ 632967 h 871092"/>
                  <a:gd name="connsiteX7" fmla="*/ 142875 w 1366838"/>
                  <a:gd name="connsiteY7" fmla="*/ 666305 h 871092"/>
                  <a:gd name="connsiteX8" fmla="*/ 538163 w 1366838"/>
                  <a:gd name="connsiteY8" fmla="*/ 442467 h 871092"/>
                  <a:gd name="connsiteX9" fmla="*/ 638176 w 1366838"/>
                  <a:gd name="connsiteY9" fmla="*/ 451992 h 871092"/>
                  <a:gd name="connsiteX10" fmla="*/ 1138238 w 1366838"/>
                  <a:gd name="connsiteY10" fmla="*/ 871092 h 871092"/>
                  <a:gd name="connsiteX11" fmla="*/ 1366838 w 1366838"/>
                  <a:gd name="connsiteY11" fmla="*/ 723455 h 871092"/>
                  <a:gd name="connsiteX12" fmla="*/ 1076326 w 1366838"/>
                  <a:gd name="connsiteY12" fmla="*/ 90042 h 871092"/>
                  <a:gd name="connsiteX0" fmla="*/ 1076326 w 1366838"/>
                  <a:gd name="connsiteY0" fmla="*/ 90042 h 871092"/>
                  <a:gd name="connsiteX1" fmla="*/ 900113 w 1366838"/>
                  <a:gd name="connsiteY1" fmla="*/ 113855 h 871092"/>
                  <a:gd name="connsiteX2" fmla="*/ 628651 w 1366838"/>
                  <a:gd name="connsiteY2" fmla="*/ 18605 h 871092"/>
                  <a:gd name="connsiteX3" fmla="*/ 485776 w 1366838"/>
                  <a:gd name="connsiteY3" fmla="*/ 4317 h 871092"/>
                  <a:gd name="connsiteX4" fmla="*/ 376238 w 1366838"/>
                  <a:gd name="connsiteY4" fmla="*/ 56705 h 871092"/>
                  <a:gd name="connsiteX5" fmla="*/ 0 w 1366838"/>
                  <a:gd name="connsiteY5" fmla="*/ 528192 h 871092"/>
                  <a:gd name="connsiteX6" fmla="*/ 28575 w 1366838"/>
                  <a:gd name="connsiteY6" fmla="*/ 632967 h 871092"/>
                  <a:gd name="connsiteX7" fmla="*/ 142875 w 1366838"/>
                  <a:gd name="connsiteY7" fmla="*/ 666305 h 871092"/>
                  <a:gd name="connsiteX8" fmla="*/ 538163 w 1366838"/>
                  <a:gd name="connsiteY8" fmla="*/ 442467 h 871092"/>
                  <a:gd name="connsiteX9" fmla="*/ 638176 w 1366838"/>
                  <a:gd name="connsiteY9" fmla="*/ 451992 h 871092"/>
                  <a:gd name="connsiteX10" fmla="*/ 1138238 w 1366838"/>
                  <a:gd name="connsiteY10" fmla="*/ 871092 h 871092"/>
                  <a:gd name="connsiteX11" fmla="*/ 1366838 w 1366838"/>
                  <a:gd name="connsiteY11" fmla="*/ 723455 h 871092"/>
                  <a:gd name="connsiteX12" fmla="*/ 1076326 w 1366838"/>
                  <a:gd name="connsiteY12" fmla="*/ 90042 h 871092"/>
                  <a:gd name="connsiteX0" fmla="*/ 1100207 w 1390719"/>
                  <a:gd name="connsiteY0" fmla="*/ 90042 h 871092"/>
                  <a:gd name="connsiteX1" fmla="*/ 923994 w 1390719"/>
                  <a:gd name="connsiteY1" fmla="*/ 113855 h 871092"/>
                  <a:gd name="connsiteX2" fmla="*/ 652532 w 1390719"/>
                  <a:gd name="connsiteY2" fmla="*/ 18605 h 871092"/>
                  <a:gd name="connsiteX3" fmla="*/ 509657 w 1390719"/>
                  <a:gd name="connsiteY3" fmla="*/ 4317 h 871092"/>
                  <a:gd name="connsiteX4" fmla="*/ 400119 w 1390719"/>
                  <a:gd name="connsiteY4" fmla="*/ 56705 h 871092"/>
                  <a:gd name="connsiteX5" fmla="*/ 23881 w 1390719"/>
                  <a:gd name="connsiteY5" fmla="*/ 528192 h 871092"/>
                  <a:gd name="connsiteX6" fmla="*/ 52456 w 1390719"/>
                  <a:gd name="connsiteY6" fmla="*/ 632967 h 871092"/>
                  <a:gd name="connsiteX7" fmla="*/ 166756 w 1390719"/>
                  <a:gd name="connsiteY7" fmla="*/ 666305 h 871092"/>
                  <a:gd name="connsiteX8" fmla="*/ 562044 w 1390719"/>
                  <a:gd name="connsiteY8" fmla="*/ 442467 h 871092"/>
                  <a:gd name="connsiteX9" fmla="*/ 662057 w 1390719"/>
                  <a:gd name="connsiteY9" fmla="*/ 451992 h 871092"/>
                  <a:gd name="connsiteX10" fmla="*/ 1162119 w 1390719"/>
                  <a:gd name="connsiteY10" fmla="*/ 871092 h 871092"/>
                  <a:gd name="connsiteX11" fmla="*/ 1390719 w 1390719"/>
                  <a:gd name="connsiteY11" fmla="*/ 723455 h 871092"/>
                  <a:gd name="connsiteX12" fmla="*/ 1100207 w 1390719"/>
                  <a:gd name="connsiteY12" fmla="*/ 90042 h 871092"/>
                  <a:gd name="connsiteX0" fmla="*/ 1100207 w 1390719"/>
                  <a:gd name="connsiteY0" fmla="*/ 90042 h 871092"/>
                  <a:gd name="connsiteX1" fmla="*/ 923994 w 1390719"/>
                  <a:gd name="connsiteY1" fmla="*/ 113855 h 871092"/>
                  <a:gd name="connsiteX2" fmla="*/ 652532 w 1390719"/>
                  <a:gd name="connsiteY2" fmla="*/ 18605 h 871092"/>
                  <a:gd name="connsiteX3" fmla="*/ 509657 w 1390719"/>
                  <a:gd name="connsiteY3" fmla="*/ 4317 h 871092"/>
                  <a:gd name="connsiteX4" fmla="*/ 400119 w 1390719"/>
                  <a:gd name="connsiteY4" fmla="*/ 56705 h 871092"/>
                  <a:gd name="connsiteX5" fmla="*/ 23881 w 1390719"/>
                  <a:gd name="connsiteY5" fmla="*/ 528192 h 871092"/>
                  <a:gd name="connsiteX6" fmla="*/ 52456 w 1390719"/>
                  <a:gd name="connsiteY6" fmla="*/ 632967 h 871092"/>
                  <a:gd name="connsiteX7" fmla="*/ 166756 w 1390719"/>
                  <a:gd name="connsiteY7" fmla="*/ 666305 h 871092"/>
                  <a:gd name="connsiteX8" fmla="*/ 562044 w 1390719"/>
                  <a:gd name="connsiteY8" fmla="*/ 442467 h 871092"/>
                  <a:gd name="connsiteX9" fmla="*/ 662057 w 1390719"/>
                  <a:gd name="connsiteY9" fmla="*/ 451992 h 871092"/>
                  <a:gd name="connsiteX10" fmla="*/ 1162119 w 1390719"/>
                  <a:gd name="connsiteY10" fmla="*/ 871092 h 871092"/>
                  <a:gd name="connsiteX11" fmla="*/ 1390719 w 1390719"/>
                  <a:gd name="connsiteY11" fmla="*/ 723455 h 871092"/>
                  <a:gd name="connsiteX12" fmla="*/ 1100207 w 1390719"/>
                  <a:gd name="connsiteY12" fmla="*/ 90042 h 871092"/>
                  <a:gd name="connsiteX0" fmla="*/ 1100207 w 1390719"/>
                  <a:gd name="connsiteY0" fmla="*/ 90042 h 871092"/>
                  <a:gd name="connsiteX1" fmla="*/ 923994 w 1390719"/>
                  <a:gd name="connsiteY1" fmla="*/ 113855 h 871092"/>
                  <a:gd name="connsiteX2" fmla="*/ 652532 w 1390719"/>
                  <a:gd name="connsiteY2" fmla="*/ 18605 h 871092"/>
                  <a:gd name="connsiteX3" fmla="*/ 509657 w 1390719"/>
                  <a:gd name="connsiteY3" fmla="*/ 4317 h 871092"/>
                  <a:gd name="connsiteX4" fmla="*/ 400119 w 1390719"/>
                  <a:gd name="connsiteY4" fmla="*/ 56705 h 871092"/>
                  <a:gd name="connsiteX5" fmla="*/ 23881 w 1390719"/>
                  <a:gd name="connsiteY5" fmla="*/ 528192 h 871092"/>
                  <a:gd name="connsiteX6" fmla="*/ 52456 w 1390719"/>
                  <a:gd name="connsiteY6" fmla="*/ 632967 h 871092"/>
                  <a:gd name="connsiteX7" fmla="*/ 166756 w 1390719"/>
                  <a:gd name="connsiteY7" fmla="*/ 666305 h 871092"/>
                  <a:gd name="connsiteX8" fmla="*/ 562044 w 1390719"/>
                  <a:gd name="connsiteY8" fmla="*/ 442467 h 871092"/>
                  <a:gd name="connsiteX9" fmla="*/ 662057 w 1390719"/>
                  <a:gd name="connsiteY9" fmla="*/ 451992 h 871092"/>
                  <a:gd name="connsiteX10" fmla="*/ 1162119 w 1390719"/>
                  <a:gd name="connsiteY10" fmla="*/ 871092 h 871092"/>
                  <a:gd name="connsiteX11" fmla="*/ 1390719 w 1390719"/>
                  <a:gd name="connsiteY11" fmla="*/ 723455 h 871092"/>
                  <a:gd name="connsiteX12" fmla="*/ 1100207 w 1390719"/>
                  <a:gd name="connsiteY12" fmla="*/ 90042 h 871092"/>
                  <a:gd name="connsiteX0" fmla="*/ 1100207 w 1390719"/>
                  <a:gd name="connsiteY0" fmla="*/ 90042 h 871092"/>
                  <a:gd name="connsiteX1" fmla="*/ 923994 w 1390719"/>
                  <a:gd name="connsiteY1" fmla="*/ 113855 h 871092"/>
                  <a:gd name="connsiteX2" fmla="*/ 652532 w 1390719"/>
                  <a:gd name="connsiteY2" fmla="*/ 18605 h 871092"/>
                  <a:gd name="connsiteX3" fmla="*/ 509657 w 1390719"/>
                  <a:gd name="connsiteY3" fmla="*/ 4317 h 871092"/>
                  <a:gd name="connsiteX4" fmla="*/ 400119 w 1390719"/>
                  <a:gd name="connsiteY4" fmla="*/ 56705 h 871092"/>
                  <a:gd name="connsiteX5" fmla="*/ 23881 w 1390719"/>
                  <a:gd name="connsiteY5" fmla="*/ 528192 h 871092"/>
                  <a:gd name="connsiteX6" fmla="*/ 52456 w 1390719"/>
                  <a:gd name="connsiteY6" fmla="*/ 632967 h 871092"/>
                  <a:gd name="connsiteX7" fmla="*/ 166756 w 1390719"/>
                  <a:gd name="connsiteY7" fmla="*/ 666305 h 871092"/>
                  <a:gd name="connsiteX8" fmla="*/ 562044 w 1390719"/>
                  <a:gd name="connsiteY8" fmla="*/ 442467 h 871092"/>
                  <a:gd name="connsiteX9" fmla="*/ 662057 w 1390719"/>
                  <a:gd name="connsiteY9" fmla="*/ 451992 h 871092"/>
                  <a:gd name="connsiteX10" fmla="*/ 1162119 w 1390719"/>
                  <a:gd name="connsiteY10" fmla="*/ 871092 h 871092"/>
                  <a:gd name="connsiteX11" fmla="*/ 1390719 w 1390719"/>
                  <a:gd name="connsiteY11" fmla="*/ 723455 h 871092"/>
                  <a:gd name="connsiteX12" fmla="*/ 1100207 w 1390719"/>
                  <a:gd name="connsiteY12" fmla="*/ 90042 h 871092"/>
                  <a:gd name="connsiteX0" fmla="*/ 1128782 w 1390719"/>
                  <a:gd name="connsiteY0" fmla="*/ 130523 h 871092"/>
                  <a:gd name="connsiteX1" fmla="*/ 923994 w 1390719"/>
                  <a:gd name="connsiteY1" fmla="*/ 113855 h 871092"/>
                  <a:gd name="connsiteX2" fmla="*/ 652532 w 1390719"/>
                  <a:gd name="connsiteY2" fmla="*/ 18605 h 871092"/>
                  <a:gd name="connsiteX3" fmla="*/ 509657 w 1390719"/>
                  <a:gd name="connsiteY3" fmla="*/ 4317 h 871092"/>
                  <a:gd name="connsiteX4" fmla="*/ 400119 w 1390719"/>
                  <a:gd name="connsiteY4" fmla="*/ 56705 h 871092"/>
                  <a:gd name="connsiteX5" fmla="*/ 23881 w 1390719"/>
                  <a:gd name="connsiteY5" fmla="*/ 528192 h 871092"/>
                  <a:gd name="connsiteX6" fmla="*/ 52456 w 1390719"/>
                  <a:gd name="connsiteY6" fmla="*/ 632967 h 871092"/>
                  <a:gd name="connsiteX7" fmla="*/ 166756 w 1390719"/>
                  <a:gd name="connsiteY7" fmla="*/ 666305 h 871092"/>
                  <a:gd name="connsiteX8" fmla="*/ 562044 w 1390719"/>
                  <a:gd name="connsiteY8" fmla="*/ 442467 h 871092"/>
                  <a:gd name="connsiteX9" fmla="*/ 662057 w 1390719"/>
                  <a:gd name="connsiteY9" fmla="*/ 451992 h 871092"/>
                  <a:gd name="connsiteX10" fmla="*/ 1162119 w 1390719"/>
                  <a:gd name="connsiteY10" fmla="*/ 871092 h 871092"/>
                  <a:gd name="connsiteX11" fmla="*/ 1390719 w 1390719"/>
                  <a:gd name="connsiteY11" fmla="*/ 723455 h 871092"/>
                  <a:gd name="connsiteX12" fmla="*/ 1128782 w 1390719"/>
                  <a:gd name="connsiteY12" fmla="*/ 130523 h 871092"/>
                  <a:gd name="connsiteX0" fmla="*/ 1128782 w 1390719"/>
                  <a:gd name="connsiteY0" fmla="*/ 135315 h 875884"/>
                  <a:gd name="connsiteX1" fmla="*/ 923994 w 1390719"/>
                  <a:gd name="connsiteY1" fmla="*/ 118647 h 875884"/>
                  <a:gd name="connsiteX2" fmla="*/ 652532 w 1390719"/>
                  <a:gd name="connsiteY2" fmla="*/ 23397 h 875884"/>
                  <a:gd name="connsiteX3" fmla="*/ 535851 w 1390719"/>
                  <a:gd name="connsiteY3" fmla="*/ 1966 h 875884"/>
                  <a:gd name="connsiteX4" fmla="*/ 400119 w 1390719"/>
                  <a:gd name="connsiteY4" fmla="*/ 61497 h 875884"/>
                  <a:gd name="connsiteX5" fmla="*/ 23881 w 1390719"/>
                  <a:gd name="connsiteY5" fmla="*/ 532984 h 875884"/>
                  <a:gd name="connsiteX6" fmla="*/ 52456 w 1390719"/>
                  <a:gd name="connsiteY6" fmla="*/ 637759 h 875884"/>
                  <a:gd name="connsiteX7" fmla="*/ 166756 w 1390719"/>
                  <a:gd name="connsiteY7" fmla="*/ 671097 h 875884"/>
                  <a:gd name="connsiteX8" fmla="*/ 562044 w 1390719"/>
                  <a:gd name="connsiteY8" fmla="*/ 447259 h 875884"/>
                  <a:gd name="connsiteX9" fmla="*/ 662057 w 1390719"/>
                  <a:gd name="connsiteY9" fmla="*/ 456784 h 875884"/>
                  <a:gd name="connsiteX10" fmla="*/ 1162119 w 1390719"/>
                  <a:gd name="connsiteY10" fmla="*/ 875884 h 875884"/>
                  <a:gd name="connsiteX11" fmla="*/ 1390719 w 1390719"/>
                  <a:gd name="connsiteY11" fmla="*/ 728247 h 875884"/>
                  <a:gd name="connsiteX12" fmla="*/ 1128782 w 1390719"/>
                  <a:gd name="connsiteY12" fmla="*/ 135315 h 875884"/>
                  <a:gd name="connsiteX0" fmla="*/ 1128782 w 1390719"/>
                  <a:gd name="connsiteY0" fmla="*/ 135315 h 875884"/>
                  <a:gd name="connsiteX1" fmla="*/ 923994 w 1390719"/>
                  <a:gd name="connsiteY1" fmla="*/ 118647 h 875884"/>
                  <a:gd name="connsiteX2" fmla="*/ 652532 w 1390719"/>
                  <a:gd name="connsiteY2" fmla="*/ 23397 h 875884"/>
                  <a:gd name="connsiteX3" fmla="*/ 535851 w 1390719"/>
                  <a:gd name="connsiteY3" fmla="*/ 1966 h 875884"/>
                  <a:gd name="connsiteX4" fmla="*/ 359637 w 1390719"/>
                  <a:gd name="connsiteY4" fmla="*/ 111504 h 875884"/>
                  <a:gd name="connsiteX5" fmla="*/ 23881 w 1390719"/>
                  <a:gd name="connsiteY5" fmla="*/ 532984 h 875884"/>
                  <a:gd name="connsiteX6" fmla="*/ 52456 w 1390719"/>
                  <a:gd name="connsiteY6" fmla="*/ 637759 h 875884"/>
                  <a:gd name="connsiteX7" fmla="*/ 166756 w 1390719"/>
                  <a:gd name="connsiteY7" fmla="*/ 671097 h 875884"/>
                  <a:gd name="connsiteX8" fmla="*/ 562044 w 1390719"/>
                  <a:gd name="connsiteY8" fmla="*/ 447259 h 875884"/>
                  <a:gd name="connsiteX9" fmla="*/ 662057 w 1390719"/>
                  <a:gd name="connsiteY9" fmla="*/ 456784 h 875884"/>
                  <a:gd name="connsiteX10" fmla="*/ 1162119 w 1390719"/>
                  <a:gd name="connsiteY10" fmla="*/ 875884 h 875884"/>
                  <a:gd name="connsiteX11" fmla="*/ 1390719 w 1390719"/>
                  <a:gd name="connsiteY11" fmla="*/ 728247 h 875884"/>
                  <a:gd name="connsiteX12" fmla="*/ 1128782 w 1390719"/>
                  <a:gd name="connsiteY12" fmla="*/ 135315 h 875884"/>
                  <a:gd name="connsiteX0" fmla="*/ 1128782 w 1390719"/>
                  <a:gd name="connsiteY0" fmla="*/ 135315 h 875884"/>
                  <a:gd name="connsiteX1" fmla="*/ 923994 w 1390719"/>
                  <a:gd name="connsiteY1" fmla="*/ 118647 h 875884"/>
                  <a:gd name="connsiteX2" fmla="*/ 652532 w 1390719"/>
                  <a:gd name="connsiteY2" fmla="*/ 23397 h 875884"/>
                  <a:gd name="connsiteX3" fmla="*/ 535851 w 1390719"/>
                  <a:gd name="connsiteY3" fmla="*/ 1966 h 875884"/>
                  <a:gd name="connsiteX4" fmla="*/ 359637 w 1390719"/>
                  <a:gd name="connsiteY4" fmla="*/ 111504 h 875884"/>
                  <a:gd name="connsiteX5" fmla="*/ 23881 w 1390719"/>
                  <a:gd name="connsiteY5" fmla="*/ 532984 h 875884"/>
                  <a:gd name="connsiteX6" fmla="*/ 52456 w 1390719"/>
                  <a:gd name="connsiteY6" fmla="*/ 637759 h 875884"/>
                  <a:gd name="connsiteX7" fmla="*/ 226287 w 1390719"/>
                  <a:gd name="connsiteY7" fmla="*/ 647285 h 875884"/>
                  <a:gd name="connsiteX8" fmla="*/ 562044 w 1390719"/>
                  <a:gd name="connsiteY8" fmla="*/ 447259 h 875884"/>
                  <a:gd name="connsiteX9" fmla="*/ 662057 w 1390719"/>
                  <a:gd name="connsiteY9" fmla="*/ 456784 h 875884"/>
                  <a:gd name="connsiteX10" fmla="*/ 1162119 w 1390719"/>
                  <a:gd name="connsiteY10" fmla="*/ 875884 h 875884"/>
                  <a:gd name="connsiteX11" fmla="*/ 1390719 w 1390719"/>
                  <a:gd name="connsiteY11" fmla="*/ 728247 h 875884"/>
                  <a:gd name="connsiteX12" fmla="*/ 1128782 w 1390719"/>
                  <a:gd name="connsiteY12" fmla="*/ 135315 h 875884"/>
                  <a:gd name="connsiteX0" fmla="*/ 1123517 w 1385454"/>
                  <a:gd name="connsiteY0" fmla="*/ 135315 h 875884"/>
                  <a:gd name="connsiteX1" fmla="*/ 918729 w 1385454"/>
                  <a:gd name="connsiteY1" fmla="*/ 118647 h 875884"/>
                  <a:gd name="connsiteX2" fmla="*/ 647267 w 1385454"/>
                  <a:gd name="connsiteY2" fmla="*/ 23397 h 875884"/>
                  <a:gd name="connsiteX3" fmla="*/ 530586 w 1385454"/>
                  <a:gd name="connsiteY3" fmla="*/ 1966 h 875884"/>
                  <a:gd name="connsiteX4" fmla="*/ 354372 w 1385454"/>
                  <a:gd name="connsiteY4" fmla="*/ 111504 h 875884"/>
                  <a:gd name="connsiteX5" fmla="*/ 18616 w 1385454"/>
                  <a:gd name="connsiteY5" fmla="*/ 532984 h 875884"/>
                  <a:gd name="connsiteX6" fmla="*/ 78147 w 1385454"/>
                  <a:gd name="connsiteY6" fmla="*/ 656809 h 875884"/>
                  <a:gd name="connsiteX7" fmla="*/ 221022 w 1385454"/>
                  <a:gd name="connsiteY7" fmla="*/ 647285 h 875884"/>
                  <a:gd name="connsiteX8" fmla="*/ 556779 w 1385454"/>
                  <a:gd name="connsiteY8" fmla="*/ 447259 h 875884"/>
                  <a:gd name="connsiteX9" fmla="*/ 656792 w 1385454"/>
                  <a:gd name="connsiteY9" fmla="*/ 456784 h 875884"/>
                  <a:gd name="connsiteX10" fmla="*/ 1156854 w 1385454"/>
                  <a:gd name="connsiteY10" fmla="*/ 875884 h 875884"/>
                  <a:gd name="connsiteX11" fmla="*/ 1385454 w 1385454"/>
                  <a:gd name="connsiteY11" fmla="*/ 728247 h 875884"/>
                  <a:gd name="connsiteX12" fmla="*/ 1123517 w 1385454"/>
                  <a:gd name="connsiteY12" fmla="*/ 135315 h 875884"/>
                  <a:gd name="connsiteX0" fmla="*/ 1094132 w 1356069"/>
                  <a:gd name="connsiteY0" fmla="*/ 135315 h 875884"/>
                  <a:gd name="connsiteX1" fmla="*/ 889344 w 1356069"/>
                  <a:gd name="connsiteY1" fmla="*/ 118647 h 875884"/>
                  <a:gd name="connsiteX2" fmla="*/ 617882 w 1356069"/>
                  <a:gd name="connsiteY2" fmla="*/ 23397 h 875884"/>
                  <a:gd name="connsiteX3" fmla="*/ 501201 w 1356069"/>
                  <a:gd name="connsiteY3" fmla="*/ 1966 h 875884"/>
                  <a:gd name="connsiteX4" fmla="*/ 324987 w 1356069"/>
                  <a:gd name="connsiteY4" fmla="*/ 111504 h 875884"/>
                  <a:gd name="connsiteX5" fmla="*/ 24950 w 1356069"/>
                  <a:gd name="connsiteY5" fmla="*/ 478215 h 875884"/>
                  <a:gd name="connsiteX6" fmla="*/ 48762 w 1356069"/>
                  <a:gd name="connsiteY6" fmla="*/ 656809 h 875884"/>
                  <a:gd name="connsiteX7" fmla="*/ 191637 w 1356069"/>
                  <a:gd name="connsiteY7" fmla="*/ 647285 h 875884"/>
                  <a:gd name="connsiteX8" fmla="*/ 527394 w 1356069"/>
                  <a:gd name="connsiteY8" fmla="*/ 447259 h 875884"/>
                  <a:gd name="connsiteX9" fmla="*/ 627407 w 1356069"/>
                  <a:gd name="connsiteY9" fmla="*/ 456784 h 875884"/>
                  <a:gd name="connsiteX10" fmla="*/ 1127469 w 1356069"/>
                  <a:gd name="connsiteY10" fmla="*/ 875884 h 875884"/>
                  <a:gd name="connsiteX11" fmla="*/ 1356069 w 1356069"/>
                  <a:gd name="connsiteY11" fmla="*/ 728247 h 875884"/>
                  <a:gd name="connsiteX12" fmla="*/ 1094132 w 1356069"/>
                  <a:gd name="connsiteY12" fmla="*/ 135315 h 875884"/>
                  <a:gd name="connsiteX0" fmla="*/ 1094132 w 1356069"/>
                  <a:gd name="connsiteY0" fmla="*/ 135315 h 875884"/>
                  <a:gd name="connsiteX1" fmla="*/ 889344 w 1356069"/>
                  <a:gd name="connsiteY1" fmla="*/ 118647 h 875884"/>
                  <a:gd name="connsiteX2" fmla="*/ 617882 w 1356069"/>
                  <a:gd name="connsiteY2" fmla="*/ 23397 h 875884"/>
                  <a:gd name="connsiteX3" fmla="*/ 501201 w 1356069"/>
                  <a:gd name="connsiteY3" fmla="*/ 1966 h 875884"/>
                  <a:gd name="connsiteX4" fmla="*/ 324987 w 1356069"/>
                  <a:gd name="connsiteY4" fmla="*/ 111504 h 875884"/>
                  <a:gd name="connsiteX5" fmla="*/ 24950 w 1356069"/>
                  <a:gd name="connsiteY5" fmla="*/ 478215 h 875884"/>
                  <a:gd name="connsiteX6" fmla="*/ 48762 w 1356069"/>
                  <a:gd name="connsiteY6" fmla="*/ 656809 h 875884"/>
                  <a:gd name="connsiteX7" fmla="*/ 227355 w 1356069"/>
                  <a:gd name="connsiteY7" fmla="*/ 630616 h 875884"/>
                  <a:gd name="connsiteX8" fmla="*/ 527394 w 1356069"/>
                  <a:gd name="connsiteY8" fmla="*/ 447259 h 875884"/>
                  <a:gd name="connsiteX9" fmla="*/ 627407 w 1356069"/>
                  <a:gd name="connsiteY9" fmla="*/ 456784 h 875884"/>
                  <a:gd name="connsiteX10" fmla="*/ 1127469 w 1356069"/>
                  <a:gd name="connsiteY10" fmla="*/ 875884 h 875884"/>
                  <a:gd name="connsiteX11" fmla="*/ 1356069 w 1356069"/>
                  <a:gd name="connsiteY11" fmla="*/ 728247 h 875884"/>
                  <a:gd name="connsiteX12" fmla="*/ 1094132 w 1356069"/>
                  <a:gd name="connsiteY12" fmla="*/ 135315 h 8758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56069" h="875884">
                    <a:moveTo>
                      <a:pt x="1094132" y="135315"/>
                    </a:moveTo>
                    <a:cubicBezTo>
                      <a:pt x="1016345" y="33715"/>
                      <a:pt x="963956" y="130553"/>
                      <a:pt x="889344" y="118647"/>
                    </a:cubicBezTo>
                    <a:cubicBezTo>
                      <a:pt x="814732" y="106741"/>
                      <a:pt x="686938" y="41653"/>
                      <a:pt x="617882" y="23397"/>
                    </a:cubicBezTo>
                    <a:cubicBezTo>
                      <a:pt x="548826" y="5141"/>
                      <a:pt x="543270" y="-4384"/>
                      <a:pt x="501201" y="1966"/>
                    </a:cubicBezTo>
                    <a:cubicBezTo>
                      <a:pt x="459132" y="8316"/>
                      <a:pt x="405950" y="24192"/>
                      <a:pt x="324987" y="111504"/>
                    </a:cubicBezTo>
                    <a:cubicBezTo>
                      <a:pt x="244024" y="198816"/>
                      <a:pt x="82894" y="382171"/>
                      <a:pt x="24950" y="478215"/>
                    </a:cubicBezTo>
                    <a:cubicBezTo>
                      <a:pt x="-32994" y="574259"/>
                      <a:pt x="24950" y="633790"/>
                      <a:pt x="48762" y="656809"/>
                    </a:cubicBezTo>
                    <a:cubicBezTo>
                      <a:pt x="72574" y="679828"/>
                      <a:pt x="142424" y="662366"/>
                      <a:pt x="227355" y="630616"/>
                    </a:cubicBezTo>
                    <a:cubicBezTo>
                      <a:pt x="312286" y="598866"/>
                      <a:pt x="444844" y="482978"/>
                      <a:pt x="527394" y="447259"/>
                    </a:cubicBezTo>
                    <a:lnTo>
                      <a:pt x="627407" y="456784"/>
                    </a:lnTo>
                    <a:cubicBezTo>
                      <a:pt x="727419" y="528221"/>
                      <a:pt x="1006025" y="830640"/>
                      <a:pt x="1127469" y="875884"/>
                    </a:cubicBezTo>
                    <a:lnTo>
                      <a:pt x="1356069" y="728247"/>
                    </a:lnTo>
                    <a:lnTo>
                      <a:pt x="1094132" y="135315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tangle 82"/>
              <p:cNvSpPr/>
              <p:nvPr/>
            </p:nvSpPr>
            <p:spPr bwMode="gray">
              <a:xfrm rot="20048276" flipH="1">
                <a:off x="5436711" y="1798654"/>
                <a:ext cx="57806" cy="231443"/>
              </a:xfrm>
              <a:prstGeom prst="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Rounded Rectangle 83"/>
              <p:cNvSpPr/>
              <p:nvPr/>
            </p:nvSpPr>
            <p:spPr bwMode="gray">
              <a:xfrm rot="2128182">
                <a:off x="4994969" y="2025302"/>
                <a:ext cx="48171" cy="7139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Rounded Rectangle 84"/>
              <p:cNvSpPr/>
              <p:nvPr/>
            </p:nvSpPr>
            <p:spPr bwMode="gray">
              <a:xfrm rot="2128182">
                <a:off x="5044180" y="2059006"/>
                <a:ext cx="48903" cy="85127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Rounded Rectangle 85"/>
              <p:cNvSpPr/>
              <p:nvPr/>
            </p:nvSpPr>
            <p:spPr bwMode="gray">
              <a:xfrm rot="2128182">
                <a:off x="5091141" y="2106448"/>
                <a:ext cx="48903" cy="78961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Rounded Rectangle 86"/>
              <p:cNvSpPr/>
              <p:nvPr/>
            </p:nvSpPr>
            <p:spPr bwMode="gray">
              <a:xfrm rot="2128182">
                <a:off x="5144064" y="2147721"/>
                <a:ext cx="48903" cy="67345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Freeform 87"/>
              <p:cNvSpPr/>
              <p:nvPr/>
            </p:nvSpPr>
            <p:spPr bwMode="gray">
              <a:xfrm>
                <a:off x="5204600" y="2055641"/>
                <a:ext cx="213202" cy="136896"/>
              </a:xfrm>
              <a:custGeom>
                <a:avLst/>
                <a:gdLst>
                  <a:gd name="connsiteX0" fmla="*/ 0 w 758825"/>
                  <a:gd name="connsiteY0" fmla="*/ 485775 h 485775"/>
                  <a:gd name="connsiteX1" fmla="*/ 139700 w 758825"/>
                  <a:gd name="connsiteY1" fmla="*/ 476250 h 485775"/>
                  <a:gd name="connsiteX2" fmla="*/ 158750 w 758825"/>
                  <a:gd name="connsiteY2" fmla="*/ 368300 h 485775"/>
                  <a:gd name="connsiteX3" fmla="*/ 314325 w 758825"/>
                  <a:gd name="connsiteY3" fmla="*/ 393700 h 485775"/>
                  <a:gd name="connsiteX4" fmla="*/ 371475 w 758825"/>
                  <a:gd name="connsiteY4" fmla="*/ 333375 h 485775"/>
                  <a:gd name="connsiteX5" fmla="*/ 342900 w 758825"/>
                  <a:gd name="connsiteY5" fmla="*/ 254000 h 485775"/>
                  <a:gd name="connsiteX6" fmla="*/ 501650 w 758825"/>
                  <a:gd name="connsiteY6" fmla="*/ 279400 h 485775"/>
                  <a:gd name="connsiteX7" fmla="*/ 558800 w 758825"/>
                  <a:gd name="connsiteY7" fmla="*/ 203200 h 485775"/>
                  <a:gd name="connsiteX8" fmla="*/ 552450 w 758825"/>
                  <a:gd name="connsiteY8" fmla="*/ 133350 h 485775"/>
                  <a:gd name="connsiteX9" fmla="*/ 692150 w 758825"/>
                  <a:gd name="connsiteY9" fmla="*/ 161925 h 485775"/>
                  <a:gd name="connsiteX10" fmla="*/ 758825 w 758825"/>
                  <a:gd name="connsiteY10" fmla="*/ 98425 h 485775"/>
                  <a:gd name="connsiteX11" fmla="*/ 755650 w 758825"/>
                  <a:gd name="connsiteY11" fmla="*/ 0 h 48577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  <a:gd name="connsiteX0" fmla="*/ 0 w 758825"/>
                  <a:gd name="connsiteY0" fmla="*/ 485775 h 487235"/>
                  <a:gd name="connsiteX1" fmla="*/ 139700 w 758825"/>
                  <a:gd name="connsiteY1" fmla="*/ 476250 h 487235"/>
                  <a:gd name="connsiteX2" fmla="*/ 158750 w 758825"/>
                  <a:gd name="connsiteY2" fmla="*/ 368300 h 487235"/>
                  <a:gd name="connsiteX3" fmla="*/ 314325 w 758825"/>
                  <a:gd name="connsiteY3" fmla="*/ 393700 h 487235"/>
                  <a:gd name="connsiteX4" fmla="*/ 371475 w 758825"/>
                  <a:gd name="connsiteY4" fmla="*/ 333375 h 487235"/>
                  <a:gd name="connsiteX5" fmla="*/ 342900 w 758825"/>
                  <a:gd name="connsiteY5" fmla="*/ 254000 h 487235"/>
                  <a:gd name="connsiteX6" fmla="*/ 501650 w 758825"/>
                  <a:gd name="connsiteY6" fmla="*/ 279400 h 487235"/>
                  <a:gd name="connsiteX7" fmla="*/ 558800 w 758825"/>
                  <a:gd name="connsiteY7" fmla="*/ 203200 h 487235"/>
                  <a:gd name="connsiteX8" fmla="*/ 552450 w 758825"/>
                  <a:gd name="connsiteY8" fmla="*/ 133350 h 487235"/>
                  <a:gd name="connsiteX9" fmla="*/ 692150 w 758825"/>
                  <a:gd name="connsiteY9" fmla="*/ 161925 h 487235"/>
                  <a:gd name="connsiteX10" fmla="*/ 758825 w 758825"/>
                  <a:gd name="connsiteY10" fmla="*/ 98425 h 487235"/>
                  <a:gd name="connsiteX11" fmla="*/ 755650 w 758825"/>
                  <a:gd name="connsiteY11" fmla="*/ 0 h 487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8825" h="487235">
                    <a:moveTo>
                      <a:pt x="0" y="485775"/>
                    </a:moveTo>
                    <a:cubicBezTo>
                      <a:pt x="46567" y="482600"/>
                      <a:pt x="113242" y="495829"/>
                      <a:pt x="139700" y="476250"/>
                    </a:cubicBezTo>
                    <a:cubicBezTo>
                      <a:pt x="166158" y="456671"/>
                      <a:pt x="129646" y="382058"/>
                      <a:pt x="158750" y="368300"/>
                    </a:cubicBezTo>
                    <a:cubicBezTo>
                      <a:pt x="187854" y="354542"/>
                      <a:pt x="278871" y="399521"/>
                      <a:pt x="314325" y="393700"/>
                    </a:cubicBezTo>
                    <a:cubicBezTo>
                      <a:pt x="349779" y="387879"/>
                      <a:pt x="366713" y="356658"/>
                      <a:pt x="371475" y="333375"/>
                    </a:cubicBezTo>
                    <a:lnTo>
                      <a:pt x="342900" y="254000"/>
                    </a:lnTo>
                    <a:cubicBezTo>
                      <a:pt x="364596" y="245004"/>
                      <a:pt x="465667" y="287867"/>
                      <a:pt x="501650" y="279400"/>
                    </a:cubicBezTo>
                    <a:cubicBezTo>
                      <a:pt x="537633" y="270933"/>
                      <a:pt x="550333" y="227542"/>
                      <a:pt x="558800" y="203200"/>
                    </a:cubicBezTo>
                    <a:lnTo>
                      <a:pt x="552450" y="133350"/>
                    </a:lnTo>
                    <a:cubicBezTo>
                      <a:pt x="574675" y="126471"/>
                      <a:pt x="657754" y="167746"/>
                      <a:pt x="692150" y="161925"/>
                    </a:cubicBezTo>
                    <a:cubicBezTo>
                      <a:pt x="726546" y="156104"/>
                      <a:pt x="748242" y="125412"/>
                      <a:pt x="758825" y="98425"/>
                    </a:cubicBezTo>
                    <a:lnTo>
                      <a:pt x="755650" y="0"/>
                    </a:lnTo>
                  </a:path>
                </a:pathLst>
              </a:custGeom>
              <a:noFill/>
              <a:ln w="12700">
                <a:solidFill>
                  <a:srgbClr val="6F7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89" name="Rectangle 88"/>
              <p:cNvSpPr/>
              <p:nvPr/>
            </p:nvSpPr>
            <p:spPr bwMode="gray">
              <a:xfrm rot="1430153">
                <a:off x="4925934" y="1789732"/>
                <a:ext cx="57806" cy="231443"/>
              </a:xfrm>
              <a:prstGeom prst="rect">
                <a:avLst/>
              </a:prstGeom>
              <a:solidFill>
                <a:srgbClr val="6F7F8F"/>
              </a:solidFill>
              <a:ln w="12700">
                <a:solidFill>
                  <a:srgbClr val="6F7F8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90" name="Rectangle 5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7799682" y="3460625"/>
            <a:ext cx="1189617" cy="246221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en-US" sz="1600" b="1" dirty="0">
                <a:solidFill>
                  <a:schemeClr val="tx2"/>
                </a:solidFill>
              </a:rPr>
              <a:t>Collaboration</a:t>
            </a:r>
          </a:p>
        </p:txBody>
      </p:sp>
    </p:spTree>
    <p:extLst>
      <p:ext uri="{BB962C8B-B14F-4D97-AF65-F5344CB8AC3E}">
        <p14:creationId xmlns:p14="http://schemas.microsoft.com/office/powerpoint/2010/main" val="3704014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549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5" name="Group 94"/>
          <p:cNvGrpSpPr/>
          <p:nvPr/>
        </p:nvGrpSpPr>
        <p:grpSpPr>
          <a:xfrm>
            <a:off x="0" y="986404"/>
            <a:ext cx="9144000" cy="486719"/>
            <a:chOff x="0" y="895350"/>
            <a:chExt cx="9144000" cy="486719"/>
          </a:xfrm>
        </p:grpSpPr>
        <p:sp>
          <p:nvSpPr>
            <p:cNvPr id="96" name="Rectangle 95"/>
            <p:cNvSpPr>
              <a:spLocks/>
            </p:cNvSpPr>
            <p:nvPr/>
          </p:nvSpPr>
          <p:spPr>
            <a:xfrm>
              <a:off x="0" y="895350"/>
              <a:ext cx="9144000" cy="486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97" name="Straight Connector 96"/>
            <p:cNvCxnSpPr>
              <a:cxnSpLocks/>
            </p:cNvCxnSpPr>
            <p:nvPr/>
          </p:nvCxnSpPr>
          <p:spPr>
            <a:xfrm>
              <a:off x="0" y="895350"/>
              <a:ext cx="9144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Summary and Review</a:t>
            </a:r>
            <a:endParaRPr lang="en-US" dirty="0"/>
          </a:p>
        </p:txBody>
      </p:sp>
      <p:sp>
        <p:nvSpPr>
          <p:cNvPr id="23" name="dtable157951861619949 10 146 100 262 17"/>
          <p:cNvSpPr txBox="1">
            <a:spLocks noChangeArrowheads="1"/>
          </p:cNvSpPr>
          <p:nvPr/>
        </p:nvSpPr>
        <p:spPr bwMode="auto">
          <a:xfrm>
            <a:off x="363349" y="629058"/>
            <a:ext cx="614124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19" indent="-201553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79730" indent="-274846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44637" indent="-163241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375"/>
              </a:spcBef>
              <a:buClr>
                <a:srgbClr val="14385C"/>
              </a:buClr>
            </a:pPr>
            <a:r>
              <a:rPr lang="en-US" sz="1800" b="1" dirty="0">
                <a:solidFill>
                  <a:schemeClr val="accent2"/>
                </a:solidFill>
              </a:rPr>
              <a:t>Participants should now be able to:</a:t>
            </a:r>
          </a:p>
        </p:txBody>
      </p:sp>
      <p:sp>
        <p:nvSpPr>
          <p:cNvPr id="50" name="WordArt 13"/>
          <p:cNvSpPr>
            <a:spLocks noChangeArrowheads="1" noChangeShapeType="1" noTextEdit="1"/>
          </p:cNvSpPr>
          <p:nvPr/>
        </p:nvSpPr>
        <p:spPr bwMode="gray">
          <a:xfrm>
            <a:off x="403824" y="1346073"/>
            <a:ext cx="128770" cy="32070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1356" tIns="45678" rIns="91356" bIns="4567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800" kern="10" dirty="0">
                <a:solidFill>
                  <a:schemeClr val="bg1"/>
                </a:solidFill>
                <a:latin typeface="Arial Black"/>
              </a:rPr>
              <a:t>1</a:t>
            </a:r>
          </a:p>
        </p:txBody>
      </p:sp>
      <p:sp>
        <p:nvSpPr>
          <p:cNvPr id="66" name="Freeform 422"/>
          <p:cNvSpPr>
            <a:spLocks noEditPoints="1"/>
          </p:cNvSpPr>
          <p:nvPr/>
        </p:nvSpPr>
        <p:spPr bwMode="auto">
          <a:xfrm>
            <a:off x="904571" y="2074325"/>
            <a:ext cx="342090" cy="528886"/>
          </a:xfrm>
          <a:custGeom>
            <a:avLst/>
            <a:gdLst>
              <a:gd name="T0" fmla="*/ 4 w 176"/>
              <a:gd name="T1" fmla="*/ 271 h 271"/>
              <a:gd name="T2" fmla="*/ 0 w 176"/>
              <a:gd name="T3" fmla="*/ 267 h 271"/>
              <a:gd name="T4" fmla="*/ 0 w 176"/>
              <a:gd name="T5" fmla="*/ 4 h 271"/>
              <a:gd name="T6" fmla="*/ 4 w 176"/>
              <a:gd name="T7" fmla="*/ 0 h 271"/>
              <a:gd name="T8" fmla="*/ 172 w 176"/>
              <a:gd name="T9" fmla="*/ 0 h 271"/>
              <a:gd name="T10" fmla="*/ 176 w 176"/>
              <a:gd name="T11" fmla="*/ 4 h 271"/>
              <a:gd name="T12" fmla="*/ 176 w 176"/>
              <a:gd name="T13" fmla="*/ 267 h 271"/>
              <a:gd name="T14" fmla="*/ 172 w 176"/>
              <a:gd name="T15" fmla="*/ 271 h 271"/>
              <a:gd name="T16" fmla="*/ 4 w 176"/>
              <a:gd name="T17" fmla="*/ 271 h 271"/>
              <a:gd name="T18" fmla="*/ 168 w 176"/>
              <a:gd name="T19" fmla="*/ 263 h 271"/>
              <a:gd name="T20" fmla="*/ 168 w 176"/>
              <a:gd name="T21" fmla="*/ 8 h 271"/>
              <a:gd name="T22" fmla="*/ 8 w 176"/>
              <a:gd name="T23" fmla="*/ 8 h 271"/>
              <a:gd name="T24" fmla="*/ 8 w 176"/>
              <a:gd name="T25" fmla="*/ 263 h 271"/>
              <a:gd name="T26" fmla="*/ 168 w 176"/>
              <a:gd name="T27" fmla="*/ 263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6" h="271">
                <a:moveTo>
                  <a:pt x="4" y="271"/>
                </a:moveTo>
                <a:cubicBezTo>
                  <a:pt x="1" y="271"/>
                  <a:pt x="0" y="269"/>
                  <a:pt x="0" y="26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1" y="0"/>
                  <a:pt x="4" y="0"/>
                </a:cubicBezTo>
                <a:cubicBezTo>
                  <a:pt x="172" y="0"/>
                  <a:pt x="172" y="0"/>
                  <a:pt x="172" y="0"/>
                </a:cubicBezTo>
                <a:cubicBezTo>
                  <a:pt x="175" y="0"/>
                  <a:pt x="176" y="2"/>
                  <a:pt x="176" y="4"/>
                </a:cubicBezTo>
                <a:cubicBezTo>
                  <a:pt x="176" y="267"/>
                  <a:pt x="176" y="267"/>
                  <a:pt x="176" y="267"/>
                </a:cubicBezTo>
                <a:cubicBezTo>
                  <a:pt x="176" y="269"/>
                  <a:pt x="175" y="271"/>
                  <a:pt x="172" y="271"/>
                </a:cubicBezTo>
                <a:lnTo>
                  <a:pt x="4" y="271"/>
                </a:lnTo>
                <a:close/>
                <a:moveTo>
                  <a:pt x="168" y="263"/>
                </a:moveTo>
                <a:cubicBezTo>
                  <a:pt x="168" y="8"/>
                  <a:pt x="168" y="8"/>
                  <a:pt x="168" y="8"/>
                </a:cubicBezTo>
                <a:cubicBezTo>
                  <a:pt x="8" y="8"/>
                  <a:pt x="8" y="8"/>
                  <a:pt x="8" y="8"/>
                </a:cubicBezTo>
                <a:cubicBezTo>
                  <a:pt x="8" y="263"/>
                  <a:pt x="8" y="263"/>
                  <a:pt x="8" y="263"/>
                </a:cubicBezTo>
                <a:lnTo>
                  <a:pt x="168" y="26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4" name="Group 133"/>
          <p:cNvGrpSpPr/>
          <p:nvPr/>
        </p:nvGrpSpPr>
        <p:grpSpPr>
          <a:xfrm>
            <a:off x="904585" y="1094385"/>
            <a:ext cx="6822313" cy="685462"/>
            <a:chOff x="302388" y="1091871"/>
            <a:chExt cx="6822313" cy="685462"/>
          </a:xfrm>
        </p:grpSpPr>
        <p:grpSp>
          <p:nvGrpSpPr>
            <p:cNvPr id="135" name="Group 134"/>
            <p:cNvGrpSpPr/>
            <p:nvPr/>
          </p:nvGrpSpPr>
          <p:grpSpPr>
            <a:xfrm>
              <a:off x="302388" y="1116961"/>
              <a:ext cx="6822313" cy="632769"/>
              <a:chOff x="302388" y="1116961"/>
              <a:chExt cx="6822313" cy="632769"/>
            </a:xfrm>
          </p:grpSpPr>
          <p:sp>
            <p:nvSpPr>
              <p:cNvPr id="138" name="Rectangle 14"/>
              <p:cNvSpPr txBox="1">
                <a:spLocks noChangeArrowheads="1"/>
              </p:cNvSpPr>
              <p:nvPr/>
            </p:nvSpPr>
            <p:spPr bwMode="gray">
              <a:xfrm>
                <a:off x="1913445" y="1316901"/>
                <a:ext cx="5065752" cy="369332"/>
              </a:xfrm>
              <a:prstGeom prst="rect">
                <a:avLst/>
              </a:prstGeom>
              <a:noFill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lIns="0" tIns="0" rIns="0" bIns="0" rtlCol="0" anchor="ctr">
                <a:spAutoFit/>
              </a:bodyPr>
              <a:lstStyle>
                <a:lvl1pPr marL="230188" indent="-230188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Char char="§"/>
                  <a:defRPr sz="24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1pPr>
                <a:lvl2pPr marL="514350" indent="-230188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2pPr>
                <a:lvl3pPr marL="742950" indent="-171450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3pPr>
                <a:lvl4pPr marL="971550" indent="-228600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4pPr>
                <a:lvl5pPr marL="1143000" indent="-171450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»"/>
                  <a:defRPr sz="18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Aft>
                    <a:spcPct val="0"/>
                  </a:spcAft>
                  <a:buClr>
                    <a:srgbClr val="899BAD"/>
                  </a:buClr>
                </a:pPr>
                <a:r>
                  <a:rPr lang="en-US" smtClean="0">
                    <a:solidFill>
                      <a:srgbClr val="000000"/>
                    </a:solidFill>
                  </a:rPr>
                  <a:t>…</a:t>
                </a:r>
              </a:p>
            </p:txBody>
          </p:sp>
          <p:sp>
            <p:nvSpPr>
              <p:cNvPr id="139" name="Rectangle 9"/>
              <p:cNvSpPr>
                <a:spLocks noChangeArrowheads="1"/>
              </p:cNvSpPr>
              <p:nvPr/>
            </p:nvSpPr>
            <p:spPr bwMode="gray">
              <a:xfrm>
                <a:off x="1398919" y="1116961"/>
                <a:ext cx="5725782" cy="632769"/>
              </a:xfrm>
              <a:prstGeom prst="rect">
                <a:avLst/>
              </a:prstGeom>
              <a:solidFill>
                <a:schemeClr val="bg1"/>
              </a:solidFill>
              <a:ln w="9525" cmpd="sng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r>
                  <a:rPr lang="en-US" sz="1600" dirty="0">
                    <a:solidFill>
                      <a:srgbClr val="000000"/>
                    </a:solidFill>
                  </a:rPr>
                  <a:t>Understand the many steps and their interdependencies to </a:t>
                </a:r>
              </a:p>
              <a:p>
                <a:r>
                  <a:rPr lang="en-US" sz="1600" dirty="0">
                    <a:solidFill>
                      <a:srgbClr val="000000"/>
                    </a:solidFill>
                  </a:rPr>
                  <a:t>successfully develop and construct transportation projects</a:t>
                </a:r>
              </a:p>
            </p:txBody>
          </p:sp>
          <p:sp>
            <p:nvSpPr>
              <p:cNvPr id="140" name="Rectangle 10"/>
              <p:cNvSpPr>
                <a:spLocks noChangeArrowheads="1"/>
              </p:cNvSpPr>
              <p:nvPr/>
            </p:nvSpPr>
            <p:spPr bwMode="gray">
              <a:xfrm>
                <a:off x="694991" y="1116961"/>
                <a:ext cx="707019" cy="63276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Rectangle 12"/>
              <p:cNvSpPr>
                <a:spLocks noChangeArrowheads="1"/>
              </p:cNvSpPr>
              <p:nvPr/>
            </p:nvSpPr>
            <p:spPr bwMode="gray">
              <a:xfrm flipH="1">
                <a:off x="302388" y="1116961"/>
                <a:ext cx="331643" cy="632769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</a:endParaRPr>
              </a:p>
            </p:txBody>
          </p:sp>
          <p:sp>
            <p:nvSpPr>
              <p:cNvPr id="142" name="WordArt 13"/>
              <p:cNvSpPr>
                <a:spLocks noChangeArrowheads="1" noChangeShapeType="1" noTextEdit="1"/>
              </p:cNvSpPr>
              <p:nvPr/>
            </p:nvSpPr>
            <p:spPr bwMode="gray">
              <a:xfrm>
                <a:off x="403824" y="1276762"/>
                <a:ext cx="128770" cy="320709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800" kern="10" dirty="0">
                    <a:solidFill>
                      <a:srgbClr val="FFFFFF"/>
                    </a:solidFill>
                    <a:latin typeface="Arial Black"/>
                  </a:rPr>
                  <a:t>1</a:t>
                </a:r>
              </a:p>
            </p:txBody>
          </p:sp>
        </p:grpSp>
        <p:pic>
          <p:nvPicPr>
            <p:cNvPr id="137" name="Picture 136"/>
            <p:cNvPicPr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4720" y="1091871"/>
              <a:ext cx="685462" cy="685462"/>
            </a:xfrm>
            <a:prstGeom prst="rect">
              <a:avLst/>
            </a:prstGeom>
          </p:spPr>
        </p:pic>
      </p:grp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726" y="2607064"/>
            <a:ext cx="1968500" cy="170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2926" y="2600729"/>
            <a:ext cx="1993900" cy="1658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476" y="2607073"/>
            <a:ext cx="1968500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9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6540" y="2607073"/>
            <a:ext cx="2011363" cy="171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Freeform 8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61984" y="2338768"/>
            <a:ext cx="8797290" cy="2206924"/>
          </a:xfrm>
          <a:prstGeom prst="rect">
            <a:avLst/>
          </a:prstGeom>
          <a:noFill/>
          <a:ln w="19050" algn="ctr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56" tIns="45678" rIns="91356" bIns="45678" anchor="ctr">
            <a:noAutofit/>
          </a:bodyPr>
          <a:lstStyle/>
          <a:p>
            <a:endParaRPr lang="en-US" sz="1100" dirty="0"/>
          </a:p>
        </p:txBody>
      </p:sp>
      <p:pic>
        <p:nvPicPr>
          <p:cNvPr id="651418" name="Picture 15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81" y="2607078"/>
            <a:ext cx="1814665" cy="1658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5048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1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60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5" name="Group 94"/>
          <p:cNvGrpSpPr/>
          <p:nvPr/>
        </p:nvGrpSpPr>
        <p:grpSpPr>
          <a:xfrm>
            <a:off x="0" y="986404"/>
            <a:ext cx="9144000" cy="486719"/>
            <a:chOff x="0" y="895350"/>
            <a:chExt cx="9144000" cy="486719"/>
          </a:xfrm>
        </p:grpSpPr>
        <p:sp>
          <p:nvSpPr>
            <p:cNvPr id="96" name="Rectangle 95"/>
            <p:cNvSpPr>
              <a:spLocks/>
            </p:cNvSpPr>
            <p:nvPr/>
          </p:nvSpPr>
          <p:spPr>
            <a:xfrm>
              <a:off x="0" y="895350"/>
              <a:ext cx="9144000" cy="486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97" name="Straight Connector 96"/>
            <p:cNvCxnSpPr>
              <a:cxnSpLocks/>
            </p:cNvCxnSpPr>
            <p:nvPr/>
          </p:nvCxnSpPr>
          <p:spPr>
            <a:xfrm>
              <a:off x="0" y="895350"/>
              <a:ext cx="9144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Key learning objectives </a:t>
            </a:r>
            <a:endParaRPr lang="en-US" dirty="0"/>
          </a:p>
        </p:txBody>
      </p:sp>
      <p:sp>
        <p:nvSpPr>
          <p:cNvPr id="20" name="StickerRectangle"/>
          <p:cNvSpPr>
            <a:spLocks noChangeArrowheads="1"/>
          </p:cNvSpPr>
          <p:nvPr/>
        </p:nvSpPr>
        <p:spPr bwMode="auto">
          <a:xfrm>
            <a:off x="7648435" y="4546966"/>
            <a:ext cx="1087372" cy="14288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581" tIns="0" rIns="0" bIns="19581">
            <a:spAutoFit/>
          </a:bodyPr>
          <a:lstStyle/>
          <a:p>
            <a:pPr algn="r" defTabSz="670461">
              <a:buClr>
                <a:srgbClr val="14385C"/>
              </a:buClr>
            </a:pPr>
            <a:r>
              <a:rPr lang="en-US" sz="800" dirty="0">
                <a:solidFill>
                  <a:srgbClr val="FFFFFF"/>
                </a:solidFill>
                <a:latin typeface="Arial"/>
              </a:rPr>
              <a:t>PRELIMINARY DRAFT</a:t>
            </a:r>
          </a:p>
        </p:txBody>
      </p:sp>
      <p:cxnSp>
        <p:nvCxnSpPr>
          <p:cNvPr id="21" name="AutoShape 31"/>
          <p:cNvCxnSpPr>
            <a:cxnSpLocks noChangeShapeType="1"/>
            <a:stCxn id="20" idx="2"/>
            <a:endCxn id="20" idx="4"/>
          </p:cNvCxnSpPr>
          <p:nvPr/>
        </p:nvCxnSpPr>
        <p:spPr bwMode="auto">
          <a:xfrm>
            <a:off x="7648435" y="4546966"/>
            <a:ext cx="0" cy="142883"/>
          </a:xfrm>
          <a:prstGeom prst="straightConnector1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" name="dtable157951861619949 10 146 100 262 17"/>
          <p:cNvSpPr txBox="1">
            <a:spLocks noChangeArrowheads="1"/>
          </p:cNvSpPr>
          <p:nvPr/>
        </p:nvSpPr>
        <p:spPr bwMode="auto">
          <a:xfrm>
            <a:off x="363349" y="629058"/>
            <a:ext cx="614124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19" indent="-201553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79730" indent="-274846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44637" indent="-163241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375"/>
              </a:spcBef>
              <a:buClr>
                <a:srgbClr val="14385C"/>
              </a:buClr>
            </a:pPr>
            <a:r>
              <a:rPr lang="en-US" sz="1800" b="1" dirty="0">
                <a:solidFill>
                  <a:schemeClr val="accent2"/>
                </a:solidFill>
              </a:rPr>
              <a:t>Participants should now be able to:</a:t>
            </a:r>
          </a:p>
        </p:txBody>
      </p:sp>
      <p:sp>
        <p:nvSpPr>
          <p:cNvPr id="56" name="WordArt 37"/>
          <p:cNvSpPr>
            <a:spLocks noChangeArrowheads="1" noChangeShapeType="1" noTextEdit="1"/>
          </p:cNvSpPr>
          <p:nvPr/>
        </p:nvSpPr>
        <p:spPr bwMode="gray">
          <a:xfrm>
            <a:off x="389911" y="1342538"/>
            <a:ext cx="187081" cy="31949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1356" tIns="45678" rIns="91356" bIns="4567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800" kern="10" dirty="0">
                <a:solidFill>
                  <a:schemeClr val="bg1"/>
                </a:solidFill>
                <a:latin typeface="Arial Black"/>
              </a:rPr>
              <a:t>2</a:t>
            </a:r>
          </a:p>
        </p:txBody>
      </p:sp>
      <p:sp>
        <p:nvSpPr>
          <p:cNvPr id="85" name="Rounded Rectangle 84"/>
          <p:cNvSpPr/>
          <p:nvPr/>
        </p:nvSpPr>
        <p:spPr>
          <a:xfrm>
            <a:off x="949613" y="3982966"/>
            <a:ext cx="15396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6" name="Rounded Rectangle 85"/>
          <p:cNvSpPr/>
          <p:nvPr/>
        </p:nvSpPr>
        <p:spPr>
          <a:xfrm>
            <a:off x="949613" y="4011425"/>
            <a:ext cx="15396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911353" y="1118985"/>
            <a:ext cx="7069963" cy="632769"/>
            <a:chOff x="302388" y="1844969"/>
            <a:chExt cx="7069963" cy="632769"/>
          </a:xfrm>
        </p:grpSpPr>
        <p:grpSp>
          <p:nvGrpSpPr>
            <p:cNvPr id="50" name="Group 49"/>
            <p:cNvGrpSpPr/>
            <p:nvPr/>
          </p:nvGrpSpPr>
          <p:grpSpPr>
            <a:xfrm>
              <a:off x="302388" y="1844969"/>
              <a:ext cx="7069963" cy="632769"/>
              <a:chOff x="302388" y="1977037"/>
              <a:chExt cx="7069963" cy="632769"/>
            </a:xfrm>
          </p:grpSpPr>
          <p:sp>
            <p:nvSpPr>
              <p:cNvPr id="53" name="Rectangle 14"/>
              <p:cNvSpPr txBox="1">
                <a:spLocks noChangeArrowheads="1"/>
              </p:cNvSpPr>
              <p:nvPr/>
            </p:nvSpPr>
            <p:spPr bwMode="gray">
              <a:xfrm>
                <a:off x="1913445" y="2176977"/>
                <a:ext cx="5065752" cy="369332"/>
              </a:xfrm>
              <a:prstGeom prst="rect">
                <a:avLst/>
              </a:prstGeom>
              <a:noFill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lIns="0" tIns="0" rIns="0" bIns="0" rtlCol="0" anchor="ctr">
                <a:spAutoFit/>
              </a:bodyPr>
              <a:lstStyle>
                <a:lvl1pPr marL="230188" indent="-230188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Char char="§"/>
                  <a:defRPr sz="24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1pPr>
                <a:lvl2pPr marL="514350" indent="-230188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2pPr>
                <a:lvl3pPr marL="742950" indent="-171450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3pPr>
                <a:lvl4pPr marL="971550" indent="-228600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4pPr>
                <a:lvl5pPr marL="1143000" indent="-171450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»"/>
                  <a:defRPr sz="18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Aft>
                    <a:spcPct val="0"/>
                  </a:spcAft>
                  <a:buClr>
                    <a:srgbClr val="899BAD"/>
                  </a:buClr>
                </a:pPr>
                <a:r>
                  <a:rPr lang="en-US" smtClean="0">
                    <a:solidFill>
                      <a:srgbClr val="000000"/>
                    </a:solidFill>
                  </a:rPr>
                  <a:t>…</a:t>
                </a:r>
              </a:p>
            </p:txBody>
          </p:sp>
          <p:sp>
            <p:nvSpPr>
              <p:cNvPr id="54" name="Rectangle 9"/>
              <p:cNvSpPr>
                <a:spLocks noChangeArrowheads="1"/>
              </p:cNvSpPr>
              <p:nvPr/>
            </p:nvSpPr>
            <p:spPr bwMode="gray">
              <a:xfrm>
                <a:off x="1398919" y="1977037"/>
                <a:ext cx="5973432" cy="632769"/>
              </a:xfrm>
              <a:prstGeom prst="rect">
                <a:avLst/>
              </a:prstGeom>
              <a:solidFill>
                <a:schemeClr val="bg1"/>
              </a:solidFill>
              <a:ln w="9525" cmpd="sng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marL="0" lvl="1"/>
                <a:r>
                  <a:rPr lang="en-US" sz="1600" dirty="0">
                    <a:solidFill>
                      <a:srgbClr val="000000"/>
                    </a:solidFill>
                  </a:rPr>
                  <a:t>Define how projects are created and move through a funnel as </a:t>
                </a:r>
              </a:p>
              <a:p>
                <a:pPr marL="0" lvl="1"/>
                <a:r>
                  <a:rPr lang="en-US" sz="1600" dirty="0">
                    <a:solidFill>
                      <a:srgbClr val="000000"/>
                    </a:solidFill>
                  </a:rPr>
                  <a:t>part of a portfolio that is actively managed by each district</a:t>
                </a:r>
              </a:p>
            </p:txBody>
          </p:sp>
          <p:sp>
            <p:nvSpPr>
              <p:cNvPr id="55" name="Rectangle 10"/>
              <p:cNvSpPr>
                <a:spLocks noChangeArrowheads="1"/>
              </p:cNvSpPr>
              <p:nvPr/>
            </p:nvSpPr>
            <p:spPr bwMode="gray">
              <a:xfrm>
                <a:off x="694991" y="1977037"/>
                <a:ext cx="707019" cy="63276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12"/>
              <p:cNvSpPr>
                <a:spLocks noChangeArrowheads="1"/>
              </p:cNvSpPr>
              <p:nvPr/>
            </p:nvSpPr>
            <p:spPr bwMode="gray">
              <a:xfrm flipH="1">
                <a:off x="302388" y="1977037"/>
                <a:ext cx="331643" cy="632769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WordArt 37"/>
              <p:cNvSpPr>
                <a:spLocks noChangeArrowheads="1" noChangeShapeType="1" noTextEdit="1"/>
              </p:cNvSpPr>
              <p:nvPr/>
            </p:nvSpPr>
            <p:spPr bwMode="gray">
              <a:xfrm>
                <a:off x="374669" y="2136593"/>
                <a:ext cx="187081" cy="319495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800" kern="10" dirty="0">
                    <a:solidFill>
                      <a:srgbClr val="FFFFFF"/>
                    </a:solidFill>
                    <a:latin typeface="Arial Black"/>
                  </a:rPr>
                  <a:t>2</a:t>
                </a:r>
              </a:p>
            </p:txBody>
          </p:sp>
        </p:grpSp>
        <p:pic>
          <p:nvPicPr>
            <p:cNvPr id="52" name="Picture 51"/>
            <p:cNvPicPr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830390" y="1914380"/>
              <a:ext cx="485589" cy="485589"/>
            </a:xfrm>
            <a:prstGeom prst="rect">
              <a:avLst/>
            </a:prstGeom>
          </p:spPr>
        </p:pic>
      </p:grpSp>
      <p:pic>
        <p:nvPicPr>
          <p:cNvPr id="653433" name="Picture 12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8553" y="2394467"/>
            <a:ext cx="3600551" cy="2316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3484" name="Picture 17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53" y="1887937"/>
            <a:ext cx="4836047" cy="2007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24233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843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6575"/>
            <a:ext cx="9144000" cy="49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722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Key learning objectives </a:t>
            </a:r>
            <a:endParaRPr lang="en-US" dirty="0"/>
          </a:p>
        </p:txBody>
      </p:sp>
      <p:sp>
        <p:nvSpPr>
          <p:cNvPr id="23" name="dtable157951861619949 10 146 100 262 17"/>
          <p:cNvSpPr txBox="1">
            <a:spLocks noChangeArrowheads="1"/>
          </p:cNvSpPr>
          <p:nvPr/>
        </p:nvSpPr>
        <p:spPr bwMode="auto">
          <a:xfrm>
            <a:off x="363349" y="629058"/>
            <a:ext cx="614124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19" indent="-201553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79730" indent="-274846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44637" indent="-163241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375"/>
              </a:spcBef>
              <a:buClr>
                <a:srgbClr val="14385C"/>
              </a:buClr>
            </a:pPr>
            <a:r>
              <a:rPr lang="en-US" sz="1800" b="1" dirty="0">
                <a:solidFill>
                  <a:schemeClr val="accent2"/>
                </a:solidFill>
              </a:rPr>
              <a:t>Participants should now be able to:</a:t>
            </a:r>
          </a:p>
        </p:txBody>
      </p:sp>
      <p:sp>
        <p:nvSpPr>
          <p:cNvPr id="62" name="Freeform 418"/>
          <p:cNvSpPr>
            <a:spLocks/>
          </p:cNvSpPr>
          <p:nvPr/>
        </p:nvSpPr>
        <p:spPr bwMode="auto">
          <a:xfrm>
            <a:off x="1046359" y="2148609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19"/>
          <p:cNvSpPr>
            <a:spLocks/>
          </p:cNvSpPr>
          <p:nvPr/>
        </p:nvSpPr>
        <p:spPr bwMode="auto">
          <a:xfrm>
            <a:off x="1046359" y="2186868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420"/>
          <p:cNvSpPr>
            <a:spLocks/>
          </p:cNvSpPr>
          <p:nvPr/>
        </p:nvSpPr>
        <p:spPr bwMode="auto">
          <a:xfrm>
            <a:off x="958586" y="2119337"/>
            <a:ext cx="81021" cy="81021"/>
          </a:xfrm>
          <a:custGeom>
            <a:avLst/>
            <a:gdLst>
              <a:gd name="T0" fmla="*/ 40 w 41"/>
              <a:gd name="T1" fmla="*/ 4 h 41"/>
              <a:gd name="T2" fmla="*/ 20 w 41"/>
              <a:gd name="T3" fmla="*/ 36 h 41"/>
              <a:gd name="T4" fmla="*/ 19 w 41"/>
              <a:gd name="T5" fmla="*/ 37 h 41"/>
              <a:gd name="T6" fmla="*/ 17 w 41"/>
              <a:gd name="T7" fmla="*/ 38 h 41"/>
              <a:gd name="T8" fmla="*/ 13 w 41"/>
              <a:gd name="T9" fmla="*/ 41 h 41"/>
              <a:gd name="T10" fmla="*/ 12 w 41"/>
              <a:gd name="T11" fmla="*/ 41 h 41"/>
              <a:gd name="T12" fmla="*/ 12 w 41"/>
              <a:gd name="T13" fmla="*/ 41 h 41"/>
              <a:gd name="T14" fmla="*/ 11 w 41"/>
              <a:gd name="T15" fmla="*/ 41 h 41"/>
              <a:gd name="T16" fmla="*/ 10 w 41"/>
              <a:gd name="T17" fmla="*/ 36 h 41"/>
              <a:gd name="T18" fmla="*/ 9 w 41"/>
              <a:gd name="T19" fmla="*/ 34 h 41"/>
              <a:gd name="T20" fmla="*/ 4 w 41"/>
              <a:gd name="T21" fmla="*/ 25 h 41"/>
              <a:gd name="T22" fmla="*/ 1 w 41"/>
              <a:gd name="T23" fmla="*/ 22 h 41"/>
              <a:gd name="T24" fmla="*/ 0 w 41"/>
              <a:gd name="T25" fmla="*/ 21 h 41"/>
              <a:gd name="T26" fmla="*/ 0 w 41"/>
              <a:gd name="T27" fmla="*/ 20 h 41"/>
              <a:gd name="T28" fmla="*/ 6 w 41"/>
              <a:gd name="T29" fmla="*/ 17 h 41"/>
              <a:gd name="T30" fmla="*/ 14 w 41"/>
              <a:gd name="T31" fmla="*/ 26 h 41"/>
              <a:gd name="T32" fmla="*/ 14 w 41"/>
              <a:gd name="T33" fmla="*/ 27 h 41"/>
              <a:gd name="T34" fmla="*/ 38 w 41"/>
              <a:gd name="T35" fmla="*/ 0 h 41"/>
              <a:gd name="T36" fmla="*/ 40 w 41"/>
              <a:gd name="T37" fmla="*/ 0 h 41"/>
              <a:gd name="T38" fmla="*/ 41 w 41"/>
              <a:gd name="T39" fmla="*/ 2 h 41"/>
              <a:gd name="T40" fmla="*/ 40 w 41"/>
              <a:gd name="T41" fmla="*/ 4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" h="41">
                <a:moveTo>
                  <a:pt x="40" y="4"/>
                </a:moveTo>
                <a:cubicBezTo>
                  <a:pt x="28" y="12"/>
                  <a:pt x="20" y="27"/>
                  <a:pt x="20" y="36"/>
                </a:cubicBezTo>
                <a:cubicBezTo>
                  <a:pt x="20" y="36"/>
                  <a:pt x="19" y="37"/>
                  <a:pt x="19" y="37"/>
                </a:cubicBezTo>
                <a:cubicBezTo>
                  <a:pt x="17" y="38"/>
                  <a:pt x="17" y="38"/>
                  <a:pt x="17" y="38"/>
                </a:cubicBezTo>
                <a:cubicBezTo>
                  <a:pt x="15" y="39"/>
                  <a:pt x="14" y="40"/>
                  <a:pt x="13" y="41"/>
                </a:cubicBezTo>
                <a:cubicBezTo>
                  <a:pt x="13" y="41"/>
                  <a:pt x="13" y="41"/>
                  <a:pt x="12" y="41"/>
                </a:cubicBezTo>
                <a:cubicBezTo>
                  <a:pt x="12" y="41"/>
                  <a:pt x="12" y="41"/>
                  <a:pt x="12" y="41"/>
                </a:cubicBezTo>
                <a:cubicBezTo>
                  <a:pt x="12" y="41"/>
                  <a:pt x="11" y="41"/>
                  <a:pt x="11" y="41"/>
                </a:cubicBezTo>
                <a:cubicBezTo>
                  <a:pt x="11" y="40"/>
                  <a:pt x="11" y="38"/>
                  <a:pt x="10" y="36"/>
                </a:cubicBezTo>
                <a:cubicBezTo>
                  <a:pt x="9" y="34"/>
                  <a:pt x="9" y="34"/>
                  <a:pt x="9" y="34"/>
                </a:cubicBezTo>
                <a:cubicBezTo>
                  <a:pt x="7" y="30"/>
                  <a:pt x="6" y="27"/>
                  <a:pt x="4" y="25"/>
                </a:cubicBezTo>
                <a:cubicBezTo>
                  <a:pt x="3" y="23"/>
                  <a:pt x="2" y="22"/>
                  <a:pt x="1" y="22"/>
                </a:cubicBezTo>
                <a:cubicBezTo>
                  <a:pt x="1" y="22"/>
                  <a:pt x="0" y="22"/>
                  <a:pt x="0" y="21"/>
                </a:cubicBezTo>
                <a:cubicBezTo>
                  <a:pt x="0" y="21"/>
                  <a:pt x="0" y="21"/>
                  <a:pt x="0" y="20"/>
                </a:cubicBezTo>
                <a:cubicBezTo>
                  <a:pt x="3" y="18"/>
                  <a:pt x="5" y="17"/>
                  <a:pt x="6" y="17"/>
                </a:cubicBezTo>
                <a:cubicBezTo>
                  <a:pt x="9" y="17"/>
                  <a:pt x="11" y="20"/>
                  <a:pt x="14" y="26"/>
                </a:cubicBezTo>
                <a:cubicBezTo>
                  <a:pt x="14" y="27"/>
                  <a:pt x="14" y="27"/>
                  <a:pt x="14" y="27"/>
                </a:cubicBezTo>
                <a:cubicBezTo>
                  <a:pt x="17" y="18"/>
                  <a:pt x="27" y="5"/>
                  <a:pt x="38" y="0"/>
                </a:cubicBezTo>
                <a:cubicBezTo>
                  <a:pt x="39" y="0"/>
                  <a:pt x="39" y="0"/>
                  <a:pt x="40" y="0"/>
                </a:cubicBezTo>
                <a:cubicBezTo>
                  <a:pt x="41" y="2"/>
                  <a:pt x="41" y="2"/>
                  <a:pt x="41" y="2"/>
                </a:cubicBezTo>
                <a:cubicBezTo>
                  <a:pt x="41" y="3"/>
                  <a:pt x="41" y="3"/>
                  <a:pt x="40" y="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21"/>
          <p:cNvSpPr>
            <a:spLocks noEditPoints="1"/>
          </p:cNvSpPr>
          <p:nvPr/>
        </p:nvSpPr>
        <p:spPr bwMode="auto">
          <a:xfrm>
            <a:off x="951834" y="2144094"/>
            <a:ext cx="67518" cy="63016"/>
          </a:xfrm>
          <a:custGeom>
            <a:avLst/>
            <a:gdLst>
              <a:gd name="T0" fmla="*/ 33 w 35"/>
              <a:gd name="T1" fmla="*/ 33 h 33"/>
              <a:gd name="T2" fmla="*/ 2 w 35"/>
              <a:gd name="T3" fmla="*/ 33 h 33"/>
              <a:gd name="T4" fmla="*/ 0 w 35"/>
              <a:gd name="T5" fmla="*/ 31 h 33"/>
              <a:gd name="T6" fmla="*/ 0 w 35"/>
              <a:gd name="T7" fmla="*/ 1 h 33"/>
              <a:gd name="T8" fmla="*/ 2 w 35"/>
              <a:gd name="T9" fmla="*/ 0 h 33"/>
              <a:gd name="T10" fmla="*/ 33 w 35"/>
              <a:gd name="T11" fmla="*/ 0 h 33"/>
              <a:gd name="T12" fmla="*/ 35 w 35"/>
              <a:gd name="T13" fmla="*/ 1 h 33"/>
              <a:gd name="T14" fmla="*/ 35 w 35"/>
              <a:gd name="T15" fmla="*/ 31 h 33"/>
              <a:gd name="T16" fmla="*/ 33 w 35"/>
              <a:gd name="T17" fmla="*/ 33 h 33"/>
              <a:gd name="T18" fmla="*/ 4 w 35"/>
              <a:gd name="T19" fmla="*/ 30 h 33"/>
              <a:gd name="T20" fmla="*/ 31 w 35"/>
              <a:gd name="T21" fmla="*/ 30 h 33"/>
              <a:gd name="T22" fmla="*/ 31 w 35"/>
              <a:gd name="T23" fmla="*/ 3 h 33"/>
              <a:gd name="T24" fmla="*/ 4 w 35"/>
              <a:gd name="T25" fmla="*/ 3 h 33"/>
              <a:gd name="T26" fmla="*/ 4 w 35"/>
              <a:gd name="T27" fmla="*/ 3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3">
                <a:moveTo>
                  <a:pt x="33" y="33"/>
                </a:moveTo>
                <a:cubicBezTo>
                  <a:pt x="2" y="33"/>
                  <a:pt x="2" y="33"/>
                  <a:pt x="2" y="33"/>
                </a:cubicBezTo>
                <a:cubicBezTo>
                  <a:pt x="1" y="33"/>
                  <a:pt x="0" y="32"/>
                  <a:pt x="0" y="3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0"/>
                  <a:pt x="35" y="1"/>
                </a:cubicBezTo>
                <a:cubicBezTo>
                  <a:pt x="35" y="31"/>
                  <a:pt x="35" y="31"/>
                  <a:pt x="35" y="31"/>
                </a:cubicBezTo>
                <a:cubicBezTo>
                  <a:pt x="35" y="32"/>
                  <a:pt x="34" y="33"/>
                  <a:pt x="33" y="33"/>
                </a:cubicBezTo>
                <a:close/>
                <a:moveTo>
                  <a:pt x="4" y="30"/>
                </a:moveTo>
                <a:cubicBezTo>
                  <a:pt x="31" y="30"/>
                  <a:pt x="31" y="30"/>
                  <a:pt x="31" y="30"/>
                </a:cubicBezTo>
                <a:cubicBezTo>
                  <a:pt x="31" y="3"/>
                  <a:pt x="31" y="3"/>
                  <a:pt x="31" y="3"/>
                </a:cubicBezTo>
                <a:cubicBezTo>
                  <a:pt x="4" y="3"/>
                  <a:pt x="4" y="3"/>
                  <a:pt x="4" y="3"/>
                </a:cubicBezTo>
                <a:lnTo>
                  <a:pt x="4" y="3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422"/>
          <p:cNvSpPr>
            <a:spLocks noEditPoints="1"/>
          </p:cNvSpPr>
          <p:nvPr/>
        </p:nvSpPr>
        <p:spPr bwMode="auto">
          <a:xfrm>
            <a:off x="904571" y="2074325"/>
            <a:ext cx="342090" cy="528886"/>
          </a:xfrm>
          <a:custGeom>
            <a:avLst/>
            <a:gdLst>
              <a:gd name="T0" fmla="*/ 4 w 176"/>
              <a:gd name="T1" fmla="*/ 271 h 271"/>
              <a:gd name="T2" fmla="*/ 0 w 176"/>
              <a:gd name="T3" fmla="*/ 267 h 271"/>
              <a:gd name="T4" fmla="*/ 0 w 176"/>
              <a:gd name="T5" fmla="*/ 4 h 271"/>
              <a:gd name="T6" fmla="*/ 4 w 176"/>
              <a:gd name="T7" fmla="*/ 0 h 271"/>
              <a:gd name="T8" fmla="*/ 172 w 176"/>
              <a:gd name="T9" fmla="*/ 0 h 271"/>
              <a:gd name="T10" fmla="*/ 176 w 176"/>
              <a:gd name="T11" fmla="*/ 4 h 271"/>
              <a:gd name="T12" fmla="*/ 176 w 176"/>
              <a:gd name="T13" fmla="*/ 267 h 271"/>
              <a:gd name="T14" fmla="*/ 172 w 176"/>
              <a:gd name="T15" fmla="*/ 271 h 271"/>
              <a:gd name="T16" fmla="*/ 4 w 176"/>
              <a:gd name="T17" fmla="*/ 271 h 271"/>
              <a:gd name="T18" fmla="*/ 168 w 176"/>
              <a:gd name="T19" fmla="*/ 263 h 271"/>
              <a:gd name="T20" fmla="*/ 168 w 176"/>
              <a:gd name="T21" fmla="*/ 8 h 271"/>
              <a:gd name="T22" fmla="*/ 8 w 176"/>
              <a:gd name="T23" fmla="*/ 8 h 271"/>
              <a:gd name="T24" fmla="*/ 8 w 176"/>
              <a:gd name="T25" fmla="*/ 263 h 271"/>
              <a:gd name="T26" fmla="*/ 168 w 176"/>
              <a:gd name="T27" fmla="*/ 263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6" h="271">
                <a:moveTo>
                  <a:pt x="4" y="271"/>
                </a:moveTo>
                <a:cubicBezTo>
                  <a:pt x="1" y="271"/>
                  <a:pt x="0" y="269"/>
                  <a:pt x="0" y="26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1" y="0"/>
                  <a:pt x="4" y="0"/>
                </a:cubicBezTo>
                <a:cubicBezTo>
                  <a:pt x="172" y="0"/>
                  <a:pt x="172" y="0"/>
                  <a:pt x="172" y="0"/>
                </a:cubicBezTo>
                <a:cubicBezTo>
                  <a:pt x="175" y="0"/>
                  <a:pt x="176" y="2"/>
                  <a:pt x="176" y="4"/>
                </a:cubicBezTo>
                <a:cubicBezTo>
                  <a:pt x="176" y="267"/>
                  <a:pt x="176" y="267"/>
                  <a:pt x="176" y="267"/>
                </a:cubicBezTo>
                <a:cubicBezTo>
                  <a:pt x="176" y="269"/>
                  <a:pt x="175" y="271"/>
                  <a:pt x="172" y="271"/>
                </a:cubicBezTo>
                <a:lnTo>
                  <a:pt x="4" y="271"/>
                </a:lnTo>
                <a:close/>
                <a:moveTo>
                  <a:pt x="168" y="263"/>
                </a:moveTo>
                <a:cubicBezTo>
                  <a:pt x="168" y="8"/>
                  <a:pt x="168" y="8"/>
                  <a:pt x="168" y="8"/>
                </a:cubicBezTo>
                <a:cubicBezTo>
                  <a:pt x="8" y="8"/>
                  <a:pt x="8" y="8"/>
                  <a:pt x="8" y="8"/>
                </a:cubicBezTo>
                <a:cubicBezTo>
                  <a:pt x="8" y="263"/>
                  <a:pt x="8" y="263"/>
                  <a:pt x="8" y="263"/>
                </a:cubicBezTo>
                <a:lnTo>
                  <a:pt x="168" y="26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23"/>
          <p:cNvSpPr>
            <a:spLocks/>
          </p:cNvSpPr>
          <p:nvPr/>
        </p:nvSpPr>
        <p:spPr bwMode="auto">
          <a:xfrm>
            <a:off x="1046359" y="2258886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424"/>
          <p:cNvSpPr>
            <a:spLocks/>
          </p:cNvSpPr>
          <p:nvPr/>
        </p:nvSpPr>
        <p:spPr bwMode="auto">
          <a:xfrm>
            <a:off x="1046359" y="2299397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Freeform 425"/>
          <p:cNvSpPr>
            <a:spLocks/>
          </p:cNvSpPr>
          <p:nvPr/>
        </p:nvSpPr>
        <p:spPr bwMode="auto">
          <a:xfrm>
            <a:off x="958586" y="2229616"/>
            <a:ext cx="81021" cy="81021"/>
          </a:xfrm>
          <a:custGeom>
            <a:avLst/>
            <a:gdLst>
              <a:gd name="T0" fmla="*/ 40 w 41"/>
              <a:gd name="T1" fmla="*/ 4 h 41"/>
              <a:gd name="T2" fmla="*/ 20 w 41"/>
              <a:gd name="T3" fmla="*/ 36 h 41"/>
              <a:gd name="T4" fmla="*/ 19 w 41"/>
              <a:gd name="T5" fmla="*/ 37 h 41"/>
              <a:gd name="T6" fmla="*/ 17 w 41"/>
              <a:gd name="T7" fmla="*/ 38 h 41"/>
              <a:gd name="T8" fmla="*/ 13 w 41"/>
              <a:gd name="T9" fmla="*/ 41 h 41"/>
              <a:gd name="T10" fmla="*/ 12 w 41"/>
              <a:gd name="T11" fmla="*/ 41 h 41"/>
              <a:gd name="T12" fmla="*/ 12 w 41"/>
              <a:gd name="T13" fmla="*/ 41 h 41"/>
              <a:gd name="T14" fmla="*/ 11 w 41"/>
              <a:gd name="T15" fmla="*/ 40 h 41"/>
              <a:gd name="T16" fmla="*/ 10 w 41"/>
              <a:gd name="T17" fmla="*/ 36 h 41"/>
              <a:gd name="T18" fmla="*/ 9 w 41"/>
              <a:gd name="T19" fmla="*/ 34 h 41"/>
              <a:gd name="T20" fmla="*/ 4 w 41"/>
              <a:gd name="T21" fmla="*/ 25 h 41"/>
              <a:gd name="T22" fmla="*/ 1 w 41"/>
              <a:gd name="T23" fmla="*/ 22 h 41"/>
              <a:gd name="T24" fmla="*/ 0 w 41"/>
              <a:gd name="T25" fmla="*/ 21 h 41"/>
              <a:gd name="T26" fmla="*/ 0 w 41"/>
              <a:gd name="T27" fmla="*/ 20 h 41"/>
              <a:gd name="T28" fmla="*/ 6 w 41"/>
              <a:gd name="T29" fmla="*/ 17 h 41"/>
              <a:gd name="T30" fmla="*/ 14 w 41"/>
              <a:gd name="T31" fmla="*/ 26 h 41"/>
              <a:gd name="T32" fmla="*/ 14 w 41"/>
              <a:gd name="T33" fmla="*/ 27 h 41"/>
              <a:gd name="T34" fmla="*/ 38 w 41"/>
              <a:gd name="T35" fmla="*/ 0 h 41"/>
              <a:gd name="T36" fmla="*/ 40 w 41"/>
              <a:gd name="T37" fmla="*/ 0 h 41"/>
              <a:gd name="T38" fmla="*/ 41 w 41"/>
              <a:gd name="T39" fmla="*/ 2 h 41"/>
              <a:gd name="T40" fmla="*/ 40 w 41"/>
              <a:gd name="T41" fmla="*/ 4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" h="41">
                <a:moveTo>
                  <a:pt x="40" y="4"/>
                </a:moveTo>
                <a:cubicBezTo>
                  <a:pt x="28" y="12"/>
                  <a:pt x="20" y="27"/>
                  <a:pt x="20" y="36"/>
                </a:cubicBezTo>
                <a:cubicBezTo>
                  <a:pt x="20" y="36"/>
                  <a:pt x="19" y="37"/>
                  <a:pt x="19" y="37"/>
                </a:cubicBezTo>
                <a:cubicBezTo>
                  <a:pt x="17" y="38"/>
                  <a:pt x="17" y="38"/>
                  <a:pt x="17" y="38"/>
                </a:cubicBezTo>
                <a:cubicBezTo>
                  <a:pt x="15" y="39"/>
                  <a:pt x="14" y="40"/>
                  <a:pt x="13" y="41"/>
                </a:cubicBezTo>
                <a:cubicBezTo>
                  <a:pt x="13" y="41"/>
                  <a:pt x="13" y="41"/>
                  <a:pt x="12" y="41"/>
                </a:cubicBezTo>
                <a:cubicBezTo>
                  <a:pt x="12" y="41"/>
                  <a:pt x="12" y="41"/>
                  <a:pt x="12" y="41"/>
                </a:cubicBezTo>
                <a:cubicBezTo>
                  <a:pt x="12" y="41"/>
                  <a:pt x="11" y="41"/>
                  <a:pt x="11" y="40"/>
                </a:cubicBezTo>
                <a:cubicBezTo>
                  <a:pt x="11" y="40"/>
                  <a:pt x="11" y="38"/>
                  <a:pt x="10" y="36"/>
                </a:cubicBezTo>
                <a:cubicBezTo>
                  <a:pt x="9" y="34"/>
                  <a:pt x="9" y="34"/>
                  <a:pt x="9" y="34"/>
                </a:cubicBezTo>
                <a:cubicBezTo>
                  <a:pt x="7" y="30"/>
                  <a:pt x="6" y="26"/>
                  <a:pt x="4" y="25"/>
                </a:cubicBezTo>
                <a:cubicBezTo>
                  <a:pt x="3" y="23"/>
                  <a:pt x="2" y="22"/>
                  <a:pt x="1" y="22"/>
                </a:cubicBezTo>
                <a:cubicBezTo>
                  <a:pt x="1" y="22"/>
                  <a:pt x="0" y="22"/>
                  <a:pt x="0" y="21"/>
                </a:cubicBezTo>
                <a:cubicBezTo>
                  <a:pt x="0" y="21"/>
                  <a:pt x="0" y="21"/>
                  <a:pt x="0" y="20"/>
                </a:cubicBezTo>
                <a:cubicBezTo>
                  <a:pt x="3" y="18"/>
                  <a:pt x="5" y="17"/>
                  <a:pt x="6" y="17"/>
                </a:cubicBezTo>
                <a:cubicBezTo>
                  <a:pt x="9" y="17"/>
                  <a:pt x="11" y="20"/>
                  <a:pt x="14" y="26"/>
                </a:cubicBezTo>
                <a:cubicBezTo>
                  <a:pt x="14" y="27"/>
                  <a:pt x="14" y="27"/>
                  <a:pt x="14" y="27"/>
                </a:cubicBezTo>
                <a:cubicBezTo>
                  <a:pt x="17" y="18"/>
                  <a:pt x="27" y="5"/>
                  <a:pt x="38" y="0"/>
                </a:cubicBezTo>
                <a:cubicBezTo>
                  <a:pt x="39" y="0"/>
                  <a:pt x="39" y="0"/>
                  <a:pt x="40" y="0"/>
                </a:cubicBezTo>
                <a:cubicBezTo>
                  <a:pt x="41" y="2"/>
                  <a:pt x="41" y="2"/>
                  <a:pt x="41" y="2"/>
                </a:cubicBezTo>
                <a:cubicBezTo>
                  <a:pt x="41" y="3"/>
                  <a:pt x="41" y="3"/>
                  <a:pt x="40" y="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426"/>
          <p:cNvSpPr>
            <a:spLocks noEditPoints="1"/>
          </p:cNvSpPr>
          <p:nvPr/>
        </p:nvSpPr>
        <p:spPr bwMode="auto">
          <a:xfrm>
            <a:off x="951834" y="2254371"/>
            <a:ext cx="67518" cy="63016"/>
          </a:xfrm>
          <a:custGeom>
            <a:avLst/>
            <a:gdLst>
              <a:gd name="T0" fmla="*/ 33 w 35"/>
              <a:gd name="T1" fmla="*/ 33 h 33"/>
              <a:gd name="T2" fmla="*/ 2 w 35"/>
              <a:gd name="T3" fmla="*/ 33 h 33"/>
              <a:gd name="T4" fmla="*/ 0 w 35"/>
              <a:gd name="T5" fmla="*/ 31 h 33"/>
              <a:gd name="T6" fmla="*/ 0 w 35"/>
              <a:gd name="T7" fmla="*/ 1 h 33"/>
              <a:gd name="T8" fmla="*/ 2 w 35"/>
              <a:gd name="T9" fmla="*/ 0 h 33"/>
              <a:gd name="T10" fmla="*/ 33 w 35"/>
              <a:gd name="T11" fmla="*/ 0 h 33"/>
              <a:gd name="T12" fmla="*/ 35 w 35"/>
              <a:gd name="T13" fmla="*/ 1 h 33"/>
              <a:gd name="T14" fmla="*/ 35 w 35"/>
              <a:gd name="T15" fmla="*/ 31 h 33"/>
              <a:gd name="T16" fmla="*/ 33 w 35"/>
              <a:gd name="T17" fmla="*/ 33 h 33"/>
              <a:gd name="T18" fmla="*/ 4 w 35"/>
              <a:gd name="T19" fmla="*/ 30 h 33"/>
              <a:gd name="T20" fmla="*/ 31 w 35"/>
              <a:gd name="T21" fmla="*/ 30 h 33"/>
              <a:gd name="T22" fmla="*/ 31 w 35"/>
              <a:gd name="T23" fmla="*/ 3 h 33"/>
              <a:gd name="T24" fmla="*/ 4 w 35"/>
              <a:gd name="T25" fmla="*/ 3 h 33"/>
              <a:gd name="T26" fmla="*/ 4 w 35"/>
              <a:gd name="T27" fmla="*/ 3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3">
                <a:moveTo>
                  <a:pt x="33" y="33"/>
                </a:moveTo>
                <a:cubicBezTo>
                  <a:pt x="2" y="33"/>
                  <a:pt x="2" y="33"/>
                  <a:pt x="2" y="33"/>
                </a:cubicBezTo>
                <a:cubicBezTo>
                  <a:pt x="1" y="33"/>
                  <a:pt x="0" y="32"/>
                  <a:pt x="0" y="3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0"/>
                  <a:pt x="35" y="1"/>
                </a:cubicBezTo>
                <a:cubicBezTo>
                  <a:pt x="35" y="31"/>
                  <a:pt x="35" y="31"/>
                  <a:pt x="35" y="31"/>
                </a:cubicBezTo>
                <a:cubicBezTo>
                  <a:pt x="35" y="32"/>
                  <a:pt x="34" y="33"/>
                  <a:pt x="33" y="33"/>
                </a:cubicBezTo>
                <a:close/>
                <a:moveTo>
                  <a:pt x="4" y="30"/>
                </a:moveTo>
                <a:cubicBezTo>
                  <a:pt x="31" y="30"/>
                  <a:pt x="31" y="30"/>
                  <a:pt x="31" y="30"/>
                </a:cubicBezTo>
                <a:cubicBezTo>
                  <a:pt x="31" y="3"/>
                  <a:pt x="31" y="3"/>
                  <a:pt x="31" y="3"/>
                </a:cubicBezTo>
                <a:cubicBezTo>
                  <a:pt x="4" y="3"/>
                  <a:pt x="4" y="3"/>
                  <a:pt x="4" y="3"/>
                </a:cubicBezTo>
                <a:lnTo>
                  <a:pt x="4" y="3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427"/>
          <p:cNvSpPr>
            <a:spLocks/>
          </p:cNvSpPr>
          <p:nvPr/>
        </p:nvSpPr>
        <p:spPr bwMode="auto">
          <a:xfrm>
            <a:off x="1046359" y="2371415"/>
            <a:ext cx="153040" cy="1575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428"/>
          <p:cNvSpPr>
            <a:spLocks/>
          </p:cNvSpPr>
          <p:nvPr/>
        </p:nvSpPr>
        <p:spPr bwMode="auto">
          <a:xfrm>
            <a:off x="1046359" y="2409675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429"/>
          <p:cNvSpPr>
            <a:spLocks/>
          </p:cNvSpPr>
          <p:nvPr/>
        </p:nvSpPr>
        <p:spPr bwMode="auto">
          <a:xfrm>
            <a:off x="958586" y="2339893"/>
            <a:ext cx="81021" cy="81021"/>
          </a:xfrm>
          <a:custGeom>
            <a:avLst/>
            <a:gdLst>
              <a:gd name="T0" fmla="*/ 40 w 41"/>
              <a:gd name="T1" fmla="*/ 5 h 42"/>
              <a:gd name="T2" fmla="*/ 20 w 41"/>
              <a:gd name="T3" fmla="*/ 37 h 42"/>
              <a:gd name="T4" fmla="*/ 19 w 41"/>
              <a:gd name="T5" fmla="*/ 38 h 42"/>
              <a:gd name="T6" fmla="*/ 17 w 41"/>
              <a:gd name="T7" fmla="*/ 39 h 42"/>
              <a:gd name="T8" fmla="*/ 13 w 41"/>
              <a:gd name="T9" fmla="*/ 42 h 42"/>
              <a:gd name="T10" fmla="*/ 12 w 41"/>
              <a:gd name="T11" fmla="*/ 42 h 42"/>
              <a:gd name="T12" fmla="*/ 12 w 41"/>
              <a:gd name="T13" fmla="*/ 42 h 42"/>
              <a:gd name="T14" fmla="*/ 11 w 41"/>
              <a:gd name="T15" fmla="*/ 41 h 42"/>
              <a:gd name="T16" fmla="*/ 10 w 41"/>
              <a:gd name="T17" fmla="*/ 37 h 42"/>
              <a:gd name="T18" fmla="*/ 9 w 41"/>
              <a:gd name="T19" fmla="*/ 35 h 42"/>
              <a:gd name="T20" fmla="*/ 4 w 41"/>
              <a:gd name="T21" fmla="*/ 26 h 42"/>
              <a:gd name="T22" fmla="*/ 1 w 41"/>
              <a:gd name="T23" fmla="*/ 23 h 42"/>
              <a:gd name="T24" fmla="*/ 0 w 41"/>
              <a:gd name="T25" fmla="*/ 22 h 42"/>
              <a:gd name="T26" fmla="*/ 0 w 41"/>
              <a:gd name="T27" fmla="*/ 21 h 42"/>
              <a:gd name="T28" fmla="*/ 6 w 41"/>
              <a:gd name="T29" fmla="*/ 18 h 42"/>
              <a:gd name="T30" fmla="*/ 14 w 41"/>
              <a:gd name="T31" fmla="*/ 27 h 42"/>
              <a:gd name="T32" fmla="*/ 14 w 41"/>
              <a:gd name="T33" fmla="*/ 28 h 42"/>
              <a:gd name="T34" fmla="*/ 38 w 41"/>
              <a:gd name="T35" fmla="*/ 1 h 42"/>
              <a:gd name="T36" fmla="*/ 40 w 41"/>
              <a:gd name="T37" fmla="*/ 1 h 42"/>
              <a:gd name="T38" fmla="*/ 41 w 41"/>
              <a:gd name="T39" fmla="*/ 3 h 42"/>
              <a:gd name="T40" fmla="*/ 40 w 41"/>
              <a:gd name="T41" fmla="*/ 5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" h="42">
                <a:moveTo>
                  <a:pt x="40" y="5"/>
                </a:moveTo>
                <a:cubicBezTo>
                  <a:pt x="28" y="13"/>
                  <a:pt x="20" y="28"/>
                  <a:pt x="20" y="37"/>
                </a:cubicBezTo>
                <a:cubicBezTo>
                  <a:pt x="20" y="37"/>
                  <a:pt x="19" y="38"/>
                  <a:pt x="19" y="38"/>
                </a:cubicBezTo>
                <a:cubicBezTo>
                  <a:pt x="17" y="39"/>
                  <a:pt x="17" y="39"/>
                  <a:pt x="17" y="39"/>
                </a:cubicBezTo>
                <a:cubicBezTo>
                  <a:pt x="15" y="40"/>
                  <a:pt x="14" y="41"/>
                  <a:pt x="13" y="42"/>
                </a:cubicBezTo>
                <a:cubicBezTo>
                  <a:pt x="13" y="42"/>
                  <a:pt x="13" y="42"/>
                  <a:pt x="12" y="42"/>
                </a:cubicBezTo>
                <a:cubicBezTo>
                  <a:pt x="12" y="42"/>
                  <a:pt x="12" y="42"/>
                  <a:pt x="12" y="42"/>
                </a:cubicBezTo>
                <a:cubicBezTo>
                  <a:pt x="12" y="42"/>
                  <a:pt x="11" y="42"/>
                  <a:pt x="11" y="41"/>
                </a:cubicBezTo>
                <a:cubicBezTo>
                  <a:pt x="11" y="41"/>
                  <a:pt x="11" y="39"/>
                  <a:pt x="10" y="37"/>
                </a:cubicBezTo>
                <a:cubicBezTo>
                  <a:pt x="9" y="35"/>
                  <a:pt x="9" y="35"/>
                  <a:pt x="9" y="35"/>
                </a:cubicBezTo>
                <a:cubicBezTo>
                  <a:pt x="7" y="31"/>
                  <a:pt x="6" y="27"/>
                  <a:pt x="4" y="26"/>
                </a:cubicBezTo>
                <a:cubicBezTo>
                  <a:pt x="3" y="24"/>
                  <a:pt x="2" y="23"/>
                  <a:pt x="1" y="23"/>
                </a:cubicBezTo>
                <a:cubicBezTo>
                  <a:pt x="1" y="23"/>
                  <a:pt x="0" y="23"/>
                  <a:pt x="0" y="22"/>
                </a:cubicBezTo>
                <a:cubicBezTo>
                  <a:pt x="0" y="22"/>
                  <a:pt x="0" y="22"/>
                  <a:pt x="0" y="21"/>
                </a:cubicBezTo>
                <a:cubicBezTo>
                  <a:pt x="3" y="19"/>
                  <a:pt x="5" y="18"/>
                  <a:pt x="6" y="18"/>
                </a:cubicBezTo>
                <a:cubicBezTo>
                  <a:pt x="9" y="18"/>
                  <a:pt x="11" y="21"/>
                  <a:pt x="14" y="27"/>
                </a:cubicBezTo>
                <a:cubicBezTo>
                  <a:pt x="14" y="28"/>
                  <a:pt x="14" y="28"/>
                  <a:pt x="14" y="28"/>
                </a:cubicBezTo>
                <a:cubicBezTo>
                  <a:pt x="17" y="19"/>
                  <a:pt x="27" y="6"/>
                  <a:pt x="38" y="1"/>
                </a:cubicBezTo>
                <a:cubicBezTo>
                  <a:pt x="39" y="0"/>
                  <a:pt x="39" y="1"/>
                  <a:pt x="40" y="1"/>
                </a:cubicBezTo>
                <a:cubicBezTo>
                  <a:pt x="41" y="3"/>
                  <a:pt x="41" y="3"/>
                  <a:pt x="41" y="3"/>
                </a:cubicBezTo>
                <a:cubicBezTo>
                  <a:pt x="41" y="4"/>
                  <a:pt x="41" y="4"/>
                  <a:pt x="40" y="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430"/>
          <p:cNvSpPr>
            <a:spLocks noEditPoints="1"/>
          </p:cNvSpPr>
          <p:nvPr/>
        </p:nvSpPr>
        <p:spPr bwMode="auto">
          <a:xfrm>
            <a:off x="951834" y="2362413"/>
            <a:ext cx="67518" cy="67517"/>
          </a:xfrm>
          <a:custGeom>
            <a:avLst/>
            <a:gdLst>
              <a:gd name="T0" fmla="*/ 33 w 35"/>
              <a:gd name="T1" fmla="*/ 34 h 34"/>
              <a:gd name="T2" fmla="*/ 2 w 35"/>
              <a:gd name="T3" fmla="*/ 34 h 34"/>
              <a:gd name="T4" fmla="*/ 0 w 35"/>
              <a:gd name="T5" fmla="*/ 32 h 34"/>
              <a:gd name="T6" fmla="*/ 0 w 35"/>
              <a:gd name="T7" fmla="*/ 2 h 34"/>
              <a:gd name="T8" fmla="*/ 2 w 35"/>
              <a:gd name="T9" fmla="*/ 0 h 34"/>
              <a:gd name="T10" fmla="*/ 33 w 35"/>
              <a:gd name="T11" fmla="*/ 0 h 34"/>
              <a:gd name="T12" fmla="*/ 35 w 35"/>
              <a:gd name="T13" fmla="*/ 2 h 34"/>
              <a:gd name="T14" fmla="*/ 35 w 35"/>
              <a:gd name="T15" fmla="*/ 32 h 34"/>
              <a:gd name="T16" fmla="*/ 33 w 35"/>
              <a:gd name="T17" fmla="*/ 34 h 34"/>
              <a:gd name="T18" fmla="*/ 4 w 35"/>
              <a:gd name="T19" fmla="*/ 31 h 34"/>
              <a:gd name="T20" fmla="*/ 31 w 35"/>
              <a:gd name="T21" fmla="*/ 31 h 34"/>
              <a:gd name="T22" fmla="*/ 31 w 35"/>
              <a:gd name="T23" fmla="*/ 4 h 34"/>
              <a:gd name="T24" fmla="*/ 4 w 35"/>
              <a:gd name="T25" fmla="*/ 4 h 34"/>
              <a:gd name="T26" fmla="*/ 4 w 35"/>
              <a:gd name="T27" fmla="*/ 3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4">
                <a:moveTo>
                  <a:pt x="33" y="34"/>
                </a:moveTo>
                <a:cubicBezTo>
                  <a:pt x="2" y="34"/>
                  <a:pt x="2" y="34"/>
                  <a:pt x="2" y="34"/>
                </a:cubicBezTo>
                <a:cubicBezTo>
                  <a:pt x="1" y="34"/>
                  <a:pt x="0" y="33"/>
                  <a:pt x="0" y="3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1"/>
                  <a:pt x="35" y="2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3"/>
                  <a:pt x="34" y="34"/>
                  <a:pt x="33" y="34"/>
                </a:cubicBezTo>
                <a:close/>
                <a:moveTo>
                  <a:pt x="4" y="31"/>
                </a:moveTo>
                <a:cubicBezTo>
                  <a:pt x="31" y="31"/>
                  <a:pt x="31" y="31"/>
                  <a:pt x="31" y="31"/>
                </a:cubicBezTo>
                <a:cubicBezTo>
                  <a:pt x="31" y="4"/>
                  <a:pt x="31" y="4"/>
                  <a:pt x="31" y="4"/>
                </a:cubicBezTo>
                <a:cubicBezTo>
                  <a:pt x="4" y="4"/>
                  <a:pt x="4" y="4"/>
                  <a:pt x="4" y="4"/>
                </a:cubicBezTo>
                <a:lnTo>
                  <a:pt x="4" y="3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431"/>
          <p:cNvSpPr>
            <a:spLocks/>
          </p:cNvSpPr>
          <p:nvPr/>
        </p:nvSpPr>
        <p:spPr bwMode="auto">
          <a:xfrm>
            <a:off x="1046359" y="2481694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432"/>
          <p:cNvSpPr>
            <a:spLocks/>
          </p:cNvSpPr>
          <p:nvPr/>
        </p:nvSpPr>
        <p:spPr bwMode="auto">
          <a:xfrm>
            <a:off x="1046359" y="2519953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433"/>
          <p:cNvSpPr>
            <a:spLocks noEditPoints="1"/>
          </p:cNvSpPr>
          <p:nvPr/>
        </p:nvSpPr>
        <p:spPr bwMode="auto">
          <a:xfrm>
            <a:off x="951834" y="2474941"/>
            <a:ext cx="67518" cy="65267"/>
          </a:xfrm>
          <a:custGeom>
            <a:avLst/>
            <a:gdLst>
              <a:gd name="T0" fmla="*/ 33 w 35"/>
              <a:gd name="T1" fmla="*/ 34 h 34"/>
              <a:gd name="T2" fmla="*/ 2 w 35"/>
              <a:gd name="T3" fmla="*/ 34 h 34"/>
              <a:gd name="T4" fmla="*/ 0 w 35"/>
              <a:gd name="T5" fmla="*/ 32 h 34"/>
              <a:gd name="T6" fmla="*/ 0 w 35"/>
              <a:gd name="T7" fmla="*/ 2 h 34"/>
              <a:gd name="T8" fmla="*/ 2 w 35"/>
              <a:gd name="T9" fmla="*/ 0 h 34"/>
              <a:gd name="T10" fmla="*/ 33 w 35"/>
              <a:gd name="T11" fmla="*/ 0 h 34"/>
              <a:gd name="T12" fmla="*/ 35 w 35"/>
              <a:gd name="T13" fmla="*/ 2 h 34"/>
              <a:gd name="T14" fmla="*/ 35 w 35"/>
              <a:gd name="T15" fmla="*/ 32 h 34"/>
              <a:gd name="T16" fmla="*/ 33 w 35"/>
              <a:gd name="T17" fmla="*/ 34 h 34"/>
              <a:gd name="T18" fmla="*/ 4 w 35"/>
              <a:gd name="T19" fmla="*/ 31 h 34"/>
              <a:gd name="T20" fmla="*/ 31 w 35"/>
              <a:gd name="T21" fmla="*/ 31 h 34"/>
              <a:gd name="T22" fmla="*/ 31 w 35"/>
              <a:gd name="T23" fmla="*/ 4 h 34"/>
              <a:gd name="T24" fmla="*/ 4 w 35"/>
              <a:gd name="T25" fmla="*/ 4 h 34"/>
              <a:gd name="T26" fmla="*/ 4 w 35"/>
              <a:gd name="T27" fmla="*/ 3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4">
                <a:moveTo>
                  <a:pt x="33" y="34"/>
                </a:moveTo>
                <a:cubicBezTo>
                  <a:pt x="2" y="34"/>
                  <a:pt x="2" y="34"/>
                  <a:pt x="2" y="34"/>
                </a:cubicBezTo>
                <a:cubicBezTo>
                  <a:pt x="1" y="34"/>
                  <a:pt x="0" y="33"/>
                  <a:pt x="0" y="3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1"/>
                  <a:pt x="35" y="2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3"/>
                  <a:pt x="34" y="34"/>
                  <a:pt x="33" y="34"/>
                </a:cubicBezTo>
                <a:close/>
                <a:moveTo>
                  <a:pt x="4" y="31"/>
                </a:moveTo>
                <a:cubicBezTo>
                  <a:pt x="31" y="31"/>
                  <a:pt x="31" y="31"/>
                  <a:pt x="31" y="31"/>
                </a:cubicBezTo>
                <a:cubicBezTo>
                  <a:pt x="31" y="4"/>
                  <a:pt x="31" y="4"/>
                  <a:pt x="31" y="4"/>
                </a:cubicBezTo>
                <a:cubicBezTo>
                  <a:pt x="4" y="4"/>
                  <a:pt x="4" y="4"/>
                  <a:pt x="4" y="4"/>
                </a:cubicBezTo>
                <a:lnTo>
                  <a:pt x="4" y="3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808195" y="2970946"/>
            <a:ext cx="488662" cy="513554"/>
            <a:chOff x="853915" y="2963326"/>
            <a:chExt cx="488662" cy="513554"/>
          </a:xfrm>
        </p:grpSpPr>
        <p:sp>
          <p:nvSpPr>
            <p:cNvPr id="79" name="Freeform 129"/>
            <p:cNvSpPr>
              <a:spLocks/>
            </p:cNvSpPr>
            <p:nvPr/>
          </p:nvSpPr>
          <p:spPr bwMode="auto">
            <a:xfrm>
              <a:off x="1054889" y="3344532"/>
              <a:ext cx="129899" cy="132348"/>
            </a:xfrm>
            <a:custGeom>
              <a:avLst/>
              <a:gdLst>
                <a:gd name="T0" fmla="*/ 409 w 450"/>
                <a:gd name="T1" fmla="*/ 259 h 450"/>
                <a:gd name="T2" fmla="*/ 150 w 450"/>
                <a:gd name="T3" fmla="*/ 0 h 450"/>
                <a:gd name="T4" fmla="*/ 0 w 450"/>
                <a:gd name="T5" fmla="*/ 150 h 450"/>
                <a:gd name="T6" fmla="*/ 259 w 450"/>
                <a:gd name="T7" fmla="*/ 409 h 450"/>
                <a:gd name="T8" fmla="*/ 409 w 450"/>
                <a:gd name="T9" fmla="*/ 409 h 450"/>
                <a:gd name="T10" fmla="*/ 409 w 450"/>
                <a:gd name="T11" fmla="*/ 259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0" h="450">
                  <a:moveTo>
                    <a:pt x="409" y="259"/>
                  </a:moveTo>
                  <a:lnTo>
                    <a:pt x="150" y="0"/>
                  </a:lnTo>
                  <a:cubicBezTo>
                    <a:pt x="111" y="60"/>
                    <a:pt x="60" y="111"/>
                    <a:pt x="0" y="150"/>
                  </a:cubicBezTo>
                  <a:lnTo>
                    <a:pt x="259" y="409"/>
                  </a:lnTo>
                  <a:cubicBezTo>
                    <a:pt x="300" y="450"/>
                    <a:pt x="367" y="450"/>
                    <a:pt x="409" y="409"/>
                  </a:cubicBezTo>
                  <a:cubicBezTo>
                    <a:pt x="450" y="368"/>
                    <a:pt x="450" y="301"/>
                    <a:pt x="409" y="259"/>
                  </a:cubicBezTo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30"/>
            <p:cNvSpPr>
              <a:spLocks noEditPoints="1"/>
            </p:cNvSpPr>
            <p:nvPr/>
          </p:nvSpPr>
          <p:spPr bwMode="auto">
            <a:xfrm>
              <a:off x="853915" y="3143559"/>
              <a:ext cx="245090" cy="247541"/>
            </a:xfrm>
            <a:custGeom>
              <a:avLst/>
              <a:gdLst>
                <a:gd name="T0" fmla="*/ 423 w 846"/>
                <a:gd name="T1" fmla="*/ 741 h 847"/>
                <a:gd name="T2" fmla="*/ 106 w 846"/>
                <a:gd name="T3" fmla="*/ 423 h 847"/>
                <a:gd name="T4" fmla="*/ 423 w 846"/>
                <a:gd name="T5" fmla="*/ 106 h 847"/>
                <a:gd name="T6" fmla="*/ 741 w 846"/>
                <a:gd name="T7" fmla="*/ 423 h 847"/>
                <a:gd name="T8" fmla="*/ 423 w 846"/>
                <a:gd name="T9" fmla="*/ 741 h 847"/>
                <a:gd name="T10" fmla="*/ 846 w 846"/>
                <a:gd name="T11" fmla="*/ 423 h 847"/>
                <a:gd name="T12" fmla="*/ 423 w 846"/>
                <a:gd name="T13" fmla="*/ 0 h 847"/>
                <a:gd name="T14" fmla="*/ 0 w 846"/>
                <a:gd name="T15" fmla="*/ 423 h 847"/>
                <a:gd name="T16" fmla="*/ 423 w 846"/>
                <a:gd name="T17" fmla="*/ 847 h 847"/>
                <a:gd name="T18" fmla="*/ 846 w 846"/>
                <a:gd name="T19" fmla="*/ 423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6" h="847">
                  <a:moveTo>
                    <a:pt x="423" y="741"/>
                  </a:moveTo>
                  <a:cubicBezTo>
                    <a:pt x="248" y="741"/>
                    <a:pt x="106" y="598"/>
                    <a:pt x="106" y="423"/>
                  </a:cubicBezTo>
                  <a:cubicBezTo>
                    <a:pt x="106" y="248"/>
                    <a:pt x="248" y="106"/>
                    <a:pt x="423" y="106"/>
                  </a:cubicBezTo>
                  <a:cubicBezTo>
                    <a:pt x="598" y="106"/>
                    <a:pt x="741" y="248"/>
                    <a:pt x="741" y="423"/>
                  </a:cubicBezTo>
                  <a:cubicBezTo>
                    <a:pt x="741" y="598"/>
                    <a:pt x="598" y="741"/>
                    <a:pt x="423" y="741"/>
                  </a:cubicBezTo>
                  <a:moveTo>
                    <a:pt x="846" y="423"/>
                  </a:moveTo>
                  <a:cubicBezTo>
                    <a:pt x="846" y="190"/>
                    <a:pt x="657" y="0"/>
                    <a:pt x="423" y="0"/>
                  </a:cubicBezTo>
                  <a:cubicBezTo>
                    <a:pt x="189" y="0"/>
                    <a:pt x="0" y="190"/>
                    <a:pt x="0" y="423"/>
                  </a:cubicBezTo>
                  <a:cubicBezTo>
                    <a:pt x="0" y="657"/>
                    <a:pt x="189" y="847"/>
                    <a:pt x="423" y="847"/>
                  </a:cubicBezTo>
                  <a:cubicBezTo>
                    <a:pt x="657" y="847"/>
                    <a:pt x="846" y="657"/>
                    <a:pt x="846" y="423"/>
                  </a:cubicBezTo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>
            <a:xfrm>
              <a:off x="1017635" y="2963326"/>
              <a:ext cx="324942" cy="358818"/>
            </a:xfrm>
            <a:custGeom>
              <a:avLst/>
              <a:gdLst/>
              <a:ahLst/>
              <a:cxnLst/>
              <a:rect l="l" t="t" r="r" b="b"/>
              <a:pathLst>
                <a:path w="541159" h="532085">
                  <a:moveTo>
                    <a:pt x="203352" y="255126"/>
                  </a:moveTo>
                  <a:lnTo>
                    <a:pt x="203352" y="288810"/>
                  </a:lnTo>
                  <a:cubicBezTo>
                    <a:pt x="172163" y="353684"/>
                    <a:pt x="223313" y="455984"/>
                    <a:pt x="240779" y="479687"/>
                  </a:cubicBezTo>
                  <a:lnTo>
                    <a:pt x="242215" y="466285"/>
                  </a:lnTo>
                  <a:cubicBezTo>
                    <a:pt x="242601" y="463691"/>
                    <a:pt x="241608" y="461687"/>
                    <a:pt x="240498" y="459726"/>
                  </a:cubicBezTo>
                  <a:lnTo>
                    <a:pt x="249230" y="376140"/>
                  </a:lnTo>
                  <a:lnTo>
                    <a:pt x="236755" y="359921"/>
                  </a:lnTo>
                  <a:cubicBezTo>
                    <a:pt x="230725" y="354307"/>
                    <a:pt x="230933" y="344951"/>
                    <a:pt x="235507" y="341208"/>
                  </a:cubicBezTo>
                  <a:lnTo>
                    <a:pt x="260458" y="319999"/>
                  </a:lnTo>
                  <a:cubicBezTo>
                    <a:pt x="263852" y="318433"/>
                    <a:pt x="267245" y="317113"/>
                    <a:pt x="270580" y="318065"/>
                  </a:cubicBezTo>
                  <a:cubicBezTo>
                    <a:pt x="273914" y="317113"/>
                    <a:pt x="277307" y="318433"/>
                    <a:pt x="280701" y="319999"/>
                  </a:cubicBezTo>
                  <a:lnTo>
                    <a:pt x="305652" y="341208"/>
                  </a:lnTo>
                  <a:cubicBezTo>
                    <a:pt x="310226" y="344951"/>
                    <a:pt x="310434" y="354307"/>
                    <a:pt x="304404" y="359921"/>
                  </a:cubicBezTo>
                  <a:lnTo>
                    <a:pt x="291929" y="376140"/>
                  </a:lnTo>
                  <a:lnTo>
                    <a:pt x="300662" y="459726"/>
                  </a:lnTo>
                  <a:lnTo>
                    <a:pt x="298944" y="466285"/>
                  </a:lnTo>
                  <a:lnTo>
                    <a:pt x="300380" y="479687"/>
                  </a:lnTo>
                  <a:cubicBezTo>
                    <a:pt x="308569" y="468574"/>
                    <a:pt x="324162" y="440185"/>
                    <a:pt x="334734" y="406323"/>
                  </a:cubicBezTo>
                  <a:lnTo>
                    <a:pt x="339901" y="385417"/>
                  </a:lnTo>
                  <a:cubicBezTo>
                    <a:pt x="349337" y="352739"/>
                    <a:pt x="351452" y="317192"/>
                    <a:pt x="337807" y="288810"/>
                  </a:cubicBezTo>
                  <a:lnTo>
                    <a:pt x="337807" y="255126"/>
                  </a:lnTo>
                  <a:lnTo>
                    <a:pt x="340583" y="256836"/>
                  </a:lnTo>
                  <a:lnTo>
                    <a:pt x="340583" y="255126"/>
                  </a:lnTo>
                  <a:cubicBezTo>
                    <a:pt x="358434" y="265505"/>
                    <a:pt x="373799" y="272153"/>
                    <a:pt x="384795" y="289978"/>
                  </a:cubicBezTo>
                  <a:lnTo>
                    <a:pt x="385107" y="290058"/>
                  </a:lnTo>
                  <a:lnTo>
                    <a:pt x="396100" y="290058"/>
                  </a:lnTo>
                  <a:lnTo>
                    <a:pt x="396564" y="292985"/>
                  </a:lnTo>
                  <a:cubicBezTo>
                    <a:pt x="428640" y="300132"/>
                    <a:pt x="462556" y="308710"/>
                    <a:pt x="493752" y="329980"/>
                  </a:cubicBezTo>
                  <a:cubicBezTo>
                    <a:pt x="515792" y="363664"/>
                    <a:pt x="539080" y="452241"/>
                    <a:pt x="541159" y="532085"/>
                  </a:cubicBezTo>
                  <a:lnTo>
                    <a:pt x="290681" y="532085"/>
                  </a:lnTo>
                  <a:lnTo>
                    <a:pt x="250478" y="532085"/>
                  </a:lnTo>
                  <a:lnTo>
                    <a:pt x="0" y="532085"/>
                  </a:lnTo>
                  <a:cubicBezTo>
                    <a:pt x="2079" y="452241"/>
                    <a:pt x="25367" y="363664"/>
                    <a:pt x="47407" y="329980"/>
                  </a:cubicBezTo>
                  <a:cubicBezTo>
                    <a:pt x="84002" y="305029"/>
                    <a:pt x="124340" y="297543"/>
                    <a:pt x="160935" y="288810"/>
                  </a:cubicBezTo>
                  <a:cubicBezTo>
                    <a:pt x="175074" y="271345"/>
                    <a:pt x="182975" y="266354"/>
                    <a:pt x="203352" y="255126"/>
                  </a:cubicBezTo>
                  <a:close/>
                  <a:moveTo>
                    <a:pt x="275710" y="0"/>
                  </a:moveTo>
                  <a:cubicBezTo>
                    <a:pt x="385495" y="2703"/>
                    <a:pt x="421051" y="135152"/>
                    <a:pt x="365534" y="189629"/>
                  </a:cubicBezTo>
                  <a:cubicBezTo>
                    <a:pt x="368653" y="160311"/>
                    <a:pt x="368653" y="135984"/>
                    <a:pt x="352435" y="112904"/>
                  </a:cubicBezTo>
                  <a:cubicBezTo>
                    <a:pt x="314384" y="137440"/>
                    <a:pt x="280700" y="124548"/>
                    <a:pt x="236412" y="109785"/>
                  </a:cubicBezTo>
                  <a:cubicBezTo>
                    <a:pt x="198361" y="97517"/>
                    <a:pt x="170291" y="122677"/>
                    <a:pt x="180272" y="192748"/>
                  </a:cubicBezTo>
                  <a:cubicBezTo>
                    <a:pt x="114151" y="110409"/>
                    <a:pt x="179024" y="1248"/>
                    <a:pt x="275710" y="0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4" name="Rounded Rectangle 11"/>
          <p:cNvSpPr/>
          <p:nvPr/>
        </p:nvSpPr>
        <p:spPr>
          <a:xfrm>
            <a:off x="904571" y="3943186"/>
            <a:ext cx="245681" cy="314473"/>
          </a:xfrm>
          <a:custGeom>
            <a:avLst/>
            <a:gdLst/>
            <a:ahLst/>
            <a:cxnLst/>
            <a:rect l="l" t="t" r="r" b="b"/>
            <a:pathLst>
              <a:path w="3810000" h="4876801">
                <a:moveTo>
                  <a:pt x="368313" y="0"/>
                </a:moveTo>
                <a:lnTo>
                  <a:pt x="3441687" y="0"/>
                </a:lnTo>
                <a:cubicBezTo>
                  <a:pt x="3645101" y="0"/>
                  <a:pt x="3810000" y="164899"/>
                  <a:pt x="3810000" y="368313"/>
                </a:cubicBezTo>
                <a:lnTo>
                  <a:pt x="3810000" y="436756"/>
                </a:lnTo>
                <a:lnTo>
                  <a:pt x="3543300" y="795776"/>
                </a:lnTo>
                <a:lnTo>
                  <a:pt x="3543300" y="254000"/>
                </a:lnTo>
                <a:lnTo>
                  <a:pt x="266700" y="254000"/>
                </a:lnTo>
                <a:lnTo>
                  <a:pt x="266700" y="4622800"/>
                </a:lnTo>
                <a:lnTo>
                  <a:pt x="3543300" y="4622800"/>
                </a:lnTo>
                <a:lnTo>
                  <a:pt x="3543300" y="3007207"/>
                </a:lnTo>
                <a:lnTo>
                  <a:pt x="3810000" y="2635576"/>
                </a:lnTo>
                <a:lnTo>
                  <a:pt x="3810000" y="4508488"/>
                </a:lnTo>
                <a:cubicBezTo>
                  <a:pt x="3810000" y="4711902"/>
                  <a:pt x="3645101" y="4876801"/>
                  <a:pt x="3441687" y="4876801"/>
                </a:cubicBezTo>
                <a:lnTo>
                  <a:pt x="368313" y="4876801"/>
                </a:lnTo>
                <a:cubicBezTo>
                  <a:pt x="164899" y="4876801"/>
                  <a:pt x="0" y="4711902"/>
                  <a:pt x="0" y="4508488"/>
                </a:cubicBezTo>
                <a:lnTo>
                  <a:pt x="0" y="368313"/>
                </a:lnTo>
                <a:cubicBezTo>
                  <a:pt x="0" y="164899"/>
                  <a:pt x="164899" y="0"/>
                  <a:pt x="368313" y="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5" name="Rounded Rectangle 84"/>
          <p:cNvSpPr/>
          <p:nvPr/>
        </p:nvSpPr>
        <p:spPr>
          <a:xfrm>
            <a:off x="949613" y="3982966"/>
            <a:ext cx="15396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6" name="Rounded Rectangle 85"/>
          <p:cNvSpPr/>
          <p:nvPr/>
        </p:nvSpPr>
        <p:spPr>
          <a:xfrm>
            <a:off x="949613" y="4011425"/>
            <a:ext cx="15396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7" name="Rounded Rectangle 86"/>
          <p:cNvSpPr/>
          <p:nvPr/>
        </p:nvSpPr>
        <p:spPr>
          <a:xfrm>
            <a:off x="949613" y="4040088"/>
            <a:ext cx="15396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8" name="Rounded Rectangle 87"/>
          <p:cNvSpPr/>
          <p:nvPr/>
        </p:nvSpPr>
        <p:spPr>
          <a:xfrm>
            <a:off x="949627" y="4068546"/>
            <a:ext cx="136763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9" name="Rounded Rectangle 88"/>
          <p:cNvSpPr/>
          <p:nvPr/>
        </p:nvSpPr>
        <p:spPr>
          <a:xfrm>
            <a:off x="949613" y="4097556"/>
            <a:ext cx="120384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0" name="Rounded Rectangle 89"/>
          <p:cNvSpPr/>
          <p:nvPr/>
        </p:nvSpPr>
        <p:spPr>
          <a:xfrm>
            <a:off x="949613" y="4126014"/>
            <a:ext cx="103186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949613" y="4154677"/>
            <a:ext cx="81484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949613" y="4183135"/>
            <a:ext cx="7483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3" name="Rounded Rectangle 92"/>
          <p:cNvSpPr/>
          <p:nvPr/>
        </p:nvSpPr>
        <p:spPr>
          <a:xfrm>
            <a:off x="949613" y="4211635"/>
            <a:ext cx="7483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4" name="Freeform 93"/>
          <p:cNvSpPr/>
          <p:nvPr/>
        </p:nvSpPr>
        <p:spPr>
          <a:xfrm>
            <a:off x="1029943" y="3959428"/>
            <a:ext cx="183092" cy="263362"/>
          </a:xfrm>
          <a:custGeom>
            <a:avLst/>
            <a:gdLst/>
            <a:ahLst/>
            <a:cxnLst/>
            <a:rect l="l" t="t" r="r" b="b"/>
            <a:pathLst>
              <a:path w="2839372" h="4084177">
                <a:moveTo>
                  <a:pt x="2176020" y="780764"/>
                </a:moveTo>
                <a:cubicBezTo>
                  <a:pt x="2143510" y="786996"/>
                  <a:pt x="2113378" y="805631"/>
                  <a:pt x="2093330" y="835190"/>
                </a:cubicBezTo>
                <a:lnTo>
                  <a:pt x="1227562" y="2111655"/>
                </a:lnTo>
                <a:cubicBezTo>
                  <a:pt x="1187465" y="2170773"/>
                  <a:pt x="1202884" y="2251204"/>
                  <a:pt x="1262003" y="2291301"/>
                </a:cubicBezTo>
                <a:cubicBezTo>
                  <a:pt x="1262003" y="2291301"/>
                  <a:pt x="1262002" y="2291301"/>
                  <a:pt x="1262002" y="2291301"/>
                </a:cubicBezTo>
                <a:lnTo>
                  <a:pt x="1262003" y="2291302"/>
                </a:lnTo>
                <a:lnTo>
                  <a:pt x="1262003" y="2291301"/>
                </a:lnTo>
                <a:cubicBezTo>
                  <a:pt x="1321121" y="2331399"/>
                  <a:pt x="1401552" y="2315979"/>
                  <a:pt x="1441649" y="2256860"/>
                </a:cubicBezTo>
                <a:lnTo>
                  <a:pt x="2307417" y="980397"/>
                </a:lnTo>
                <a:cubicBezTo>
                  <a:pt x="2347514" y="921278"/>
                  <a:pt x="2332095" y="840848"/>
                  <a:pt x="2272976" y="800750"/>
                </a:cubicBezTo>
                <a:lnTo>
                  <a:pt x="2272977" y="800749"/>
                </a:lnTo>
                <a:cubicBezTo>
                  <a:pt x="2243417" y="780701"/>
                  <a:pt x="2208530" y="774531"/>
                  <a:pt x="2176020" y="780764"/>
                </a:cubicBezTo>
                <a:close/>
                <a:moveTo>
                  <a:pt x="2567715" y="107"/>
                </a:moveTo>
                <a:cubicBezTo>
                  <a:pt x="2732722" y="4736"/>
                  <a:pt x="2900964" y="157791"/>
                  <a:pt x="2817090" y="389632"/>
                </a:cubicBezTo>
                <a:lnTo>
                  <a:pt x="2678545" y="583595"/>
                </a:lnTo>
                <a:cubicBezTo>
                  <a:pt x="2691919" y="669897"/>
                  <a:pt x="2676716" y="741913"/>
                  <a:pt x="2618652" y="842502"/>
                </a:cubicBezTo>
                <a:lnTo>
                  <a:pt x="646545" y="3770141"/>
                </a:lnTo>
                <a:lnTo>
                  <a:pt x="0" y="4084177"/>
                </a:lnTo>
                <a:lnTo>
                  <a:pt x="46181" y="3382791"/>
                </a:lnTo>
                <a:lnTo>
                  <a:pt x="2041813" y="421814"/>
                </a:lnTo>
                <a:cubicBezTo>
                  <a:pt x="2098337" y="350136"/>
                  <a:pt x="2159626" y="297509"/>
                  <a:pt x="2235200" y="297268"/>
                </a:cubicBezTo>
                <a:lnTo>
                  <a:pt x="2368694" y="92337"/>
                </a:lnTo>
                <a:cubicBezTo>
                  <a:pt x="2418379" y="26567"/>
                  <a:pt x="2492713" y="-1996"/>
                  <a:pt x="2567715" y="10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>
              <a:latin typeface="+mn-lt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904571" y="1091872"/>
            <a:ext cx="7003288" cy="632769"/>
            <a:chOff x="302388" y="2572977"/>
            <a:chExt cx="7003288" cy="632769"/>
          </a:xfrm>
        </p:grpSpPr>
        <p:grpSp>
          <p:nvGrpSpPr>
            <p:cNvPr id="61" name="Group 60"/>
            <p:cNvGrpSpPr/>
            <p:nvPr/>
          </p:nvGrpSpPr>
          <p:grpSpPr>
            <a:xfrm>
              <a:off x="302388" y="2572977"/>
              <a:ext cx="7003288" cy="632769"/>
              <a:chOff x="302388" y="2837113"/>
              <a:chExt cx="7003288" cy="632769"/>
            </a:xfrm>
          </p:grpSpPr>
          <p:sp>
            <p:nvSpPr>
              <p:cNvPr id="83" name="Rectangle 36"/>
              <p:cNvSpPr>
                <a:spLocks noChangeArrowheads="1"/>
              </p:cNvSpPr>
              <p:nvPr/>
            </p:nvSpPr>
            <p:spPr bwMode="gray">
              <a:xfrm flipH="1">
                <a:off x="302388" y="2837113"/>
                <a:ext cx="331643" cy="632769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Rectangle 39"/>
              <p:cNvSpPr txBox="1">
                <a:spLocks noChangeArrowheads="1"/>
              </p:cNvSpPr>
              <p:nvPr/>
            </p:nvSpPr>
            <p:spPr bwMode="gray">
              <a:xfrm>
                <a:off x="1913445" y="3037053"/>
                <a:ext cx="5065752" cy="369332"/>
              </a:xfrm>
              <a:prstGeom prst="rect">
                <a:avLst/>
              </a:prstGeom>
              <a:noFill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lIns="0" tIns="0" rIns="0" bIns="0" rtlCol="0" anchor="ctr">
                <a:spAutoFit/>
              </a:bodyPr>
              <a:lstStyle>
                <a:lvl1pPr marL="230188" indent="-230188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Wingdings" pitchFamily="2" charset="2"/>
                  <a:buChar char="§"/>
                  <a:defRPr sz="24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1pPr>
                <a:lvl2pPr marL="514350" indent="-230188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–"/>
                  <a:defRPr sz="20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2pPr>
                <a:lvl3pPr marL="742950" indent="-171450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3pPr>
                <a:lvl4pPr marL="971550" indent="-228600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4pPr>
                <a:lvl5pPr marL="1143000" indent="-171450" algn="l" defTabSz="914400" rtl="0" eaLnBrk="1" latinLnBrk="0" hangingPunct="1">
                  <a:spcBef>
                    <a:spcPct val="20000"/>
                  </a:spcBef>
                  <a:buClr>
                    <a:schemeClr val="accent1"/>
                  </a:buClr>
                  <a:buFont typeface="Arial" pitchFamily="34" charset="0"/>
                  <a:buChar char="»"/>
                  <a:defRPr sz="1800" kern="1200">
                    <a:solidFill>
                      <a:schemeClr val="tx1"/>
                    </a:solidFill>
                    <a:latin typeface="Franklin Gothic Book" pitchFamily="34" charset="0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Aft>
                    <a:spcPct val="0"/>
                  </a:spcAft>
                  <a:buClr>
                    <a:srgbClr val="899BAD"/>
                  </a:buClr>
                </a:pPr>
                <a:r>
                  <a:rPr lang="en-US" smtClean="0">
                    <a:solidFill>
                      <a:srgbClr val="000000"/>
                    </a:solidFill>
                  </a:rPr>
                  <a:t>…</a:t>
                </a:r>
              </a:p>
            </p:txBody>
          </p:sp>
          <p:sp>
            <p:nvSpPr>
              <p:cNvPr id="96" name="WordArt 32"/>
              <p:cNvSpPr>
                <a:spLocks noChangeArrowheads="1" noChangeShapeType="1" noTextEdit="1"/>
              </p:cNvSpPr>
              <p:nvPr/>
            </p:nvSpPr>
            <p:spPr bwMode="gray">
              <a:xfrm>
                <a:off x="374669" y="2995210"/>
                <a:ext cx="187081" cy="319494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800" kern="10" dirty="0">
                    <a:solidFill>
                      <a:srgbClr val="FFFFFF"/>
                    </a:solidFill>
                    <a:latin typeface="Arial Black"/>
                  </a:rPr>
                  <a:t>3</a:t>
                </a:r>
              </a:p>
            </p:txBody>
          </p:sp>
          <p:sp>
            <p:nvSpPr>
              <p:cNvPr id="97" name="Rectangle 34"/>
              <p:cNvSpPr>
                <a:spLocks noChangeArrowheads="1"/>
              </p:cNvSpPr>
              <p:nvPr/>
            </p:nvSpPr>
            <p:spPr bwMode="gray">
              <a:xfrm>
                <a:off x="1398918" y="2837113"/>
                <a:ext cx="5906758" cy="632769"/>
              </a:xfrm>
              <a:prstGeom prst="rect">
                <a:avLst/>
              </a:prstGeom>
              <a:solidFill>
                <a:schemeClr val="bg1"/>
              </a:solidFill>
              <a:ln w="9525" cmpd="sng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marL="0" lvl="1"/>
                <a:r>
                  <a:rPr lang="en-US" sz="1600" dirty="0">
                    <a:solidFill>
                      <a:srgbClr val="000000"/>
                    </a:solidFill>
                  </a:rPr>
                  <a:t>Describe how Performance Based Planning facilitates alignment </a:t>
                </a:r>
              </a:p>
              <a:p>
                <a:pPr marL="0" lvl="1"/>
                <a:r>
                  <a:rPr lang="en-US" sz="1600" dirty="0">
                    <a:solidFill>
                      <a:srgbClr val="000000"/>
                    </a:solidFill>
                  </a:rPr>
                  <a:t>of project selections with the department’s strategic objectives</a:t>
                </a:r>
              </a:p>
            </p:txBody>
          </p:sp>
          <p:sp>
            <p:nvSpPr>
              <p:cNvPr id="98" name="Rectangle 35"/>
              <p:cNvSpPr>
                <a:spLocks noChangeArrowheads="1"/>
              </p:cNvSpPr>
              <p:nvPr/>
            </p:nvSpPr>
            <p:spPr bwMode="gray">
              <a:xfrm>
                <a:off x="694991" y="2837113"/>
                <a:ext cx="707019" cy="63276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81" name="Picture 80"/>
            <p:cNvPicPr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080" y="2615282"/>
              <a:ext cx="552174" cy="552174"/>
            </a:xfrm>
            <a:prstGeom prst="rect">
              <a:avLst/>
            </a:prstGeom>
          </p:spPr>
        </p:pic>
      </p:grpSp>
      <p:pic>
        <p:nvPicPr>
          <p:cNvPr id="658690" name="Picture 25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63" y="1757055"/>
            <a:ext cx="7232632" cy="2914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8691" name="Picture 25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8625" y="1757054"/>
            <a:ext cx="1149234" cy="2914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0416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69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5" name="Group 94"/>
          <p:cNvGrpSpPr/>
          <p:nvPr/>
        </p:nvGrpSpPr>
        <p:grpSpPr>
          <a:xfrm>
            <a:off x="0" y="986404"/>
            <a:ext cx="9144000" cy="486719"/>
            <a:chOff x="0" y="895350"/>
            <a:chExt cx="9144000" cy="486719"/>
          </a:xfrm>
        </p:grpSpPr>
        <p:sp>
          <p:nvSpPr>
            <p:cNvPr id="96" name="Rectangle 95"/>
            <p:cNvSpPr>
              <a:spLocks/>
            </p:cNvSpPr>
            <p:nvPr/>
          </p:nvSpPr>
          <p:spPr>
            <a:xfrm>
              <a:off x="0" y="895350"/>
              <a:ext cx="9144000" cy="486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97" name="Straight Connector 96"/>
            <p:cNvCxnSpPr>
              <a:cxnSpLocks/>
            </p:cNvCxnSpPr>
            <p:nvPr/>
          </p:nvCxnSpPr>
          <p:spPr>
            <a:xfrm>
              <a:off x="0" y="895350"/>
              <a:ext cx="9144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Key learning objectives </a:t>
            </a:r>
            <a:endParaRPr lang="en-US" dirty="0"/>
          </a:p>
        </p:txBody>
      </p:sp>
      <p:sp>
        <p:nvSpPr>
          <p:cNvPr id="23" name="dtable157951861619949 10 146 100 262 17"/>
          <p:cNvSpPr txBox="1">
            <a:spLocks noChangeArrowheads="1"/>
          </p:cNvSpPr>
          <p:nvPr/>
        </p:nvSpPr>
        <p:spPr bwMode="auto">
          <a:xfrm>
            <a:off x="363349" y="629058"/>
            <a:ext cx="614124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19" indent="-201553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79730" indent="-274846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44637" indent="-163241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375"/>
              </a:spcBef>
              <a:buClr>
                <a:srgbClr val="14385C"/>
              </a:buClr>
            </a:pPr>
            <a:r>
              <a:rPr lang="en-US" sz="1800" b="1" dirty="0">
                <a:solidFill>
                  <a:schemeClr val="accent2"/>
                </a:solidFill>
              </a:rPr>
              <a:t>Participants should now be able to:</a:t>
            </a:r>
          </a:p>
        </p:txBody>
      </p:sp>
      <p:sp>
        <p:nvSpPr>
          <p:cNvPr id="62" name="Freeform 418"/>
          <p:cNvSpPr>
            <a:spLocks/>
          </p:cNvSpPr>
          <p:nvPr/>
        </p:nvSpPr>
        <p:spPr bwMode="auto">
          <a:xfrm>
            <a:off x="1046359" y="2148609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19"/>
          <p:cNvSpPr>
            <a:spLocks/>
          </p:cNvSpPr>
          <p:nvPr/>
        </p:nvSpPr>
        <p:spPr bwMode="auto">
          <a:xfrm>
            <a:off x="1046359" y="2186868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420"/>
          <p:cNvSpPr>
            <a:spLocks/>
          </p:cNvSpPr>
          <p:nvPr/>
        </p:nvSpPr>
        <p:spPr bwMode="auto">
          <a:xfrm>
            <a:off x="958586" y="2119337"/>
            <a:ext cx="81021" cy="81021"/>
          </a:xfrm>
          <a:custGeom>
            <a:avLst/>
            <a:gdLst>
              <a:gd name="T0" fmla="*/ 40 w 41"/>
              <a:gd name="T1" fmla="*/ 4 h 41"/>
              <a:gd name="T2" fmla="*/ 20 w 41"/>
              <a:gd name="T3" fmla="*/ 36 h 41"/>
              <a:gd name="T4" fmla="*/ 19 w 41"/>
              <a:gd name="T5" fmla="*/ 37 h 41"/>
              <a:gd name="T6" fmla="*/ 17 w 41"/>
              <a:gd name="T7" fmla="*/ 38 h 41"/>
              <a:gd name="T8" fmla="*/ 13 w 41"/>
              <a:gd name="T9" fmla="*/ 41 h 41"/>
              <a:gd name="T10" fmla="*/ 12 w 41"/>
              <a:gd name="T11" fmla="*/ 41 h 41"/>
              <a:gd name="T12" fmla="*/ 12 w 41"/>
              <a:gd name="T13" fmla="*/ 41 h 41"/>
              <a:gd name="T14" fmla="*/ 11 w 41"/>
              <a:gd name="T15" fmla="*/ 41 h 41"/>
              <a:gd name="T16" fmla="*/ 10 w 41"/>
              <a:gd name="T17" fmla="*/ 36 h 41"/>
              <a:gd name="T18" fmla="*/ 9 w 41"/>
              <a:gd name="T19" fmla="*/ 34 h 41"/>
              <a:gd name="T20" fmla="*/ 4 w 41"/>
              <a:gd name="T21" fmla="*/ 25 h 41"/>
              <a:gd name="T22" fmla="*/ 1 w 41"/>
              <a:gd name="T23" fmla="*/ 22 h 41"/>
              <a:gd name="T24" fmla="*/ 0 w 41"/>
              <a:gd name="T25" fmla="*/ 21 h 41"/>
              <a:gd name="T26" fmla="*/ 0 w 41"/>
              <a:gd name="T27" fmla="*/ 20 h 41"/>
              <a:gd name="T28" fmla="*/ 6 w 41"/>
              <a:gd name="T29" fmla="*/ 17 h 41"/>
              <a:gd name="T30" fmla="*/ 14 w 41"/>
              <a:gd name="T31" fmla="*/ 26 h 41"/>
              <a:gd name="T32" fmla="*/ 14 w 41"/>
              <a:gd name="T33" fmla="*/ 27 h 41"/>
              <a:gd name="T34" fmla="*/ 38 w 41"/>
              <a:gd name="T35" fmla="*/ 0 h 41"/>
              <a:gd name="T36" fmla="*/ 40 w 41"/>
              <a:gd name="T37" fmla="*/ 0 h 41"/>
              <a:gd name="T38" fmla="*/ 41 w 41"/>
              <a:gd name="T39" fmla="*/ 2 h 41"/>
              <a:gd name="T40" fmla="*/ 40 w 41"/>
              <a:gd name="T41" fmla="*/ 4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" h="41">
                <a:moveTo>
                  <a:pt x="40" y="4"/>
                </a:moveTo>
                <a:cubicBezTo>
                  <a:pt x="28" y="12"/>
                  <a:pt x="20" y="27"/>
                  <a:pt x="20" y="36"/>
                </a:cubicBezTo>
                <a:cubicBezTo>
                  <a:pt x="20" y="36"/>
                  <a:pt x="19" y="37"/>
                  <a:pt x="19" y="37"/>
                </a:cubicBezTo>
                <a:cubicBezTo>
                  <a:pt x="17" y="38"/>
                  <a:pt x="17" y="38"/>
                  <a:pt x="17" y="38"/>
                </a:cubicBezTo>
                <a:cubicBezTo>
                  <a:pt x="15" y="39"/>
                  <a:pt x="14" y="40"/>
                  <a:pt x="13" y="41"/>
                </a:cubicBezTo>
                <a:cubicBezTo>
                  <a:pt x="13" y="41"/>
                  <a:pt x="13" y="41"/>
                  <a:pt x="12" y="41"/>
                </a:cubicBezTo>
                <a:cubicBezTo>
                  <a:pt x="12" y="41"/>
                  <a:pt x="12" y="41"/>
                  <a:pt x="12" y="41"/>
                </a:cubicBezTo>
                <a:cubicBezTo>
                  <a:pt x="12" y="41"/>
                  <a:pt x="11" y="41"/>
                  <a:pt x="11" y="41"/>
                </a:cubicBezTo>
                <a:cubicBezTo>
                  <a:pt x="11" y="40"/>
                  <a:pt x="11" y="38"/>
                  <a:pt x="10" y="36"/>
                </a:cubicBezTo>
                <a:cubicBezTo>
                  <a:pt x="9" y="34"/>
                  <a:pt x="9" y="34"/>
                  <a:pt x="9" y="34"/>
                </a:cubicBezTo>
                <a:cubicBezTo>
                  <a:pt x="7" y="30"/>
                  <a:pt x="6" y="27"/>
                  <a:pt x="4" y="25"/>
                </a:cubicBezTo>
                <a:cubicBezTo>
                  <a:pt x="3" y="23"/>
                  <a:pt x="2" y="22"/>
                  <a:pt x="1" y="22"/>
                </a:cubicBezTo>
                <a:cubicBezTo>
                  <a:pt x="1" y="22"/>
                  <a:pt x="0" y="22"/>
                  <a:pt x="0" y="21"/>
                </a:cubicBezTo>
                <a:cubicBezTo>
                  <a:pt x="0" y="21"/>
                  <a:pt x="0" y="21"/>
                  <a:pt x="0" y="20"/>
                </a:cubicBezTo>
                <a:cubicBezTo>
                  <a:pt x="3" y="18"/>
                  <a:pt x="5" y="17"/>
                  <a:pt x="6" y="17"/>
                </a:cubicBezTo>
                <a:cubicBezTo>
                  <a:pt x="9" y="17"/>
                  <a:pt x="11" y="20"/>
                  <a:pt x="14" y="26"/>
                </a:cubicBezTo>
                <a:cubicBezTo>
                  <a:pt x="14" y="27"/>
                  <a:pt x="14" y="27"/>
                  <a:pt x="14" y="27"/>
                </a:cubicBezTo>
                <a:cubicBezTo>
                  <a:pt x="17" y="18"/>
                  <a:pt x="27" y="5"/>
                  <a:pt x="38" y="0"/>
                </a:cubicBezTo>
                <a:cubicBezTo>
                  <a:pt x="39" y="0"/>
                  <a:pt x="39" y="0"/>
                  <a:pt x="40" y="0"/>
                </a:cubicBezTo>
                <a:cubicBezTo>
                  <a:pt x="41" y="2"/>
                  <a:pt x="41" y="2"/>
                  <a:pt x="41" y="2"/>
                </a:cubicBezTo>
                <a:cubicBezTo>
                  <a:pt x="41" y="3"/>
                  <a:pt x="41" y="3"/>
                  <a:pt x="40" y="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21"/>
          <p:cNvSpPr>
            <a:spLocks noEditPoints="1"/>
          </p:cNvSpPr>
          <p:nvPr/>
        </p:nvSpPr>
        <p:spPr bwMode="auto">
          <a:xfrm>
            <a:off x="951834" y="2144094"/>
            <a:ext cx="67518" cy="63016"/>
          </a:xfrm>
          <a:custGeom>
            <a:avLst/>
            <a:gdLst>
              <a:gd name="T0" fmla="*/ 33 w 35"/>
              <a:gd name="T1" fmla="*/ 33 h 33"/>
              <a:gd name="T2" fmla="*/ 2 w 35"/>
              <a:gd name="T3" fmla="*/ 33 h 33"/>
              <a:gd name="T4" fmla="*/ 0 w 35"/>
              <a:gd name="T5" fmla="*/ 31 h 33"/>
              <a:gd name="T6" fmla="*/ 0 w 35"/>
              <a:gd name="T7" fmla="*/ 1 h 33"/>
              <a:gd name="T8" fmla="*/ 2 w 35"/>
              <a:gd name="T9" fmla="*/ 0 h 33"/>
              <a:gd name="T10" fmla="*/ 33 w 35"/>
              <a:gd name="T11" fmla="*/ 0 h 33"/>
              <a:gd name="T12" fmla="*/ 35 w 35"/>
              <a:gd name="T13" fmla="*/ 1 h 33"/>
              <a:gd name="T14" fmla="*/ 35 w 35"/>
              <a:gd name="T15" fmla="*/ 31 h 33"/>
              <a:gd name="T16" fmla="*/ 33 w 35"/>
              <a:gd name="T17" fmla="*/ 33 h 33"/>
              <a:gd name="T18" fmla="*/ 4 w 35"/>
              <a:gd name="T19" fmla="*/ 30 h 33"/>
              <a:gd name="T20" fmla="*/ 31 w 35"/>
              <a:gd name="T21" fmla="*/ 30 h 33"/>
              <a:gd name="T22" fmla="*/ 31 w 35"/>
              <a:gd name="T23" fmla="*/ 3 h 33"/>
              <a:gd name="T24" fmla="*/ 4 w 35"/>
              <a:gd name="T25" fmla="*/ 3 h 33"/>
              <a:gd name="T26" fmla="*/ 4 w 35"/>
              <a:gd name="T27" fmla="*/ 3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3">
                <a:moveTo>
                  <a:pt x="33" y="33"/>
                </a:moveTo>
                <a:cubicBezTo>
                  <a:pt x="2" y="33"/>
                  <a:pt x="2" y="33"/>
                  <a:pt x="2" y="33"/>
                </a:cubicBezTo>
                <a:cubicBezTo>
                  <a:pt x="1" y="33"/>
                  <a:pt x="0" y="32"/>
                  <a:pt x="0" y="3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0"/>
                  <a:pt x="35" y="1"/>
                </a:cubicBezTo>
                <a:cubicBezTo>
                  <a:pt x="35" y="31"/>
                  <a:pt x="35" y="31"/>
                  <a:pt x="35" y="31"/>
                </a:cubicBezTo>
                <a:cubicBezTo>
                  <a:pt x="35" y="32"/>
                  <a:pt x="34" y="33"/>
                  <a:pt x="33" y="33"/>
                </a:cubicBezTo>
                <a:close/>
                <a:moveTo>
                  <a:pt x="4" y="30"/>
                </a:moveTo>
                <a:cubicBezTo>
                  <a:pt x="31" y="30"/>
                  <a:pt x="31" y="30"/>
                  <a:pt x="31" y="30"/>
                </a:cubicBezTo>
                <a:cubicBezTo>
                  <a:pt x="31" y="3"/>
                  <a:pt x="31" y="3"/>
                  <a:pt x="31" y="3"/>
                </a:cubicBezTo>
                <a:cubicBezTo>
                  <a:pt x="4" y="3"/>
                  <a:pt x="4" y="3"/>
                  <a:pt x="4" y="3"/>
                </a:cubicBezTo>
                <a:lnTo>
                  <a:pt x="4" y="3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422"/>
          <p:cNvSpPr>
            <a:spLocks noEditPoints="1"/>
          </p:cNvSpPr>
          <p:nvPr/>
        </p:nvSpPr>
        <p:spPr bwMode="auto">
          <a:xfrm>
            <a:off x="904571" y="2074325"/>
            <a:ext cx="342090" cy="528886"/>
          </a:xfrm>
          <a:custGeom>
            <a:avLst/>
            <a:gdLst>
              <a:gd name="T0" fmla="*/ 4 w 176"/>
              <a:gd name="T1" fmla="*/ 271 h 271"/>
              <a:gd name="T2" fmla="*/ 0 w 176"/>
              <a:gd name="T3" fmla="*/ 267 h 271"/>
              <a:gd name="T4" fmla="*/ 0 w 176"/>
              <a:gd name="T5" fmla="*/ 4 h 271"/>
              <a:gd name="T6" fmla="*/ 4 w 176"/>
              <a:gd name="T7" fmla="*/ 0 h 271"/>
              <a:gd name="T8" fmla="*/ 172 w 176"/>
              <a:gd name="T9" fmla="*/ 0 h 271"/>
              <a:gd name="T10" fmla="*/ 176 w 176"/>
              <a:gd name="T11" fmla="*/ 4 h 271"/>
              <a:gd name="T12" fmla="*/ 176 w 176"/>
              <a:gd name="T13" fmla="*/ 267 h 271"/>
              <a:gd name="T14" fmla="*/ 172 w 176"/>
              <a:gd name="T15" fmla="*/ 271 h 271"/>
              <a:gd name="T16" fmla="*/ 4 w 176"/>
              <a:gd name="T17" fmla="*/ 271 h 271"/>
              <a:gd name="T18" fmla="*/ 168 w 176"/>
              <a:gd name="T19" fmla="*/ 263 h 271"/>
              <a:gd name="T20" fmla="*/ 168 w 176"/>
              <a:gd name="T21" fmla="*/ 8 h 271"/>
              <a:gd name="T22" fmla="*/ 8 w 176"/>
              <a:gd name="T23" fmla="*/ 8 h 271"/>
              <a:gd name="T24" fmla="*/ 8 w 176"/>
              <a:gd name="T25" fmla="*/ 263 h 271"/>
              <a:gd name="T26" fmla="*/ 168 w 176"/>
              <a:gd name="T27" fmla="*/ 263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6" h="271">
                <a:moveTo>
                  <a:pt x="4" y="271"/>
                </a:moveTo>
                <a:cubicBezTo>
                  <a:pt x="1" y="271"/>
                  <a:pt x="0" y="269"/>
                  <a:pt x="0" y="267"/>
                </a:cubicBezTo>
                <a:cubicBezTo>
                  <a:pt x="0" y="4"/>
                  <a:pt x="0" y="4"/>
                  <a:pt x="0" y="4"/>
                </a:cubicBezTo>
                <a:cubicBezTo>
                  <a:pt x="0" y="2"/>
                  <a:pt x="1" y="0"/>
                  <a:pt x="4" y="0"/>
                </a:cubicBezTo>
                <a:cubicBezTo>
                  <a:pt x="172" y="0"/>
                  <a:pt x="172" y="0"/>
                  <a:pt x="172" y="0"/>
                </a:cubicBezTo>
                <a:cubicBezTo>
                  <a:pt x="175" y="0"/>
                  <a:pt x="176" y="2"/>
                  <a:pt x="176" y="4"/>
                </a:cubicBezTo>
                <a:cubicBezTo>
                  <a:pt x="176" y="267"/>
                  <a:pt x="176" y="267"/>
                  <a:pt x="176" y="267"/>
                </a:cubicBezTo>
                <a:cubicBezTo>
                  <a:pt x="176" y="269"/>
                  <a:pt x="175" y="271"/>
                  <a:pt x="172" y="271"/>
                </a:cubicBezTo>
                <a:lnTo>
                  <a:pt x="4" y="271"/>
                </a:lnTo>
                <a:close/>
                <a:moveTo>
                  <a:pt x="168" y="263"/>
                </a:moveTo>
                <a:cubicBezTo>
                  <a:pt x="168" y="8"/>
                  <a:pt x="168" y="8"/>
                  <a:pt x="168" y="8"/>
                </a:cubicBezTo>
                <a:cubicBezTo>
                  <a:pt x="8" y="8"/>
                  <a:pt x="8" y="8"/>
                  <a:pt x="8" y="8"/>
                </a:cubicBezTo>
                <a:cubicBezTo>
                  <a:pt x="8" y="263"/>
                  <a:pt x="8" y="263"/>
                  <a:pt x="8" y="263"/>
                </a:cubicBezTo>
                <a:lnTo>
                  <a:pt x="168" y="26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23"/>
          <p:cNvSpPr>
            <a:spLocks/>
          </p:cNvSpPr>
          <p:nvPr/>
        </p:nvSpPr>
        <p:spPr bwMode="auto">
          <a:xfrm>
            <a:off x="1046359" y="2258886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424"/>
          <p:cNvSpPr>
            <a:spLocks/>
          </p:cNvSpPr>
          <p:nvPr/>
        </p:nvSpPr>
        <p:spPr bwMode="auto">
          <a:xfrm>
            <a:off x="1046359" y="2299397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Freeform 425"/>
          <p:cNvSpPr>
            <a:spLocks/>
          </p:cNvSpPr>
          <p:nvPr/>
        </p:nvSpPr>
        <p:spPr bwMode="auto">
          <a:xfrm>
            <a:off x="958586" y="2229616"/>
            <a:ext cx="81021" cy="81021"/>
          </a:xfrm>
          <a:custGeom>
            <a:avLst/>
            <a:gdLst>
              <a:gd name="T0" fmla="*/ 40 w 41"/>
              <a:gd name="T1" fmla="*/ 4 h 41"/>
              <a:gd name="T2" fmla="*/ 20 w 41"/>
              <a:gd name="T3" fmla="*/ 36 h 41"/>
              <a:gd name="T4" fmla="*/ 19 w 41"/>
              <a:gd name="T5" fmla="*/ 37 h 41"/>
              <a:gd name="T6" fmla="*/ 17 w 41"/>
              <a:gd name="T7" fmla="*/ 38 h 41"/>
              <a:gd name="T8" fmla="*/ 13 w 41"/>
              <a:gd name="T9" fmla="*/ 41 h 41"/>
              <a:gd name="T10" fmla="*/ 12 w 41"/>
              <a:gd name="T11" fmla="*/ 41 h 41"/>
              <a:gd name="T12" fmla="*/ 12 w 41"/>
              <a:gd name="T13" fmla="*/ 41 h 41"/>
              <a:gd name="T14" fmla="*/ 11 w 41"/>
              <a:gd name="T15" fmla="*/ 40 h 41"/>
              <a:gd name="T16" fmla="*/ 10 w 41"/>
              <a:gd name="T17" fmla="*/ 36 h 41"/>
              <a:gd name="T18" fmla="*/ 9 w 41"/>
              <a:gd name="T19" fmla="*/ 34 h 41"/>
              <a:gd name="T20" fmla="*/ 4 w 41"/>
              <a:gd name="T21" fmla="*/ 25 h 41"/>
              <a:gd name="T22" fmla="*/ 1 w 41"/>
              <a:gd name="T23" fmla="*/ 22 h 41"/>
              <a:gd name="T24" fmla="*/ 0 w 41"/>
              <a:gd name="T25" fmla="*/ 21 h 41"/>
              <a:gd name="T26" fmla="*/ 0 w 41"/>
              <a:gd name="T27" fmla="*/ 20 h 41"/>
              <a:gd name="T28" fmla="*/ 6 w 41"/>
              <a:gd name="T29" fmla="*/ 17 h 41"/>
              <a:gd name="T30" fmla="*/ 14 w 41"/>
              <a:gd name="T31" fmla="*/ 26 h 41"/>
              <a:gd name="T32" fmla="*/ 14 w 41"/>
              <a:gd name="T33" fmla="*/ 27 h 41"/>
              <a:gd name="T34" fmla="*/ 38 w 41"/>
              <a:gd name="T35" fmla="*/ 0 h 41"/>
              <a:gd name="T36" fmla="*/ 40 w 41"/>
              <a:gd name="T37" fmla="*/ 0 h 41"/>
              <a:gd name="T38" fmla="*/ 41 w 41"/>
              <a:gd name="T39" fmla="*/ 2 h 41"/>
              <a:gd name="T40" fmla="*/ 40 w 41"/>
              <a:gd name="T41" fmla="*/ 4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" h="41">
                <a:moveTo>
                  <a:pt x="40" y="4"/>
                </a:moveTo>
                <a:cubicBezTo>
                  <a:pt x="28" y="12"/>
                  <a:pt x="20" y="27"/>
                  <a:pt x="20" y="36"/>
                </a:cubicBezTo>
                <a:cubicBezTo>
                  <a:pt x="20" y="36"/>
                  <a:pt x="19" y="37"/>
                  <a:pt x="19" y="37"/>
                </a:cubicBezTo>
                <a:cubicBezTo>
                  <a:pt x="17" y="38"/>
                  <a:pt x="17" y="38"/>
                  <a:pt x="17" y="38"/>
                </a:cubicBezTo>
                <a:cubicBezTo>
                  <a:pt x="15" y="39"/>
                  <a:pt x="14" y="40"/>
                  <a:pt x="13" y="41"/>
                </a:cubicBezTo>
                <a:cubicBezTo>
                  <a:pt x="13" y="41"/>
                  <a:pt x="13" y="41"/>
                  <a:pt x="12" y="41"/>
                </a:cubicBezTo>
                <a:cubicBezTo>
                  <a:pt x="12" y="41"/>
                  <a:pt x="12" y="41"/>
                  <a:pt x="12" y="41"/>
                </a:cubicBezTo>
                <a:cubicBezTo>
                  <a:pt x="12" y="41"/>
                  <a:pt x="11" y="41"/>
                  <a:pt x="11" y="40"/>
                </a:cubicBezTo>
                <a:cubicBezTo>
                  <a:pt x="11" y="40"/>
                  <a:pt x="11" y="38"/>
                  <a:pt x="10" y="36"/>
                </a:cubicBezTo>
                <a:cubicBezTo>
                  <a:pt x="9" y="34"/>
                  <a:pt x="9" y="34"/>
                  <a:pt x="9" y="34"/>
                </a:cubicBezTo>
                <a:cubicBezTo>
                  <a:pt x="7" y="30"/>
                  <a:pt x="6" y="26"/>
                  <a:pt x="4" y="25"/>
                </a:cubicBezTo>
                <a:cubicBezTo>
                  <a:pt x="3" y="23"/>
                  <a:pt x="2" y="22"/>
                  <a:pt x="1" y="22"/>
                </a:cubicBezTo>
                <a:cubicBezTo>
                  <a:pt x="1" y="22"/>
                  <a:pt x="0" y="22"/>
                  <a:pt x="0" y="21"/>
                </a:cubicBezTo>
                <a:cubicBezTo>
                  <a:pt x="0" y="21"/>
                  <a:pt x="0" y="21"/>
                  <a:pt x="0" y="20"/>
                </a:cubicBezTo>
                <a:cubicBezTo>
                  <a:pt x="3" y="18"/>
                  <a:pt x="5" y="17"/>
                  <a:pt x="6" y="17"/>
                </a:cubicBezTo>
                <a:cubicBezTo>
                  <a:pt x="9" y="17"/>
                  <a:pt x="11" y="20"/>
                  <a:pt x="14" y="26"/>
                </a:cubicBezTo>
                <a:cubicBezTo>
                  <a:pt x="14" y="27"/>
                  <a:pt x="14" y="27"/>
                  <a:pt x="14" y="27"/>
                </a:cubicBezTo>
                <a:cubicBezTo>
                  <a:pt x="17" y="18"/>
                  <a:pt x="27" y="5"/>
                  <a:pt x="38" y="0"/>
                </a:cubicBezTo>
                <a:cubicBezTo>
                  <a:pt x="39" y="0"/>
                  <a:pt x="39" y="0"/>
                  <a:pt x="40" y="0"/>
                </a:cubicBezTo>
                <a:cubicBezTo>
                  <a:pt x="41" y="2"/>
                  <a:pt x="41" y="2"/>
                  <a:pt x="41" y="2"/>
                </a:cubicBezTo>
                <a:cubicBezTo>
                  <a:pt x="41" y="3"/>
                  <a:pt x="41" y="3"/>
                  <a:pt x="40" y="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426"/>
          <p:cNvSpPr>
            <a:spLocks noEditPoints="1"/>
          </p:cNvSpPr>
          <p:nvPr/>
        </p:nvSpPr>
        <p:spPr bwMode="auto">
          <a:xfrm>
            <a:off x="951834" y="2254371"/>
            <a:ext cx="67518" cy="63016"/>
          </a:xfrm>
          <a:custGeom>
            <a:avLst/>
            <a:gdLst>
              <a:gd name="T0" fmla="*/ 33 w 35"/>
              <a:gd name="T1" fmla="*/ 33 h 33"/>
              <a:gd name="T2" fmla="*/ 2 w 35"/>
              <a:gd name="T3" fmla="*/ 33 h 33"/>
              <a:gd name="T4" fmla="*/ 0 w 35"/>
              <a:gd name="T5" fmla="*/ 31 h 33"/>
              <a:gd name="T6" fmla="*/ 0 w 35"/>
              <a:gd name="T7" fmla="*/ 1 h 33"/>
              <a:gd name="T8" fmla="*/ 2 w 35"/>
              <a:gd name="T9" fmla="*/ 0 h 33"/>
              <a:gd name="T10" fmla="*/ 33 w 35"/>
              <a:gd name="T11" fmla="*/ 0 h 33"/>
              <a:gd name="T12" fmla="*/ 35 w 35"/>
              <a:gd name="T13" fmla="*/ 1 h 33"/>
              <a:gd name="T14" fmla="*/ 35 w 35"/>
              <a:gd name="T15" fmla="*/ 31 h 33"/>
              <a:gd name="T16" fmla="*/ 33 w 35"/>
              <a:gd name="T17" fmla="*/ 33 h 33"/>
              <a:gd name="T18" fmla="*/ 4 w 35"/>
              <a:gd name="T19" fmla="*/ 30 h 33"/>
              <a:gd name="T20" fmla="*/ 31 w 35"/>
              <a:gd name="T21" fmla="*/ 30 h 33"/>
              <a:gd name="T22" fmla="*/ 31 w 35"/>
              <a:gd name="T23" fmla="*/ 3 h 33"/>
              <a:gd name="T24" fmla="*/ 4 w 35"/>
              <a:gd name="T25" fmla="*/ 3 h 33"/>
              <a:gd name="T26" fmla="*/ 4 w 35"/>
              <a:gd name="T27" fmla="*/ 3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3">
                <a:moveTo>
                  <a:pt x="33" y="33"/>
                </a:moveTo>
                <a:cubicBezTo>
                  <a:pt x="2" y="33"/>
                  <a:pt x="2" y="33"/>
                  <a:pt x="2" y="33"/>
                </a:cubicBezTo>
                <a:cubicBezTo>
                  <a:pt x="1" y="33"/>
                  <a:pt x="0" y="32"/>
                  <a:pt x="0" y="3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0"/>
                  <a:pt x="35" y="1"/>
                </a:cubicBezTo>
                <a:cubicBezTo>
                  <a:pt x="35" y="31"/>
                  <a:pt x="35" y="31"/>
                  <a:pt x="35" y="31"/>
                </a:cubicBezTo>
                <a:cubicBezTo>
                  <a:pt x="35" y="32"/>
                  <a:pt x="34" y="33"/>
                  <a:pt x="33" y="33"/>
                </a:cubicBezTo>
                <a:close/>
                <a:moveTo>
                  <a:pt x="4" y="30"/>
                </a:moveTo>
                <a:cubicBezTo>
                  <a:pt x="31" y="30"/>
                  <a:pt x="31" y="30"/>
                  <a:pt x="31" y="30"/>
                </a:cubicBezTo>
                <a:cubicBezTo>
                  <a:pt x="31" y="3"/>
                  <a:pt x="31" y="3"/>
                  <a:pt x="31" y="3"/>
                </a:cubicBezTo>
                <a:cubicBezTo>
                  <a:pt x="4" y="3"/>
                  <a:pt x="4" y="3"/>
                  <a:pt x="4" y="3"/>
                </a:cubicBezTo>
                <a:lnTo>
                  <a:pt x="4" y="3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427"/>
          <p:cNvSpPr>
            <a:spLocks/>
          </p:cNvSpPr>
          <p:nvPr/>
        </p:nvSpPr>
        <p:spPr bwMode="auto">
          <a:xfrm>
            <a:off x="1046359" y="2371415"/>
            <a:ext cx="153040" cy="1575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428"/>
          <p:cNvSpPr>
            <a:spLocks/>
          </p:cNvSpPr>
          <p:nvPr/>
        </p:nvSpPr>
        <p:spPr bwMode="auto">
          <a:xfrm>
            <a:off x="1046359" y="2409675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429"/>
          <p:cNvSpPr>
            <a:spLocks/>
          </p:cNvSpPr>
          <p:nvPr/>
        </p:nvSpPr>
        <p:spPr bwMode="auto">
          <a:xfrm>
            <a:off x="958586" y="2339893"/>
            <a:ext cx="81021" cy="81021"/>
          </a:xfrm>
          <a:custGeom>
            <a:avLst/>
            <a:gdLst>
              <a:gd name="T0" fmla="*/ 40 w 41"/>
              <a:gd name="T1" fmla="*/ 5 h 42"/>
              <a:gd name="T2" fmla="*/ 20 w 41"/>
              <a:gd name="T3" fmla="*/ 37 h 42"/>
              <a:gd name="T4" fmla="*/ 19 w 41"/>
              <a:gd name="T5" fmla="*/ 38 h 42"/>
              <a:gd name="T6" fmla="*/ 17 w 41"/>
              <a:gd name="T7" fmla="*/ 39 h 42"/>
              <a:gd name="T8" fmla="*/ 13 w 41"/>
              <a:gd name="T9" fmla="*/ 42 h 42"/>
              <a:gd name="T10" fmla="*/ 12 w 41"/>
              <a:gd name="T11" fmla="*/ 42 h 42"/>
              <a:gd name="T12" fmla="*/ 12 w 41"/>
              <a:gd name="T13" fmla="*/ 42 h 42"/>
              <a:gd name="T14" fmla="*/ 11 w 41"/>
              <a:gd name="T15" fmla="*/ 41 h 42"/>
              <a:gd name="T16" fmla="*/ 10 w 41"/>
              <a:gd name="T17" fmla="*/ 37 h 42"/>
              <a:gd name="T18" fmla="*/ 9 w 41"/>
              <a:gd name="T19" fmla="*/ 35 h 42"/>
              <a:gd name="T20" fmla="*/ 4 w 41"/>
              <a:gd name="T21" fmla="*/ 26 h 42"/>
              <a:gd name="T22" fmla="*/ 1 w 41"/>
              <a:gd name="T23" fmla="*/ 23 h 42"/>
              <a:gd name="T24" fmla="*/ 0 w 41"/>
              <a:gd name="T25" fmla="*/ 22 h 42"/>
              <a:gd name="T26" fmla="*/ 0 w 41"/>
              <a:gd name="T27" fmla="*/ 21 h 42"/>
              <a:gd name="T28" fmla="*/ 6 w 41"/>
              <a:gd name="T29" fmla="*/ 18 h 42"/>
              <a:gd name="T30" fmla="*/ 14 w 41"/>
              <a:gd name="T31" fmla="*/ 27 h 42"/>
              <a:gd name="T32" fmla="*/ 14 w 41"/>
              <a:gd name="T33" fmla="*/ 28 h 42"/>
              <a:gd name="T34" fmla="*/ 38 w 41"/>
              <a:gd name="T35" fmla="*/ 1 h 42"/>
              <a:gd name="T36" fmla="*/ 40 w 41"/>
              <a:gd name="T37" fmla="*/ 1 h 42"/>
              <a:gd name="T38" fmla="*/ 41 w 41"/>
              <a:gd name="T39" fmla="*/ 3 h 42"/>
              <a:gd name="T40" fmla="*/ 40 w 41"/>
              <a:gd name="T41" fmla="*/ 5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" h="42">
                <a:moveTo>
                  <a:pt x="40" y="5"/>
                </a:moveTo>
                <a:cubicBezTo>
                  <a:pt x="28" y="13"/>
                  <a:pt x="20" y="28"/>
                  <a:pt x="20" y="37"/>
                </a:cubicBezTo>
                <a:cubicBezTo>
                  <a:pt x="20" y="37"/>
                  <a:pt x="19" y="38"/>
                  <a:pt x="19" y="38"/>
                </a:cubicBezTo>
                <a:cubicBezTo>
                  <a:pt x="17" y="39"/>
                  <a:pt x="17" y="39"/>
                  <a:pt x="17" y="39"/>
                </a:cubicBezTo>
                <a:cubicBezTo>
                  <a:pt x="15" y="40"/>
                  <a:pt x="14" y="41"/>
                  <a:pt x="13" y="42"/>
                </a:cubicBezTo>
                <a:cubicBezTo>
                  <a:pt x="13" y="42"/>
                  <a:pt x="13" y="42"/>
                  <a:pt x="12" y="42"/>
                </a:cubicBezTo>
                <a:cubicBezTo>
                  <a:pt x="12" y="42"/>
                  <a:pt x="12" y="42"/>
                  <a:pt x="12" y="42"/>
                </a:cubicBezTo>
                <a:cubicBezTo>
                  <a:pt x="12" y="42"/>
                  <a:pt x="11" y="42"/>
                  <a:pt x="11" y="41"/>
                </a:cubicBezTo>
                <a:cubicBezTo>
                  <a:pt x="11" y="41"/>
                  <a:pt x="11" y="39"/>
                  <a:pt x="10" y="37"/>
                </a:cubicBezTo>
                <a:cubicBezTo>
                  <a:pt x="9" y="35"/>
                  <a:pt x="9" y="35"/>
                  <a:pt x="9" y="35"/>
                </a:cubicBezTo>
                <a:cubicBezTo>
                  <a:pt x="7" y="31"/>
                  <a:pt x="6" y="27"/>
                  <a:pt x="4" y="26"/>
                </a:cubicBezTo>
                <a:cubicBezTo>
                  <a:pt x="3" y="24"/>
                  <a:pt x="2" y="23"/>
                  <a:pt x="1" y="23"/>
                </a:cubicBezTo>
                <a:cubicBezTo>
                  <a:pt x="1" y="23"/>
                  <a:pt x="0" y="23"/>
                  <a:pt x="0" y="22"/>
                </a:cubicBezTo>
                <a:cubicBezTo>
                  <a:pt x="0" y="22"/>
                  <a:pt x="0" y="22"/>
                  <a:pt x="0" y="21"/>
                </a:cubicBezTo>
                <a:cubicBezTo>
                  <a:pt x="3" y="19"/>
                  <a:pt x="5" y="18"/>
                  <a:pt x="6" y="18"/>
                </a:cubicBezTo>
                <a:cubicBezTo>
                  <a:pt x="9" y="18"/>
                  <a:pt x="11" y="21"/>
                  <a:pt x="14" y="27"/>
                </a:cubicBezTo>
                <a:cubicBezTo>
                  <a:pt x="14" y="28"/>
                  <a:pt x="14" y="28"/>
                  <a:pt x="14" y="28"/>
                </a:cubicBezTo>
                <a:cubicBezTo>
                  <a:pt x="17" y="19"/>
                  <a:pt x="27" y="6"/>
                  <a:pt x="38" y="1"/>
                </a:cubicBezTo>
                <a:cubicBezTo>
                  <a:pt x="39" y="0"/>
                  <a:pt x="39" y="1"/>
                  <a:pt x="40" y="1"/>
                </a:cubicBezTo>
                <a:cubicBezTo>
                  <a:pt x="41" y="3"/>
                  <a:pt x="41" y="3"/>
                  <a:pt x="41" y="3"/>
                </a:cubicBezTo>
                <a:cubicBezTo>
                  <a:pt x="41" y="4"/>
                  <a:pt x="41" y="4"/>
                  <a:pt x="40" y="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430"/>
          <p:cNvSpPr>
            <a:spLocks noEditPoints="1"/>
          </p:cNvSpPr>
          <p:nvPr/>
        </p:nvSpPr>
        <p:spPr bwMode="auto">
          <a:xfrm>
            <a:off x="951834" y="2362413"/>
            <a:ext cx="67518" cy="67517"/>
          </a:xfrm>
          <a:custGeom>
            <a:avLst/>
            <a:gdLst>
              <a:gd name="T0" fmla="*/ 33 w 35"/>
              <a:gd name="T1" fmla="*/ 34 h 34"/>
              <a:gd name="T2" fmla="*/ 2 w 35"/>
              <a:gd name="T3" fmla="*/ 34 h 34"/>
              <a:gd name="T4" fmla="*/ 0 w 35"/>
              <a:gd name="T5" fmla="*/ 32 h 34"/>
              <a:gd name="T6" fmla="*/ 0 w 35"/>
              <a:gd name="T7" fmla="*/ 2 h 34"/>
              <a:gd name="T8" fmla="*/ 2 w 35"/>
              <a:gd name="T9" fmla="*/ 0 h 34"/>
              <a:gd name="T10" fmla="*/ 33 w 35"/>
              <a:gd name="T11" fmla="*/ 0 h 34"/>
              <a:gd name="T12" fmla="*/ 35 w 35"/>
              <a:gd name="T13" fmla="*/ 2 h 34"/>
              <a:gd name="T14" fmla="*/ 35 w 35"/>
              <a:gd name="T15" fmla="*/ 32 h 34"/>
              <a:gd name="T16" fmla="*/ 33 w 35"/>
              <a:gd name="T17" fmla="*/ 34 h 34"/>
              <a:gd name="T18" fmla="*/ 4 w 35"/>
              <a:gd name="T19" fmla="*/ 31 h 34"/>
              <a:gd name="T20" fmla="*/ 31 w 35"/>
              <a:gd name="T21" fmla="*/ 31 h 34"/>
              <a:gd name="T22" fmla="*/ 31 w 35"/>
              <a:gd name="T23" fmla="*/ 4 h 34"/>
              <a:gd name="T24" fmla="*/ 4 w 35"/>
              <a:gd name="T25" fmla="*/ 4 h 34"/>
              <a:gd name="T26" fmla="*/ 4 w 35"/>
              <a:gd name="T27" fmla="*/ 3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4">
                <a:moveTo>
                  <a:pt x="33" y="34"/>
                </a:moveTo>
                <a:cubicBezTo>
                  <a:pt x="2" y="34"/>
                  <a:pt x="2" y="34"/>
                  <a:pt x="2" y="34"/>
                </a:cubicBezTo>
                <a:cubicBezTo>
                  <a:pt x="1" y="34"/>
                  <a:pt x="0" y="33"/>
                  <a:pt x="0" y="3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1"/>
                  <a:pt x="35" y="2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3"/>
                  <a:pt x="34" y="34"/>
                  <a:pt x="33" y="34"/>
                </a:cubicBezTo>
                <a:close/>
                <a:moveTo>
                  <a:pt x="4" y="31"/>
                </a:moveTo>
                <a:cubicBezTo>
                  <a:pt x="31" y="31"/>
                  <a:pt x="31" y="31"/>
                  <a:pt x="31" y="31"/>
                </a:cubicBezTo>
                <a:cubicBezTo>
                  <a:pt x="31" y="4"/>
                  <a:pt x="31" y="4"/>
                  <a:pt x="31" y="4"/>
                </a:cubicBezTo>
                <a:cubicBezTo>
                  <a:pt x="4" y="4"/>
                  <a:pt x="4" y="4"/>
                  <a:pt x="4" y="4"/>
                </a:cubicBezTo>
                <a:lnTo>
                  <a:pt x="4" y="3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431"/>
          <p:cNvSpPr>
            <a:spLocks/>
          </p:cNvSpPr>
          <p:nvPr/>
        </p:nvSpPr>
        <p:spPr bwMode="auto">
          <a:xfrm>
            <a:off x="1046359" y="2481694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432"/>
          <p:cNvSpPr>
            <a:spLocks/>
          </p:cNvSpPr>
          <p:nvPr/>
        </p:nvSpPr>
        <p:spPr bwMode="auto">
          <a:xfrm>
            <a:off x="1046359" y="2519953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433"/>
          <p:cNvSpPr>
            <a:spLocks noEditPoints="1"/>
          </p:cNvSpPr>
          <p:nvPr/>
        </p:nvSpPr>
        <p:spPr bwMode="auto">
          <a:xfrm>
            <a:off x="951834" y="2474941"/>
            <a:ext cx="67518" cy="65267"/>
          </a:xfrm>
          <a:custGeom>
            <a:avLst/>
            <a:gdLst>
              <a:gd name="T0" fmla="*/ 33 w 35"/>
              <a:gd name="T1" fmla="*/ 34 h 34"/>
              <a:gd name="T2" fmla="*/ 2 w 35"/>
              <a:gd name="T3" fmla="*/ 34 h 34"/>
              <a:gd name="T4" fmla="*/ 0 w 35"/>
              <a:gd name="T5" fmla="*/ 32 h 34"/>
              <a:gd name="T6" fmla="*/ 0 w 35"/>
              <a:gd name="T7" fmla="*/ 2 h 34"/>
              <a:gd name="T8" fmla="*/ 2 w 35"/>
              <a:gd name="T9" fmla="*/ 0 h 34"/>
              <a:gd name="T10" fmla="*/ 33 w 35"/>
              <a:gd name="T11" fmla="*/ 0 h 34"/>
              <a:gd name="T12" fmla="*/ 35 w 35"/>
              <a:gd name="T13" fmla="*/ 2 h 34"/>
              <a:gd name="T14" fmla="*/ 35 w 35"/>
              <a:gd name="T15" fmla="*/ 32 h 34"/>
              <a:gd name="T16" fmla="*/ 33 w 35"/>
              <a:gd name="T17" fmla="*/ 34 h 34"/>
              <a:gd name="T18" fmla="*/ 4 w 35"/>
              <a:gd name="T19" fmla="*/ 31 h 34"/>
              <a:gd name="T20" fmla="*/ 31 w 35"/>
              <a:gd name="T21" fmla="*/ 31 h 34"/>
              <a:gd name="T22" fmla="*/ 31 w 35"/>
              <a:gd name="T23" fmla="*/ 4 h 34"/>
              <a:gd name="T24" fmla="*/ 4 w 35"/>
              <a:gd name="T25" fmla="*/ 4 h 34"/>
              <a:gd name="T26" fmla="*/ 4 w 35"/>
              <a:gd name="T27" fmla="*/ 3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4">
                <a:moveTo>
                  <a:pt x="33" y="34"/>
                </a:moveTo>
                <a:cubicBezTo>
                  <a:pt x="2" y="34"/>
                  <a:pt x="2" y="34"/>
                  <a:pt x="2" y="34"/>
                </a:cubicBezTo>
                <a:cubicBezTo>
                  <a:pt x="1" y="34"/>
                  <a:pt x="0" y="33"/>
                  <a:pt x="0" y="3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1"/>
                  <a:pt x="35" y="2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3"/>
                  <a:pt x="34" y="34"/>
                  <a:pt x="33" y="34"/>
                </a:cubicBezTo>
                <a:close/>
                <a:moveTo>
                  <a:pt x="4" y="31"/>
                </a:moveTo>
                <a:cubicBezTo>
                  <a:pt x="31" y="31"/>
                  <a:pt x="31" y="31"/>
                  <a:pt x="31" y="31"/>
                </a:cubicBezTo>
                <a:cubicBezTo>
                  <a:pt x="31" y="4"/>
                  <a:pt x="31" y="4"/>
                  <a:pt x="31" y="4"/>
                </a:cubicBezTo>
                <a:cubicBezTo>
                  <a:pt x="4" y="4"/>
                  <a:pt x="4" y="4"/>
                  <a:pt x="4" y="4"/>
                </a:cubicBezTo>
                <a:lnTo>
                  <a:pt x="4" y="3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808195" y="2970946"/>
            <a:ext cx="488662" cy="513554"/>
            <a:chOff x="853915" y="2963326"/>
            <a:chExt cx="488662" cy="513554"/>
          </a:xfrm>
        </p:grpSpPr>
        <p:sp>
          <p:nvSpPr>
            <p:cNvPr id="79" name="Freeform 129"/>
            <p:cNvSpPr>
              <a:spLocks/>
            </p:cNvSpPr>
            <p:nvPr/>
          </p:nvSpPr>
          <p:spPr bwMode="auto">
            <a:xfrm>
              <a:off x="1054889" y="3344532"/>
              <a:ext cx="129899" cy="132348"/>
            </a:xfrm>
            <a:custGeom>
              <a:avLst/>
              <a:gdLst>
                <a:gd name="T0" fmla="*/ 409 w 450"/>
                <a:gd name="T1" fmla="*/ 259 h 450"/>
                <a:gd name="T2" fmla="*/ 150 w 450"/>
                <a:gd name="T3" fmla="*/ 0 h 450"/>
                <a:gd name="T4" fmla="*/ 0 w 450"/>
                <a:gd name="T5" fmla="*/ 150 h 450"/>
                <a:gd name="T6" fmla="*/ 259 w 450"/>
                <a:gd name="T7" fmla="*/ 409 h 450"/>
                <a:gd name="T8" fmla="*/ 409 w 450"/>
                <a:gd name="T9" fmla="*/ 409 h 450"/>
                <a:gd name="T10" fmla="*/ 409 w 450"/>
                <a:gd name="T11" fmla="*/ 259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0" h="450">
                  <a:moveTo>
                    <a:pt x="409" y="259"/>
                  </a:moveTo>
                  <a:lnTo>
                    <a:pt x="150" y="0"/>
                  </a:lnTo>
                  <a:cubicBezTo>
                    <a:pt x="111" y="60"/>
                    <a:pt x="60" y="111"/>
                    <a:pt x="0" y="150"/>
                  </a:cubicBezTo>
                  <a:lnTo>
                    <a:pt x="259" y="409"/>
                  </a:lnTo>
                  <a:cubicBezTo>
                    <a:pt x="300" y="450"/>
                    <a:pt x="367" y="450"/>
                    <a:pt x="409" y="409"/>
                  </a:cubicBezTo>
                  <a:cubicBezTo>
                    <a:pt x="450" y="368"/>
                    <a:pt x="450" y="301"/>
                    <a:pt x="409" y="259"/>
                  </a:cubicBezTo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30"/>
            <p:cNvSpPr>
              <a:spLocks noEditPoints="1"/>
            </p:cNvSpPr>
            <p:nvPr/>
          </p:nvSpPr>
          <p:spPr bwMode="auto">
            <a:xfrm>
              <a:off x="853915" y="3143559"/>
              <a:ext cx="245090" cy="247541"/>
            </a:xfrm>
            <a:custGeom>
              <a:avLst/>
              <a:gdLst>
                <a:gd name="T0" fmla="*/ 423 w 846"/>
                <a:gd name="T1" fmla="*/ 741 h 847"/>
                <a:gd name="T2" fmla="*/ 106 w 846"/>
                <a:gd name="T3" fmla="*/ 423 h 847"/>
                <a:gd name="T4" fmla="*/ 423 w 846"/>
                <a:gd name="T5" fmla="*/ 106 h 847"/>
                <a:gd name="T6" fmla="*/ 741 w 846"/>
                <a:gd name="T7" fmla="*/ 423 h 847"/>
                <a:gd name="T8" fmla="*/ 423 w 846"/>
                <a:gd name="T9" fmla="*/ 741 h 847"/>
                <a:gd name="T10" fmla="*/ 846 w 846"/>
                <a:gd name="T11" fmla="*/ 423 h 847"/>
                <a:gd name="T12" fmla="*/ 423 w 846"/>
                <a:gd name="T13" fmla="*/ 0 h 847"/>
                <a:gd name="T14" fmla="*/ 0 w 846"/>
                <a:gd name="T15" fmla="*/ 423 h 847"/>
                <a:gd name="T16" fmla="*/ 423 w 846"/>
                <a:gd name="T17" fmla="*/ 847 h 847"/>
                <a:gd name="T18" fmla="*/ 846 w 846"/>
                <a:gd name="T19" fmla="*/ 423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6" h="847">
                  <a:moveTo>
                    <a:pt x="423" y="741"/>
                  </a:moveTo>
                  <a:cubicBezTo>
                    <a:pt x="248" y="741"/>
                    <a:pt x="106" y="598"/>
                    <a:pt x="106" y="423"/>
                  </a:cubicBezTo>
                  <a:cubicBezTo>
                    <a:pt x="106" y="248"/>
                    <a:pt x="248" y="106"/>
                    <a:pt x="423" y="106"/>
                  </a:cubicBezTo>
                  <a:cubicBezTo>
                    <a:pt x="598" y="106"/>
                    <a:pt x="741" y="248"/>
                    <a:pt x="741" y="423"/>
                  </a:cubicBezTo>
                  <a:cubicBezTo>
                    <a:pt x="741" y="598"/>
                    <a:pt x="598" y="741"/>
                    <a:pt x="423" y="741"/>
                  </a:cubicBezTo>
                  <a:moveTo>
                    <a:pt x="846" y="423"/>
                  </a:moveTo>
                  <a:cubicBezTo>
                    <a:pt x="846" y="190"/>
                    <a:pt x="657" y="0"/>
                    <a:pt x="423" y="0"/>
                  </a:cubicBezTo>
                  <a:cubicBezTo>
                    <a:pt x="189" y="0"/>
                    <a:pt x="0" y="190"/>
                    <a:pt x="0" y="423"/>
                  </a:cubicBezTo>
                  <a:cubicBezTo>
                    <a:pt x="0" y="657"/>
                    <a:pt x="189" y="847"/>
                    <a:pt x="423" y="847"/>
                  </a:cubicBezTo>
                  <a:cubicBezTo>
                    <a:pt x="657" y="847"/>
                    <a:pt x="846" y="657"/>
                    <a:pt x="846" y="423"/>
                  </a:cubicBezTo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>
            <a:xfrm>
              <a:off x="1017635" y="2963326"/>
              <a:ext cx="324942" cy="358818"/>
            </a:xfrm>
            <a:custGeom>
              <a:avLst/>
              <a:gdLst/>
              <a:ahLst/>
              <a:cxnLst/>
              <a:rect l="l" t="t" r="r" b="b"/>
              <a:pathLst>
                <a:path w="541159" h="532085">
                  <a:moveTo>
                    <a:pt x="203352" y="255126"/>
                  </a:moveTo>
                  <a:lnTo>
                    <a:pt x="203352" y="288810"/>
                  </a:lnTo>
                  <a:cubicBezTo>
                    <a:pt x="172163" y="353684"/>
                    <a:pt x="223313" y="455984"/>
                    <a:pt x="240779" y="479687"/>
                  </a:cubicBezTo>
                  <a:lnTo>
                    <a:pt x="242215" y="466285"/>
                  </a:lnTo>
                  <a:cubicBezTo>
                    <a:pt x="242601" y="463691"/>
                    <a:pt x="241608" y="461687"/>
                    <a:pt x="240498" y="459726"/>
                  </a:cubicBezTo>
                  <a:lnTo>
                    <a:pt x="249230" y="376140"/>
                  </a:lnTo>
                  <a:lnTo>
                    <a:pt x="236755" y="359921"/>
                  </a:lnTo>
                  <a:cubicBezTo>
                    <a:pt x="230725" y="354307"/>
                    <a:pt x="230933" y="344951"/>
                    <a:pt x="235507" y="341208"/>
                  </a:cubicBezTo>
                  <a:lnTo>
                    <a:pt x="260458" y="319999"/>
                  </a:lnTo>
                  <a:cubicBezTo>
                    <a:pt x="263852" y="318433"/>
                    <a:pt x="267245" y="317113"/>
                    <a:pt x="270580" y="318065"/>
                  </a:cubicBezTo>
                  <a:cubicBezTo>
                    <a:pt x="273914" y="317113"/>
                    <a:pt x="277307" y="318433"/>
                    <a:pt x="280701" y="319999"/>
                  </a:cubicBezTo>
                  <a:lnTo>
                    <a:pt x="305652" y="341208"/>
                  </a:lnTo>
                  <a:cubicBezTo>
                    <a:pt x="310226" y="344951"/>
                    <a:pt x="310434" y="354307"/>
                    <a:pt x="304404" y="359921"/>
                  </a:cubicBezTo>
                  <a:lnTo>
                    <a:pt x="291929" y="376140"/>
                  </a:lnTo>
                  <a:lnTo>
                    <a:pt x="300662" y="459726"/>
                  </a:lnTo>
                  <a:lnTo>
                    <a:pt x="298944" y="466285"/>
                  </a:lnTo>
                  <a:lnTo>
                    <a:pt x="300380" y="479687"/>
                  </a:lnTo>
                  <a:cubicBezTo>
                    <a:pt x="308569" y="468574"/>
                    <a:pt x="324162" y="440185"/>
                    <a:pt x="334734" y="406323"/>
                  </a:cubicBezTo>
                  <a:lnTo>
                    <a:pt x="339901" y="385417"/>
                  </a:lnTo>
                  <a:cubicBezTo>
                    <a:pt x="349337" y="352739"/>
                    <a:pt x="351452" y="317192"/>
                    <a:pt x="337807" y="288810"/>
                  </a:cubicBezTo>
                  <a:lnTo>
                    <a:pt x="337807" y="255126"/>
                  </a:lnTo>
                  <a:lnTo>
                    <a:pt x="340583" y="256836"/>
                  </a:lnTo>
                  <a:lnTo>
                    <a:pt x="340583" y="255126"/>
                  </a:lnTo>
                  <a:cubicBezTo>
                    <a:pt x="358434" y="265505"/>
                    <a:pt x="373799" y="272153"/>
                    <a:pt x="384795" y="289978"/>
                  </a:cubicBezTo>
                  <a:lnTo>
                    <a:pt x="385107" y="290058"/>
                  </a:lnTo>
                  <a:lnTo>
                    <a:pt x="396100" y="290058"/>
                  </a:lnTo>
                  <a:lnTo>
                    <a:pt x="396564" y="292985"/>
                  </a:lnTo>
                  <a:cubicBezTo>
                    <a:pt x="428640" y="300132"/>
                    <a:pt x="462556" y="308710"/>
                    <a:pt x="493752" y="329980"/>
                  </a:cubicBezTo>
                  <a:cubicBezTo>
                    <a:pt x="515792" y="363664"/>
                    <a:pt x="539080" y="452241"/>
                    <a:pt x="541159" y="532085"/>
                  </a:cubicBezTo>
                  <a:lnTo>
                    <a:pt x="290681" y="532085"/>
                  </a:lnTo>
                  <a:lnTo>
                    <a:pt x="250478" y="532085"/>
                  </a:lnTo>
                  <a:lnTo>
                    <a:pt x="0" y="532085"/>
                  </a:lnTo>
                  <a:cubicBezTo>
                    <a:pt x="2079" y="452241"/>
                    <a:pt x="25367" y="363664"/>
                    <a:pt x="47407" y="329980"/>
                  </a:cubicBezTo>
                  <a:cubicBezTo>
                    <a:pt x="84002" y="305029"/>
                    <a:pt x="124340" y="297543"/>
                    <a:pt x="160935" y="288810"/>
                  </a:cubicBezTo>
                  <a:cubicBezTo>
                    <a:pt x="175074" y="271345"/>
                    <a:pt x="182975" y="266354"/>
                    <a:pt x="203352" y="255126"/>
                  </a:cubicBezTo>
                  <a:close/>
                  <a:moveTo>
                    <a:pt x="275710" y="0"/>
                  </a:moveTo>
                  <a:cubicBezTo>
                    <a:pt x="385495" y="2703"/>
                    <a:pt x="421051" y="135152"/>
                    <a:pt x="365534" y="189629"/>
                  </a:cubicBezTo>
                  <a:cubicBezTo>
                    <a:pt x="368653" y="160311"/>
                    <a:pt x="368653" y="135984"/>
                    <a:pt x="352435" y="112904"/>
                  </a:cubicBezTo>
                  <a:cubicBezTo>
                    <a:pt x="314384" y="137440"/>
                    <a:pt x="280700" y="124548"/>
                    <a:pt x="236412" y="109785"/>
                  </a:cubicBezTo>
                  <a:cubicBezTo>
                    <a:pt x="198361" y="97517"/>
                    <a:pt x="170291" y="122677"/>
                    <a:pt x="180272" y="192748"/>
                  </a:cubicBezTo>
                  <a:cubicBezTo>
                    <a:pt x="114151" y="110409"/>
                    <a:pt x="179024" y="1248"/>
                    <a:pt x="275710" y="0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4" name="Rounded Rectangle 11"/>
          <p:cNvSpPr/>
          <p:nvPr/>
        </p:nvSpPr>
        <p:spPr>
          <a:xfrm>
            <a:off x="904571" y="3943186"/>
            <a:ext cx="245681" cy="314473"/>
          </a:xfrm>
          <a:custGeom>
            <a:avLst/>
            <a:gdLst/>
            <a:ahLst/>
            <a:cxnLst/>
            <a:rect l="l" t="t" r="r" b="b"/>
            <a:pathLst>
              <a:path w="3810000" h="4876801">
                <a:moveTo>
                  <a:pt x="368313" y="0"/>
                </a:moveTo>
                <a:lnTo>
                  <a:pt x="3441687" y="0"/>
                </a:lnTo>
                <a:cubicBezTo>
                  <a:pt x="3645101" y="0"/>
                  <a:pt x="3810000" y="164899"/>
                  <a:pt x="3810000" y="368313"/>
                </a:cubicBezTo>
                <a:lnTo>
                  <a:pt x="3810000" y="436756"/>
                </a:lnTo>
                <a:lnTo>
                  <a:pt x="3543300" y="795776"/>
                </a:lnTo>
                <a:lnTo>
                  <a:pt x="3543300" y="254000"/>
                </a:lnTo>
                <a:lnTo>
                  <a:pt x="266700" y="254000"/>
                </a:lnTo>
                <a:lnTo>
                  <a:pt x="266700" y="4622800"/>
                </a:lnTo>
                <a:lnTo>
                  <a:pt x="3543300" y="4622800"/>
                </a:lnTo>
                <a:lnTo>
                  <a:pt x="3543300" y="3007207"/>
                </a:lnTo>
                <a:lnTo>
                  <a:pt x="3810000" y="2635576"/>
                </a:lnTo>
                <a:lnTo>
                  <a:pt x="3810000" y="4508488"/>
                </a:lnTo>
                <a:cubicBezTo>
                  <a:pt x="3810000" y="4711902"/>
                  <a:pt x="3645101" y="4876801"/>
                  <a:pt x="3441687" y="4876801"/>
                </a:cubicBezTo>
                <a:lnTo>
                  <a:pt x="368313" y="4876801"/>
                </a:lnTo>
                <a:cubicBezTo>
                  <a:pt x="164899" y="4876801"/>
                  <a:pt x="0" y="4711902"/>
                  <a:pt x="0" y="4508488"/>
                </a:cubicBezTo>
                <a:lnTo>
                  <a:pt x="0" y="368313"/>
                </a:lnTo>
                <a:cubicBezTo>
                  <a:pt x="0" y="164899"/>
                  <a:pt x="164899" y="0"/>
                  <a:pt x="368313" y="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5" name="Rounded Rectangle 84"/>
          <p:cNvSpPr/>
          <p:nvPr/>
        </p:nvSpPr>
        <p:spPr>
          <a:xfrm>
            <a:off x="949613" y="3982966"/>
            <a:ext cx="15396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6" name="Rounded Rectangle 85"/>
          <p:cNvSpPr/>
          <p:nvPr/>
        </p:nvSpPr>
        <p:spPr>
          <a:xfrm>
            <a:off x="949613" y="4011425"/>
            <a:ext cx="15396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7" name="Rounded Rectangle 86"/>
          <p:cNvSpPr/>
          <p:nvPr/>
        </p:nvSpPr>
        <p:spPr>
          <a:xfrm>
            <a:off x="949613" y="4040088"/>
            <a:ext cx="15396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8" name="Rounded Rectangle 87"/>
          <p:cNvSpPr/>
          <p:nvPr/>
        </p:nvSpPr>
        <p:spPr>
          <a:xfrm>
            <a:off x="949627" y="4068546"/>
            <a:ext cx="136763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9" name="Rounded Rectangle 88"/>
          <p:cNvSpPr/>
          <p:nvPr/>
        </p:nvSpPr>
        <p:spPr>
          <a:xfrm>
            <a:off x="949613" y="4097556"/>
            <a:ext cx="120384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0" name="Rounded Rectangle 89"/>
          <p:cNvSpPr/>
          <p:nvPr/>
        </p:nvSpPr>
        <p:spPr>
          <a:xfrm>
            <a:off x="949613" y="4126014"/>
            <a:ext cx="103186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949613" y="4154677"/>
            <a:ext cx="81484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949613" y="4183135"/>
            <a:ext cx="7483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3" name="Rounded Rectangle 92"/>
          <p:cNvSpPr/>
          <p:nvPr/>
        </p:nvSpPr>
        <p:spPr>
          <a:xfrm>
            <a:off x="949613" y="4211635"/>
            <a:ext cx="7483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4" name="Freeform 93"/>
          <p:cNvSpPr/>
          <p:nvPr/>
        </p:nvSpPr>
        <p:spPr>
          <a:xfrm>
            <a:off x="1029943" y="3959428"/>
            <a:ext cx="183092" cy="263362"/>
          </a:xfrm>
          <a:custGeom>
            <a:avLst/>
            <a:gdLst/>
            <a:ahLst/>
            <a:cxnLst/>
            <a:rect l="l" t="t" r="r" b="b"/>
            <a:pathLst>
              <a:path w="2839372" h="4084177">
                <a:moveTo>
                  <a:pt x="2176020" y="780764"/>
                </a:moveTo>
                <a:cubicBezTo>
                  <a:pt x="2143510" y="786996"/>
                  <a:pt x="2113378" y="805631"/>
                  <a:pt x="2093330" y="835190"/>
                </a:cubicBezTo>
                <a:lnTo>
                  <a:pt x="1227562" y="2111655"/>
                </a:lnTo>
                <a:cubicBezTo>
                  <a:pt x="1187465" y="2170773"/>
                  <a:pt x="1202884" y="2251204"/>
                  <a:pt x="1262003" y="2291301"/>
                </a:cubicBezTo>
                <a:cubicBezTo>
                  <a:pt x="1262003" y="2291301"/>
                  <a:pt x="1262002" y="2291301"/>
                  <a:pt x="1262002" y="2291301"/>
                </a:cubicBezTo>
                <a:lnTo>
                  <a:pt x="1262003" y="2291302"/>
                </a:lnTo>
                <a:lnTo>
                  <a:pt x="1262003" y="2291301"/>
                </a:lnTo>
                <a:cubicBezTo>
                  <a:pt x="1321121" y="2331399"/>
                  <a:pt x="1401552" y="2315979"/>
                  <a:pt x="1441649" y="2256860"/>
                </a:cubicBezTo>
                <a:lnTo>
                  <a:pt x="2307417" y="980397"/>
                </a:lnTo>
                <a:cubicBezTo>
                  <a:pt x="2347514" y="921278"/>
                  <a:pt x="2332095" y="840848"/>
                  <a:pt x="2272976" y="800750"/>
                </a:cubicBezTo>
                <a:lnTo>
                  <a:pt x="2272977" y="800749"/>
                </a:lnTo>
                <a:cubicBezTo>
                  <a:pt x="2243417" y="780701"/>
                  <a:pt x="2208530" y="774531"/>
                  <a:pt x="2176020" y="780764"/>
                </a:cubicBezTo>
                <a:close/>
                <a:moveTo>
                  <a:pt x="2567715" y="107"/>
                </a:moveTo>
                <a:cubicBezTo>
                  <a:pt x="2732722" y="4736"/>
                  <a:pt x="2900964" y="157791"/>
                  <a:pt x="2817090" y="389632"/>
                </a:cubicBezTo>
                <a:lnTo>
                  <a:pt x="2678545" y="583595"/>
                </a:lnTo>
                <a:cubicBezTo>
                  <a:pt x="2691919" y="669897"/>
                  <a:pt x="2676716" y="741913"/>
                  <a:pt x="2618652" y="842502"/>
                </a:cubicBezTo>
                <a:lnTo>
                  <a:pt x="646545" y="3770141"/>
                </a:lnTo>
                <a:lnTo>
                  <a:pt x="0" y="4084177"/>
                </a:lnTo>
                <a:lnTo>
                  <a:pt x="46181" y="3382791"/>
                </a:lnTo>
                <a:lnTo>
                  <a:pt x="2041813" y="421814"/>
                </a:lnTo>
                <a:cubicBezTo>
                  <a:pt x="2098337" y="350136"/>
                  <a:pt x="2159626" y="297509"/>
                  <a:pt x="2235200" y="297268"/>
                </a:cubicBezTo>
                <a:lnTo>
                  <a:pt x="2368694" y="92337"/>
                </a:lnTo>
                <a:cubicBezTo>
                  <a:pt x="2418379" y="26567"/>
                  <a:pt x="2492713" y="-1996"/>
                  <a:pt x="2567715" y="10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>
              <a:latin typeface="+mn-lt"/>
            </a:endParaRPr>
          </a:p>
        </p:txBody>
      </p:sp>
      <p:grpSp>
        <p:nvGrpSpPr>
          <p:cNvPr id="78" name="Group 77"/>
          <p:cNvGrpSpPr/>
          <p:nvPr/>
        </p:nvGrpSpPr>
        <p:grpSpPr>
          <a:xfrm>
            <a:off x="904571" y="1086742"/>
            <a:ext cx="7127112" cy="632769"/>
            <a:chOff x="302388" y="3300985"/>
            <a:chExt cx="7127112" cy="632769"/>
          </a:xfrm>
        </p:grpSpPr>
        <p:grpSp>
          <p:nvGrpSpPr>
            <p:cNvPr id="81" name="Group 80"/>
            <p:cNvGrpSpPr/>
            <p:nvPr/>
          </p:nvGrpSpPr>
          <p:grpSpPr>
            <a:xfrm>
              <a:off x="302388" y="3300985"/>
              <a:ext cx="7127112" cy="632769"/>
              <a:chOff x="302388" y="3697189"/>
              <a:chExt cx="7127112" cy="632769"/>
            </a:xfrm>
          </p:grpSpPr>
          <p:sp>
            <p:nvSpPr>
              <p:cNvPr id="100" name="Rectangle 31"/>
              <p:cNvSpPr>
                <a:spLocks noChangeArrowheads="1"/>
              </p:cNvSpPr>
              <p:nvPr/>
            </p:nvSpPr>
            <p:spPr bwMode="gray">
              <a:xfrm flipH="1">
                <a:off x="302388" y="3697189"/>
                <a:ext cx="331643" cy="632769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Rectangle 33"/>
              <p:cNvSpPr txBox="1">
                <a:spLocks noChangeArrowheads="1"/>
              </p:cNvSpPr>
              <p:nvPr/>
            </p:nvSpPr>
            <p:spPr bwMode="gray">
              <a:xfrm>
                <a:off x="1913445" y="3989466"/>
                <a:ext cx="5065752" cy="1846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342900" indent="-342900" algn="l" defTabSz="895350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12033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6605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177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5749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eaLnBrk="1" hangingPunct="1">
                  <a:buClr>
                    <a:srgbClr val="0A1B2B"/>
                  </a:buClr>
                </a:pPr>
                <a:r>
                  <a:rPr lang="en-US" sz="1200" b="1">
                    <a:solidFill>
                      <a:srgbClr val="0A1B2B"/>
                    </a:solidFill>
                  </a:rPr>
                  <a:t>…</a:t>
                </a:r>
              </a:p>
            </p:txBody>
          </p:sp>
          <p:sp>
            <p:nvSpPr>
              <p:cNvPr id="102" name="WordArt 19"/>
              <p:cNvSpPr>
                <a:spLocks noChangeArrowheads="1" noChangeShapeType="1" noTextEdit="1"/>
              </p:cNvSpPr>
              <p:nvPr/>
            </p:nvSpPr>
            <p:spPr bwMode="gray">
              <a:xfrm>
                <a:off x="374669" y="3853825"/>
                <a:ext cx="187081" cy="319495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800" kern="10" dirty="0">
                    <a:solidFill>
                      <a:srgbClr val="FFFFFF"/>
                    </a:solidFill>
                    <a:latin typeface="Arial Black"/>
                  </a:rPr>
                  <a:t>4</a:t>
                </a:r>
              </a:p>
            </p:txBody>
          </p:sp>
          <p:sp>
            <p:nvSpPr>
              <p:cNvPr id="103" name="Rectangle 28"/>
              <p:cNvSpPr>
                <a:spLocks noChangeArrowheads="1"/>
              </p:cNvSpPr>
              <p:nvPr/>
            </p:nvSpPr>
            <p:spPr bwMode="gray">
              <a:xfrm>
                <a:off x="1398917" y="3697189"/>
                <a:ext cx="6030583" cy="632769"/>
              </a:xfrm>
              <a:prstGeom prst="rect">
                <a:avLst/>
              </a:prstGeom>
              <a:solidFill>
                <a:schemeClr val="bg1"/>
              </a:solidFill>
              <a:ln w="9525" cmpd="sng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marL="0" lvl="1"/>
                <a:r>
                  <a:rPr lang="en-US" sz="1600" dirty="0">
                    <a:solidFill>
                      <a:srgbClr val="000000"/>
                    </a:solidFill>
                  </a:rPr>
                  <a:t>Describe how the Quarterly Review Process facilitates accurate </a:t>
                </a:r>
                <a:br>
                  <a:rPr lang="en-US" sz="1600" dirty="0">
                    <a:solidFill>
                      <a:srgbClr val="000000"/>
                    </a:solidFill>
                  </a:rPr>
                </a:br>
                <a:r>
                  <a:rPr lang="en-US" sz="1600" dirty="0">
                    <a:solidFill>
                      <a:srgbClr val="000000"/>
                    </a:solidFill>
                  </a:rPr>
                  <a:t>tracking of each project’s progress</a:t>
                </a:r>
              </a:p>
            </p:txBody>
          </p:sp>
          <p:sp>
            <p:nvSpPr>
              <p:cNvPr id="104" name="Rectangle 29"/>
              <p:cNvSpPr>
                <a:spLocks noChangeArrowheads="1"/>
              </p:cNvSpPr>
              <p:nvPr/>
            </p:nvSpPr>
            <p:spPr bwMode="gray">
              <a:xfrm>
                <a:off x="694991" y="3697189"/>
                <a:ext cx="707019" cy="63276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83" name="Picture 82"/>
            <p:cNvPicPr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804" y="3332014"/>
              <a:ext cx="560450" cy="560450"/>
            </a:xfrm>
            <a:prstGeom prst="rect">
              <a:avLst/>
            </a:prstGeom>
          </p:spPr>
        </p:pic>
        <p:sp>
          <p:nvSpPr>
            <p:cNvPr id="99" name="Oval 98"/>
            <p:cNvSpPr/>
            <p:nvPr/>
          </p:nvSpPr>
          <p:spPr>
            <a:xfrm>
              <a:off x="897334" y="3465544"/>
              <a:ext cx="293390" cy="293390"/>
            </a:xfrm>
            <a:prstGeom prst="ellipse">
              <a:avLst/>
            </a:prstGeom>
            <a:solidFill>
              <a:srgbClr val="899BAD"/>
            </a:solidFill>
            <a:ln w="9525">
              <a:solidFill>
                <a:srgbClr val="899BA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657661" name="Picture 25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69" y="1738900"/>
            <a:ext cx="7546157" cy="3072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11756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3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5" name="Group 94"/>
          <p:cNvGrpSpPr/>
          <p:nvPr/>
        </p:nvGrpSpPr>
        <p:grpSpPr>
          <a:xfrm>
            <a:off x="0" y="986404"/>
            <a:ext cx="9144000" cy="486719"/>
            <a:chOff x="0" y="895350"/>
            <a:chExt cx="9144000" cy="486719"/>
          </a:xfrm>
        </p:grpSpPr>
        <p:sp>
          <p:nvSpPr>
            <p:cNvPr id="96" name="Rectangle 95"/>
            <p:cNvSpPr>
              <a:spLocks/>
            </p:cNvSpPr>
            <p:nvPr/>
          </p:nvSpPr>
          <p:spPr>
            <a:xfrm>
              <a:off x="0" y="895350"/>
              <a:ext cx="9144000" cy="486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97" name="Straight Connector 96"/>
            <p:cNvCxnSpPr>
              <a:cxnSpLocks/>
            </p:cNvCxnSpPr>
            <p:nvPr/>
          </p:nvCxnSpPr>
          <p:spPr>
            <a:xfrm>
              <a:off x="0" y="895350"/>
              <a:ext cx="9144000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Key learning objectives </a:t>
            </a:r>
            <a:endParaRPr lang="en-US" dirty="0"/>
          </a:p>
        </p:txBody>
      </p:sp>
      <p:sp>
        <p:nvSpPr>
          <p:cNvPr id="20" name="StickerRectangle"/>
          <p:cNvSpPr>
            <a:spLocks noChangeArrowheads="1"/>
          </p:cNvSpPr>
          <p:nvPr/>
        </p:nvSpPr>
        <p:spPr bwMode="auto">
          <a:xfrm>
            <a:off x="7648435" y="4546966"/>
            <a:ext cx="1087372" cy="14288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581" tIns="0" rIns="0" bIns="19581">
            <a:spAutoFit/>
          </a:bodyPr>
          <a:lstStyle/>
          <a:p>
            <a:pPr algn="r" defTabSz="670461">
              <a:buClr>
                <a:srgbClr val="14385C"/>
              </a:buClr>
            </a:pPr>
            <a:r>
              <a:rPr lang="en-US" sz="800" dirty="0">
                <a:solidFill>
                  <a:srgbClr val="FFFFFF"/>
                </a:solidFill>
                <a:latin typeface="Arial"/>
              </a:rPr>
              <a:t>PRELIMINARY DRAFT</a:t>
            </a:r>
          </a:p>
        </p:txBody>
      </p:sp>
      <p:cxnSp>
        <p:nvCxnSpPr>
          <p:cNvPr id="21" name="AutoShape 31"/>
          <p:cNvCxnSpPr>
            <a:cxnSpLocks noChangeShapeType="1"/>
            <a:stCxn id="20" idx="2"/>
            <a:endCxn id="20" idx="4"/>
          </p:cNvCxnSpPr>
          <p:nvPr/>
        </p:nvCxnSpPr>
        <p:spPr bwMode="auto">
          <a:xfrm>
            <a:off x="7648435" y="4546966"/>
            <a:ext cx="0" cy="142883"/>
          </a:xfrm>
          <a:prstGeom prst="straightConnector1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" name="dtable157951861619949 10 146 100 262 17"/>
          <p:cNvSpPr txBox="1">
            <a:spLocks noChangeArrowheads="1"/>
          </p:cNvSpPr>
          <p:nvPr/>
        </p:nvSpPr>
        <p:spPr bwMode="auto">
          <a:xfrm>
            <a:off x="363349" y="629058"/>
            <a:ext cx="614124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19" indent="-201553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79730" indent="-274846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44637" indent="-163241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6pPr>
            <a:lvl7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7pPr>
            <a:lvl8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8pPr>
            <a:lvl9pPr marL="786757" indent="-136590" algn="l" defTabSz="93947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375"/>
              </a:spcBef>
              <a:buClr>
                <a:srgbClr val="14385C"/>
              </a:buClr>
            </a:pPr>
            <a:r>
              <a:rPr lang="en-US" sz="1800" b="1" dirty="0">
                <a:solidFill>
                  <a:schemeClr val="accent2"/>
                </a:solidFill>
              </a:rPr>
              <a:t>Participants should now be able to:</a:t>
            </a:r>
          </a:p>
        </p:txBody>
      </p:sp>
      <p:sp>
        <p:nvSpPr>
          <p:cNvPr id="62" name="Freeform 418"/>
          <p:cNvSpPr>
            <a:spLocks/>
          </p:cNvSpPr>
          <p:nvPr/>
        </p:nvSpPr>
        <p:spPr bwMode="auto">
          <a:xfrm>
            <a:off x="1046359" y="2148609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19"/>
          <p:cNvSpPr>
            <a:spLocks/>
          </p:cNvSpPr>
          <p:nvPr/>
        </p:nvSpPr>
        <p:spPr bwMode="auto">
          <a:xfrm>
            <a:off x="1046359" y="2186868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420"/>
          <p:cNvSpPr>
            <a:spLocks/>
          </p:cNvSpPr>
          <p:nvPr/>
        </p:nvSpPr>
        <p:spPr bwMode="auto">
          <a:xfrm>
            <a:off x="958586" y="2119337"/>
            <a:ext cx="81021" cy="81021"/>
          </a:xfrm>
          <a:custGeom>
            <a:avLst/>
            <a:gdLst>
              <a:gd name="T0" fmla="*/ 40 w 41"/>
              <a:gd name="T1" fmla="*/ 4 h 41"/>
              <a:gd name="T2" fmla="*/ 20 w 41"/>
              <a:gd name="T3" fmla="*/ 36 h 41"/>
              <a:gd name="T4" fmla="*/ 19 w 41"/>
              <a:gd name="T5" fmla="*/ 37 h 41"/>
              <a:gd name="T6" fmla="*/ 17 w 41"/>
              <a:gd name="T7" fmla="*/ 38 h 41"/>
              <a:gd name="T8" fmla="*/ 13 w 41"/>
              <a:gd name="T9" fmla="*/ 41 h 41"/>
              <a:gd name="T10" fmla="*/ 12 w 41"/>
              <a:gd name="T11" fmla="*/ 41 h 41"/>
              <a:gd name="T12" fmla="*/ 12 w 41"/>
              <a:gd name="T13" fmla="*/ 41 h 41"/>
              <a:gd name="T14" fmla="*/ 11 w 41"/>
              <a:gd name="T15" fmla="*/ 41 h 41"/>
              <a:gd name="T16" fmla="*/ 10 w 41"/>
              <a:gd name="T17" fmla="*/ 36 h 41"/>
              <a:gd name="T18" fmla="*/ 9 w 41"/>
              <a:gd name="T19" fmla="*/ 34 h 41"/>
              <a:gd name="T20" fmla="*/ 4 w 41"/>
              <a:gd name="T21" fmla="*/ 25 h 41"/>
              <a:gd name="T22" fmla="*/ 1 w 41"/>
              <a:gd name="T23" fmla="*/ 22 h 41"/>
              <a:gd name="T24" fmla="*/ 0 w 41"/>
              <a:gd name="T25" fmla="*/ 21 h 41"/>
              <a:gd name="T26" fmla="*/ 0 w 41"/>
              <a:gd name="T27" fmla="*/ 20 h 41"/>
              <a:gd name="T28" fmla="*/ 6 w 41"/>
              <a:gd name="T29" fmla="*/ 17 h 41"/>
              <a:gd name="T30" fmla="*/ 14 w 41"/>
              <a:gd name="T31" fmla="*/ 26 h 41"/>
              <a:gd name="T32" fmla="*/ 14 w 41"/>
              <a:gd name="T33" fmla="*/ 27 h 41"/>
              <a:gd name="T34" fmla="*/ 38 w 41"/>
              <a:gd name="T35" fmla="*/ 0 h 41"/>
              <a:gd name="T36" fmla="*/ 40 w 41"/>
              <a:gd name="T37" fmla="*/ 0 h 41"/>
              <a:gd name="T38" fmla="*/ 41 w 41"/>
              <a:gd name="T39" fmla="*/ 2 h 41"/>
              <a:gd name="T40" fmla="*/ 40 w 41"/>
              <a:gd name="T41" fmla="*/ 4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" h="41">
                <a:moveTo>
                  <a:pt x="40" y="4"/>
                </a:moveTo>
                <a:cubicBezTo>
                  <a:pt x="28" y="12"/>
                  <a:pt x="20" y="27"/>
                  <a:pt x="20" y="36"/>
                </a:cubicBezTo>
                <a:cubicBezTo>
                  <a:pt x="20" y="36"/>
                  <a:pt x="19" y="37"/>
                  <a:pt x="19" y="37"/>
                </a:cubicBezTo>
                <a:cubicBezTo>
                  <a:pt x="17" y="38"/>
                  <a:pt x="17" y="38"/>
                  <a:pt x="17" y="38"/>
                </a:cubicBezTo>
                <a:cubicBezTo>
                  <a:pt x="15" y="39"/>
                  <a:pt x="14" y="40"/>
                  <a:pt x="13" y="41"/>
                </a:cubicBezTo>
                <a:cubicBezTo>
                  <a:pt x="13" y="41"/>
                  <a:pt x="13" y="41"/>
                  <a:pt x="12" y="41"/>
                </a:cubicBezTo>
                <a:cubicBezTo>
                  <a:pt x="12" y="41"/>
                  <a:pt x="12" y="41"/>
                  <a:pt x="12" y="41"/>
                </a:cubicBezTo>
                <a:cubicBezTo>
                  <a:pt x="12" y="41"/>
                  <a:pt x="11" y="41"/>
                  <a:pt x="11" y="41"/>
                </a:cubicBezTo>
                <a:cubicBezTo>
                  <a:pt x="11" y="40"/>
                  <a:pt x="11" y="38"/>
                  <a:pt x="10" y="36"/>
                </a:cubicBezTo>
                <a:cubicBezTo>
                  <a:pt x="9" y="34"/>
                  <a:pt x="9" y="34"/>
                  <a:pt x="9" y="34"/>
                </a:cubicBezTo>
                <a:cubicBezTo>
                  <a:pt x="7" y="30"/>
                  <a:pt x="6" y="27"/>
                  <a:pt x="4" y="25"/>
                </a:cubicBezTo>
                <a:cubicBezTo>
                  <a:pt x="3" y="23"/>
                  <a:pt x="2" y="22"/>
                  <a:pt x="1" y="22"/>
                </a:cubicBezTo>
                <a:cubicBezTo>
                  <a:pt x="1" y="22"/>
                  <a:pt x="0" y="22"/>
                  <a:pt x="0" y="21"/>
                </a:cubicBezTo>
                <a:cubicBezTo>
                  <a:pt x="0" y="21"/>
                  <a:pt x="0" y="21"/>
                  <a:pt x="0" y="20"/>
                </a:cubicBezTo>
                <a:cubicBezTo>
                  <a:pt x="3" y="18"/>
                  <a:pt x="5" y="17"/>
                  <a:pt x="6" y="17"/>
                </a:cubicBezTo>
                <a:cubicBezTo>
                  <a:pt x="9" y="17"/>
                  <a:pt x="11" y="20"/>
                  <a:pt x="14" y="26"/>
                </a:cubicBezTo>
                <a:cubicBezTo>
                  <a:pt x="14" y="27"/>
                  <a:pt x="14" y="27"/>
                  <a:pt x="14" y="27"/>
                </a:cubicBezTo>
                <a:cubicBezTo>
                  <a:pt x="17" y="18"/>
                  <a:pt x="27" y="5"/>
                  <a:pt x="38" y="0"/>
                </a:cubicBezTo>
                <a:cubicBezTo>
                  <a:pt x="39" y="0"/>
                  <a:pt x="39" y="0"/>
                  <a:pt x="40" y="0"/>
                </a:cubicBezTo>
                <a:cubicBezTo>
                  <a:pt x="41" y="2"/>
                  <a:pt x="41" y="2"/>
                  <a:pt x="41" y="2"/>
                </a:cubicBezTo>
                <a:cubicBezTo>
                  <a:pt x="41" y="3"/>
                  <a:pt x="41" y="3"/>
                  <a:pt x="40" y="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21"/>
          <p:cNvSpPr>
            <a:spLocks noEditPoints="1"/>
          </p:cNvSpPr>
          <p:nvPr/>
        </p:nvSpPr>
        <p:spPr bwMode="auto">
          <a:xfrm>
            <a:off x="951834" y="2144094"/>
            <a:ext cx="67518" cy="63016"/>
          </a:xfrm>
          <a:custGeom>
            <a:avLst/>
            <a:gdLst>
              <a:gd name="T0" fmla="*/ 33 w 35"/>
              <a:gd name="T1" fmla="*/ 33 h 33"/>
              <a:gd name="T2" fmla="*/ 2 w 35"/>
              <a:gd name="T3" fmla="*/ 33 h 33"/>
              <a:gd name="T4" fmla="*/ 0 w 35"/>
              <a:gd name="T5" fmla="*/ 31 h 33"/>
              <a:gd name="T6" fmla="*/ 0 w 35"/>
              <a:gd name="T7" fmla="*/ 1 h 33"/>
              <a:gd name="T8" fmla="*/ 2 w 35"/>
              <a:gd name="T9" fmla="*/ 0 h 33"/>
              <a:gd name="T10" fmla="*/ 33 w 35"/>
              <a:gd name="T11" fmla="*/ 0 h 33"/>
              <a:gd name="T12" fmla="*/ 35 w 35"/>
              <a:gd name="T13" fmla="*/ 1 h 33"/>
              <a:gd name="T14" fmla="*/ 35 w 35"/>
              <a:gd name="T15" fmla="*/ 31 h 33"/>
              <a:gd name="T16" fmla="*/ 33 w 35"/>
              <a:gd name="T17" fmla="*/ 33 h 33"/>
              <a:gd name="T18" fmla="*/ 4 w 35"/>
              <a:gd name="T19" fmla="*/ 30 h 33"/>
              <a:gd name="T20" fmla="*/ 31 w 35"/>
              <a:gd name="T21" fmla="*/ 30 h 33"/>
              <a:gd name="T22" fmla="*/ 31 w 35"/>
              <a:gd name="T23" fmla="*/ 3 h 33"/>
              <a:gd name="T24" fmla="*/ 4 w 35"/>
              <a:gd name="T25" fmla="*/ 3 h 33"/>
              <a:gd name="T26" fmla="*/ 4 w 35"/>
              <a:gd name="T27" fmla="*/ 3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3">
                <a:moveTo>
                  <a:pt x="33" y="33"/>
                </a:moveTo>
                <a:cubicBezTo>
                  <a:pt x="2" y="33"/>
                  <a:pt x="2" y="33"/>
                  <a:pt x="2" y="33"/>
                </a:cubicBezTo>
                <a:cubicBezTo>
                  <a:pt x="1" y="33"/>
                  <a:pt x="0" y="32"/>
                  <a:pt x="0" y="3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0"/>
                  <a:pt x="35" y="1"/>
                </a:cubicBezTo>
                <a:cubicBezTo>
                  <a:pt x="35" y="31"/>
                  <a:pt x="35" y="31"/>
                  <a:pt x="35" y="31"/>
                </a:cubicBezTo>
                <a:cubicBezTo>
                  <a:pt x="35" y="32"/>
                  <a:pt x="34" y="33"/>
                  <a:pt x="33" y="33"/>
                </a:cubicBezTo>
                <a:close/>
                <a:moveTo>
                  <a:pt x="4" y="30"/>
                </a:moveTo>
                <a:cubicBezTo>
                  <a:pt x="31" y="30"/>
                  <a:pt x="31" y="30"/>
                  <a:pt x="31" y="30"/>
                </a:cubicBezTo>
                <a:cubicBezTo>
                  <a:pt x="31" y="3"/>
                  <a:pt x="31" y="3"/>
                  <a:pt x="31" y="3"/>
                </a:cubicBezTo>
                <a:cubicBezTo>
                  <a:pt x="4" y="3"/>
                  <a:pt x="4" y="3"/>
                  <a:pt x="4" y="3"/>
                </a:cubicBezTo>
                <a:lnTo>
                  <a:pt x="4" y="3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23"/>
          <p:cNvSpPr>
            <a:spLocks/>
          </p:cNvSpPr>
          <p:nvPr/>
        </p:nvSpPr>
        <p:spPr bwMode="auto">
          <a:xfrm>
            <a:off x="1046359" y="2258886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424"/>
          <p:cNvSpPr>
            <a:spLocks/>
          </p:cNvSpPr>
          <p:nvPr/>
        </p:nvSpPr>
        <p:spPr bwMode="auto">
          <a:xfrm>
            <a:off x="1046359" y="2299397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Freeform 425"/>
          <p:cNvSpPr>
            <a:spLocks/>
          </p:cNvSpPr>
          <p:nvPr/>
        </p:nvSpPr>
        <p:spPr bwMode="auto">
          <a:xfrm>
            <a:off x="958586" y="2229616"/>
            <a:ext cx="81021" cy="81021"/>
          </a:xfrm>
          <a:custGeom>
            <a:avLst/>
            <a:gdLst>
              <a:gd name="T0" fmla="*/ 40 w 41"/>
              <a:gd name="T1" fmla="*/ 4 h 41"/>
              <a:gd name="T2" fmla="*/ 20 w 41"/>
              <a:gd name="T3" fmla="*/ 36 h 41"/>
              <a:gd name="T4" fmla="*/ 19 w 41"/>
              <a:gd name="T5" fmla="*/ 37 h 41"/>
              <a:gd name="T6" fmla="*/ 17 w 41"/>
              <a:gd name="T7" fmla="*/ 38 h 41"/>
              <a:gd name="T8" fmla="*/ 13 w 41"/>
              <a:gd name="T9" fmla="*/ 41 h 41"/>
              <a:gd name="T10" fmla="*/ 12 w 41"/>
              <a:gd name="T11" fmla="*/ 41 h 41"/>
              <a:gd name="T12" fmla="*/ 12 w 41"/>
              <a:gd name="T13" fmla="*/ 41 h 41"/>
              <a:gd name="T14" fmla="*/ 11 w 41"/>
              <a:gd name="T15" fmla="*/ 40 h 41"/>
              <a:gd name="T16" fmla="*/ 10 w 41"/>
              <a:gd name="T17" fmla="*/ 36 h 41"/>
              <a:gd name="T18" fmla="*/ 9 w 41"/>
              <a:gd name="T19" fmla="*/ 34 h 41"/>
              <a:gd name="T20" fmla="*/ 4 w 41"/>
              <a:gd name="T21" fmla="*/ 25 h 41"/>
              <a:gd name="T22" fmla="*/ 1 w 41"/>
              <a:gd name="T23" fmla="*/ 22 h 41"/>
              <a:gd name="T24" fmla="*/ 0 w 41"/>
              <a:gd name="T25" fmla="*/ 21 h 41"/>
              <a:gd name="T26" fmla="*/ 0 w 41"/>
              <a:gd name="T27" fmla="*/ 20 h 41"/>
              <a:gd name="T28" fmla="*/ 6 w 41"/>
              <a:gd name="T29" fmla="*/ 17 h 41"/>
              <a:gd name="T30" fmla="*/ 14 w 41"/>
              <a:gd name="T31" fmla="*/ 26 h 41"/>
              <a:gd name="T32" fmla="*/ 14 w 41"/>
              <a:gd name="T33" fmla="*/ 27 h 41"/>
              <a:gd name="T34" fmla="*/ 38 w 41"/>
              <a:gd name="T35" fmla="*/ 0 h 41"/>
              <a:gd name="T36" fmla="*/ 40 w 41"/>
              <a:gd name="T37" fmla="*/ 0 h 41"/>
              <a:gd name="T38" fmla="*/ 41 w 41"/>
              <a:gd name="T39" fmla="*/ 2 h 41"/>
              <a:gd name="T40" fmla="*/ 40 w 41"/>
              <a:gd name="T41" fmla="*/ 4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" h="41">
                <a:moveTo>
                  <a:pt x="40" y="4"/>
                </a:moveTo>
                <a:cubicBezTo>
                  <a:pt x="28" y="12"/>
                  <a:pt x="20" y="27"/>
                  <a:pt x="20" y="36"/>
                </a:cubicBezTo>
                <a:cubicBezTo>
                  <a:pt x="20" y="36"/>
                  <a:pt x="19" y="37"/>
                  <a:pt x="19" y="37"/>
                </a:cubicBezTo>
                <a:cubicBezTo>
                  <a:pt x="17" y="38"/>
                  <a:pt x="17" y="38"/>
                  <a:pt x="17" y="38"/>
                </a:cubicBezTo>
                <a:cubicBezTo>
                  <a:pt x="15" y="39"/>
                  <a:pt x="14" y="40"/>
                  <a:pt x="13" y="41"/>
                </a:cubicBezTo>
                <a:cubicBezTo>
                  <a:pt x="13" y="41"/>
                  <a:pt x="13" y="41"/>
                  <a:pt x="12" y="41"/>
                </a:cubicBezTo>
                <a:cubicBezTo>
                  <a:pt x="12" y="41"/>
                  <a:pt x="12" y="41"/>
                  <a:pt x="12" y="41"/>
                </a:cubicBezTo>
                <a:cubicBezTo>
                  <a:pt x="12" y="41"/>
                  <a:pt x="11" y="41"/>
                  <a:pt x="11" y="40"/>
                </a:cubicBezTo>
                <a:cubicBezTo>
                  <a:pt x="11" y="40"/>
                  <a:pt x="11" y="38"/>
                  <a:pt x="10" y="36"/>
                </a:cubicBezTo>
                <a:cubicBezTo>
                  <a:pt x="9" y="34"/>
                  <a:pt x="9" y="34"/>
                  <a:pt x="9" y="34"/>
                </a:cubicBezTo>
                <a:cubicBezTo>
                  <a:pt x="7" y="30"/>
                  <a:pt x="6" y="26"/>
                  <a:pt x="4" y="25"/>
                </a:cubicBezTo>
                <a:cubicBezTo>
                  <a:pt x="3" y="23"/>
                  <a:pt x="2" y="22"/>
                  <a:pt x="1" y="22"/>
                </a:cubicBezTo>
                <a:cubicBezTo>
                  <a:pt x="1" y="22"/>
                  <a:pt x="0" y="22"/>
                  <a:pt x="0" y="21"/>
                </a:cubicBezTo>
                <a:cubicBezTo>
                  <a:pt x="0" y="21"/>
                  <a:pt x="0" y="21"/>
                  <a:pt x="0" y="20"/>
                </a:cubicBezTo>
                <a:cubicBezTo>
                  <a:pt x="3" y="18"/>
                  <a:pt x="5" y="17"/>
                  <a:pt x="6" y="17"/>
                </a:cubicBezTo>
                <a:cubicBezTo>
                  <a:pt x="9" y="17"/>
                  <a:pt x="11" y="20"/>
                  <a:pt x="14" y="26"/>
                </a:cubicBezTo>
                <a:cubicBezTo>
                  <a:pt x="14" y="27"/>
                  <a:pt x="14" y="27"/>
                  <a:pt x="14" y="27"/>
                </a:cubicBezTo>
                <a:cubicBezTo>
                  <a:pt x="17" y="18"/>
                  <a:pt x="27" y="5"/>
                  <a:pt x="38" y="0"/>
                </a:cubicBezTo>
                <a:cubicBezTo>
                  <a:pt x="39" y="0"/>
                  <a:pt x="39" y="0"/>
                  <a:pt x="40" y="0"/>
                </a:cubicBezTo>
                <a:cubicBezTo>
                  <a:pt x="41" y="2"/>
                  <a:pt x="41" y="2"/>
                  <a:pt x="41" y="2"/>
                </a:cubicBezTo>
                <a:cubicBezTo>
                  <a:pt x="41" y="3"/>
                  <a:pt x="41" y="3"/>
                  <a:pt x="40" y="4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426"/>
          <p:cNvSpPr>
            <a:spLocks noEditPoints="1"/>
          </p:cNvSpPr>
          <p:nvPr/>
        </p:nvSpPr>
        <p:spPr bwMode="auto">
          <a:xfrm>
            <a:off x="951834" y="2254371"/>
            <a:ext cx="67518" cy="63016"/>
          </a:xfrm>
          <a:custGeom>
            <a:avLst/>
            <a:gdLst>
              <a:gd name="T0" fmla="*/ 33 w 35"/>
              <a:gd name="T1" fmla="*/ 33 h 33"/>
              <a:gd name="T2" fmla="*/ 2 w 35"/>
              <a:gd name="T3" fmla="*/ 33 h 33"/>
              <a:gd name="T4" fmla="*/ 0 w 35"/>
              <a:gd name="T5" fmla="*/ 31 h 33"/>
              <a:gd name="T6" fmla="*/ 0 w 35"/>
              <a:gd name="T7" fmla="*/ 1 h 33"/>
              <a:gd name="T8" fmla="*/ 2 w 35"/>
              <a:gd name="T9" fmla="*/ 0 h 33"/>
              <a:gd name="T10" fmla="*/ 33 w 35"/>
              <a:gd name="T11" fmla="*/ 0 h 33"/>
              <a:gd name="T12" fmla="*/ 35 w 35"/>
              <a:gd name="T13" fmla="*/ 1 h 33"/>
              <a:gd name="T14" fmla="*/ 35 w 35"/>
              <a:gd name="T15" fmla="*/ 31 h 33"/>
              <a:gd name="T16" fmla="*/ 33 w 35"/>
              <a:gd name="T17" fmla="*/ 33 h 33"/>
              <a:gd name="T18" fmla="*/ 4 w 35"/>
              <a:gd name="T19" fmla="*/ 30 h 33"/>
              <a:gd name="T20" fmla="*/ 31 w 35"/>
              <a:gd name="T21" fmla="*/ 30 h 33"/>
              <a:gd name="T22" fmla="*/ 31 w 35"/>
              <a:gd name="T23" fmla="*/ 3 h 33"/>
              <a:gd name="T24" fmla="*/ 4 w 35"/>
              <a:gd name="T25" fmla="*/ 3 h 33"/>
              <a:gd name="T26" fmla="*/ 4 w 35"/>
              <a:gd name="T27" fmla="*/ 3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3">
                <a:moveTo>
                  <a:pt x="33" y="33"/>
                </a:moveTo>
                <a:cubicBezTo>
                  <a:pt x="2" y="33"/>
                  <a:pt x="2" y="33"/>
                  <a:pt x="2" y="33"/>
                </a:cubicBezTo>
                <a:cubicBezTo>
                  <a:pt x="1" y="33"/>
                  <a:pt x="0" y="32"/>
                  <a:pt x="0" y="3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0"/>
                  <a:pt x="35" y="1"/>
                </a:cubicBezTo>
                <a:cubicBezTo>
                  <a:pt x="35" y="31"/>
                  <a:pt x="35" y="31"/>
                  <a:pt x="35" y="31"/>
                </a:cubicBezTo>
                <a:cubicBezTo>
                  <a:pt x="35" y="32"/>
                  <a:pt x="34" y="33"/>
                  <a:pt x="33" y="33"/>
                </a:cubicBezTo>
                <a:close/>
                <a:moveTo>
                  <a:pt x="4" y="30"/>
                </a:moveTo>
                <a:cubicBezTo>
                  <a:pt x="31" y="30"/>
                  <a:pt x="31" y="30"/>
                  <a:pt x="31" y="30"/>
                </a:cubicBezTo>
                <a:cubicBezTo>
                  <a:pt x="31" y="3"/>
                  <a:pt x="31" y="3"/>
                  <a:pt x="31" y="3"/>
                </a:cubicBezTo>
                <a:cubicBezTo>
                  <a:pt x="4" y="3"/>
                  <a:pt x="4" y="3"/>
                  <a:pt x="4" y="3"/>
                </a:cubicBezTo>
                <a:lnTo>
                  <a:pt x="4" y="3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Freeform 427"/>
          <p:cNvSpPr>
            <a:spLocks/>
          </p:cNvSpPr>
          <p:nvPr/>
        </p:nvSpPr>
        <p:spPr bwMode="auto">
          <a:xfrm>
            <a:off x="1046359" y="2371415"/>
            <a:ext cx="153040" cy="1575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428"/>
          <p:cNvSpPr>
            <a:spLocks/>
          </p:cNvSpPr>
          <p:nvPr/>
        </p:nvSpPr>
        <p:spPr bwMode="auto">
          <a:xfrm>
            <a:off x="1046359" y="2409675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429"/>
          <p:cNvSpPr>
            <a:spLocks/>
          </p:cNvSpPr>
          <p:nvPr/>
        </p:nvSpPr>
        <p:spPr bwMode="auto">
          <a:xfrm>
            <a:off x="958586" y="2339893"/>
            <a:ext cx="81021" cy="81021"/>
          </a:xfrm>
          <a:custGeom>
            <a:avLst/>
            <a:gdLst>
              <a:gd name="T0" fmla="*/ 40 w 41"/>
              <a:gd name="T1" fmla="*/ 5 h 42"/>
              <a:gd name="T2" fmla="*/ 20 w 41"/>
              <a:gd name="T3" fmla="*/ 37 h 42"/>
              <a:gd name="T4" fmla="*/ 19 w 41"/>
              <a:gd name="T5" fmla="*/ 38 h 42"/>
              <a:gd name="T6" fmla="*/ 17 w 41"/>
              <a:gd name="T7" fmla="*/ 39 h 42"/>
              <a:gd name="T8" fmla="*/ 13 w 41"/>
              <a:gd name="T9" fmla="*/ 42 h 42"/>
              <a:gd name="T10" fmla="*/ 12 w 41"/>
              <a:gd name="T11" fmla="*/ 42 h 42"/>
              <a:gd name="T12" fmla="*/ 12 w 41"/>
              <a:gd name="T13" fmla="*/ 42 h 42"/>
              <a:gd name="T14" fmla="*/ 11 w 41"/>
              <a:gd name="T15" fmla="*/ 41 h 42"/>
              <a:gd name="T16" fmla="*/ 10 w 41"/>
              <a:gd name="T17" fmla="*/ 37 h 42"/>
              <a:gd name="T18" fmla="*/ 9 w 41"/>
              <a:gd name="T19" fmla="*/ 35 h 42"/>
              <a:gd name="T20" fmla="*/ 4 w 41"/>
              <a:gd name="T21" fmla="*/ 26 h 42"/>
              <a:gd name="T22" fmla="*/ 1 w 41"/>
              <a:gd name="T23" fmla="*/ 23 h 42"/>
              <a:gd name="T24" fmla="*/ 0 w 41"/>
              <a:gd name="T25" fmla="*/ 22 h 42"/>
              <a:gd name="T26" fmla="*/ 0 w 41"/>
              <a:gd name="T27" fmla="*/ 21 h 42"/>
              <a:gd name="T28" fmla="*/ 6 w 41"/>
              <a:gd name="T29" fmla="*/ 18 h 42"/>
              <a:gd name="T30" fmla="*/ 14 w 41"/>
              <a:gd name="T31" fmla="*/ 27 h 42"/>
              <a:gd name="T32" fmla="*/ 14 w 41"/>
              <a:gd name="T33" fmla="*/ 28 h 42"/>
              <a:gd name="T34" fmla="*/ 38 w 41"/>
              <a:gd name="T35" fmla="*/ 1 h 42"/>
              <a:gd name="T36" fmla="*/ 40 w 41"/>
              <a:gd name="T37" fmla="*/ 1 h 42"/>
              <a:gd name="T38" fmla="*/ 41 w 41"/>
              <a:gd name="T39" fmla="*/ 3 h 42"/>
              <a:gd name="T40" fmla="*/ 40 w 41"/>
              <a:gd name="T41" fmla="*/ 5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1" h="42">
                <a:moveTo>
                  <a:pt x="40" y="5"/>
                </a:moveTo>
                <a:cubicBezTo>
                  <a:pt x="28" y="13"/>
                  <a:pt x="20" y="28"/>
                  <a:pt x="20" y="37"/>
                </a:cubicBezTo>
                <a:cubicBezTo>
                  <a:pt x="20" y="37"/>
                  <a:pt x="19" y="38"/>
                  <a:pt x="19" y="38"/>
                </a:cubicBezTo>
                <a:cubicBezTo>
                  <a:pt x="17" y="39"/>
                  <a:pt x="17" y="39"/>
                  <a:pt x="17" y="39"/>
                </a:cubicBezTo>
                <a:cubicBezTo>
                  <a:pt x="15" y="40"/>
                  <a:pt x="14" y="41"/>
                  <a:pt x="13" y="42"/>
                </a:cubicBezTo>
                <a:cubicBezTo>
                  <a:pt x="13" y="42"/>
                  <a:pt x="13" y="42"/>
                  <a:pt x="12" y="42"/>
                </a:cubicBezTo>
                <a:cubicBezTo>
                  <a:pt x="12" y="42"/>
                  <a:pt x="12" y="42"/>
                  <a:pt x="12" y="42"/>
                </a:cubicBezTo>
                <a:cubicBezTo>
                  <a:pt x="12" y="42"/>
                  <a:pt x="11" y="42"/>
                  <a:pt x="11" y="41"/>
                </a:cubicBezTo>
                <a:cubicBezTo>
                  <a:pt x="11" y="41"/>
                  <a:pt x="11" y="39"/>
                  <a:pt x="10" y="37"/>
                </a:cubicBezTo>
                <a:cubicBezTo>
                  <a:pt x="9" y="35"/>
                  <a:pt x="9" y="35"/>
                  <a:pt x="9" y="35"/>
                </a:cubicBezTo>
                <a:cubicBezTo>
                  <a:pt x="7" y="31"/>
                  <a:pt x="6" y="27"/>
                  <a:pt x="4" y="26"/>
                </a:cubicBezTo>
                <a:cubicBezTo>
                  <a:pt x="3" y="24"/>
                  <a:pt x="2" y="23"/>
                  <a:pt x="1" y="23"/>
                </a:cubicBezTo>
                <a:cubicBezTo>
                  <a:pt x="1" y="23"/>
                  <a:pt x="0" y="23"/>
                  <a:pt x="0" y="22"/>
                </a:cubicBezTo>
                <a:cubicBezTo>
                  <a:pt x="0" y="22"/>
                  <a:pt x="0" y="22"/>
                  <a:pt x="0" y="21"/>
                </a:cubicBezTo>
                <a:cubicBezTo>
                  <a:pt x="3" y="19"/>
                  <a:pt x="5" y="18"/>
                  <a:pt x="6" y="18"/>
                </a:cubicBezTo>
                <a:cubicBezTo>
                  <a:pt x="9" y="18"/>
                  <a:pt x="11" y="21"/>
                  <a:pt x="14" y="27"/>
                </a:cubicBezTo>
                <a:cubicBezTo>
                  <a:pt x="14" y="28"/>
                  <a:pt x="14" y="28"/>
                  <a:pt x="14" y="28"/>
                </a:cubicBezTo>
                <a:cubicBezTo>
                  <a:pt x="17" y="19"/>
                  <a:pt x="27" y="6"/>
                  <a:pt x="38" y="1"/>
                </a:cubicBezTo>
                <a:cubicBezTo>
                  <a:pt x="39" y="0"/>
                  <a:pt x="39" y="1"/>
                  <a:pt x="40" y="1"/>
                </a:cubicBezTo>
                <a:cubicBezTo>
                  <a:pt x="41" y="3"/>
                  <a:pt x="41" y="3"/>
                  <a:pt x="41" y="3"/>
                </a:cubicBezTo>
                <a:cubicBezTo>
                  <a:pt x="41" y="4"/>
                  <a:pt x="41" y="4"/>
                  <a:pt x="40" y="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430"/>
          <p:cNvSpPr>
            <a:spLocks noEditPoints="1"/>
          </p:cNvSpPr>
          <p:nvPr/>
        </p:nvSpPr>
        <p:spPr bwMode="auto">
          <a:xfrm>
            <a:off x="951834" y="2362413"/>
            <a:ext cx="67518" cy="67517"/>
          </a:xfrm>
          <a:custGeom>
            <a:avLst/>
            <a:gdLst>
              <a:gd name="T0" fmla="*/ 33 w 35"/>
              <a:gd name="T1" fmla="*/ 34 h 34"/>
              <a:gd name="T2" fmla="*/ 2 w 35"/>
              <a:gd name="T3" fmla="*/ 34 h 34"/>
              <a:gd name="T4" fmla="*/ 0 w 35"/>
              <a:gd name="T5" fmla="*/ 32 h 34"/>
              <a:gd name="T6" fmla="*/ 0 w 35"/>
              <a:gd name="T7" fmla="*/ 2 h 34"/>
              <a:gd name="T8" fmla="*/ 2 w 35"/>
              <a:gd name="T9" fmla="*/ 0 h 34"/>
              <a:gd name="T10" fmla="*/ 33 w 35"/>
              <a:gd name="T11" fmla="*/ 0 h 34"/>
              <a:gd name="T12" fmla="*/ 35 w 35"/>
              <a:gd name="T13" fmla="*/ 2 h 34"/>
              <a:gd name="T14" fmla="*/ 35 w 35"/>
              <a:gd name="T15" fmla="*/ 32 h 34"/>
              <a:gd name="T16" fmla="*/ 33 w 35"/>
              <a:gd name="T17" fmla="*/ 34 h 34"/>
              <a:gd name="T18" fmla="*/ 4 w 35"/>
              <a:gd name="T19" fmla="*/ 31 h 34"/>
              <a:gd name="T20" fmla="*/ 31 w 35"/>
              <a:gd name="T21" fmla="*/ 31 h 34"/>
              <a:gd name="T22" fmla="*/ 31 w 35"/>
              <a:gd name="T23" fmla="*/ 4 h 34"/>
              <a:gd name="T24" fmla="*/ 4 w 35"/>
              <a:gd name="T25" fmla="*/ 4 h 34"/>
              <a:gd name="T26" fmla="*/ 4 w 35"/>
              <a:gd name="T27" fmla="*/ 3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4">
                <a:moveTo>
                  <a:pt x="33" y="34"/>
                </a:moveTo>
                <a:cubicBezTo>
                  <a:pt x="2" y="34"/>
                  <a:pt x="2" y="34"/>
                  <a:pt x="2" y="34"/>
                </a:cubicBezTo>
                <a:cubicBezTo>
                  <a:pt x="1" y="34"/>
                  <a:pt x="0" y="33"/>
                  <a:pt x="0" y="3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1"/>
                  <a:pt x="35" y="2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3"/>
                  <a:pt x="34" y="34"/>
                  <a:pt x="33" y="34"/>
                </a:cubicBezTo>
                <a:close/>
                <a:moveTo>
                  <a:pt x="4" y="31"/>
                </a:moveTo>
                <a:cubicBezTo>
                  <a:pt x="31" y="31"/>
                  <a:pt x="31" y="31"/>
                  <a:pt x="31" y="31"/>
                </a:cubicBezTo>
                <a:cubicBezTo>
                  <a:pt x="31" y="4"/>
                  <a:pt x="31" y="4"/>
                  <a:pt x="31" y="4"/>
                </a:cubicBezTo>
                <a:cubicBezTo>
                  <a:pt x="4" y="4"/>
                  <a:pt x="4" y="4"/>
                  <a:pt x="4" y="4"/>
                </a:cubicBezTo>
                <a:lnTo>
                  <a:pt x="4" y="3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431"/>
          <p:cNvSpPr>
            <a:spLocks/>
          </p:cNvSpPr>
          <p:nvPr/>
        </p:nvSpPr>
        <p:spPr bwMode="auto">
          <a:xfrm>
            <a:off x="1046359" y="2481694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432"/>
          <p:cNvSpPr>
            <a:spLocks/>
          </p:cNvSpPr>
          <p:nvPr/>
        </p:nvSpPr>
        <p:spPr bwMode="auto">
          <a:xfrm>
            <a:off x="1046359" y="2519953"/>
            <a:ext cx="153040" cy="18005"/>
          </a:xfrm>
          <a:custGeom>
            <a:avLst/>
            <a:gdLst>
              <a:gd name="T0" fmla="*/ 74 w 78"/>
              <a:gd name="T1" fmla="*/ 9 h 9"/>
              <a:gd name="T2" fmla="*/ 4 w 78"/>
              <a:gd name="T3" fmla="*/ 9 h 9"/>
              <a:gd name="T4" fmla="*/ 0 w 78"/>
              <a:gd name="T5" fmla="*/ 5 h 9"/>
              <a:gd name="T6" fmla="*/ 4 w 78"/>
              <a:gd name="T7" fmla="*/ 0 h 9"/>
              <a:gd name="T8" fmla="*/ 74 w 78"/>
              <a:gd name="T9" fmla="*/ 0 h 9"/>
              <a:gd name="T10" fmla="*/ 78 w 78"/>
              <a:gd name="T11" fmla="*/ 5 h 9"/>
              <a:gd name="T12" fmla="*/ 74 w 78"/>
              <a:gd name="T13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" h="9">
                <a:moveTo>
                  <a:pt x="74" y="9"/>
                </a:moveTo>
                <a:cubicBezTo>
                  <a:pt x="4" y="9"/>
                  <a:pt x="4" y="9"/>
                  <a:pt x="4" y="9"/>
                </a:cubicBezTo>
                <a:cubicBezTo>
                  <a:pt x="2" y="9"/>
                  <a:pt x="0" y="7"/>
                  <a:pt x="0" y="5"/>
                </a:cubicBezTo>
                <a:cubicBezTo>
                  <a:pt x="0" y="2"/>
                  <a:pt x="2" y="0"/>
                  <a:pt x="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76" y="0"/>
                  <a:pt x="78" y="2"/>
                  <a:pt x="78" y="5"/>
                </a:cubicBezTo>
                <a:cubicBezTo>
                  <a:pt x="78" y="7"/>
                  <a:pt x="76" y="9"/>
                  <a:pt x="74" y="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433"/>
          <p:cNvSpPr>
            <a:spLocks noEditPoints="1"/>
          </p:cNvSpPr>
          <p:nvPr/>
        </p:nvSpPr>
        <p:spPr bwMode="auto">
          <a:xfrm>
            <a:off x="951834" y="2474941"/>
            <a:ext cx="67518" cy="65267"/>
          </a:xfrm>
          <a:custGeom>
            <a:avLst/>
            <a:gdLst>
              <a:gd name="T0" fmla="*/ 33 w 35"/>
              <a:gd name="T1" fmla="*/ 34 h 34"/>
              <a:gd name="T2" fmla="*/ 2 w 35"/>
              <a:gd name="T3" fmla="*/ 34 h 34"/>
              <a:gd name="T4" fmla="*/ 0 w 35"/>
              <a:gd name="T5" fmla="*/ 32 h 34"/>
              <a:gd name="T6" fmla="*/ 0 w 35"/>
              <a:gd name="T7" fmla="*/ 2 h 34"/>
              <a:gd name="T8" fmla="*/ 2 w 35"/>
              <a:gd name="T9" fmla="*/ 0 h 34"/>
              <a:gd name="T10" fmla="*/ 33 w 35"/>
              <a:gd name="T11" fmla="*/ 0 h 34"/>
              <a:gd name="T12" fmla="*/ 35 w 35"/>
              <a:gd name="T13" fmla="*/ 2 h 34"/>
              <a:gd name="T14" fmla="*/ 35 w 35"/>
              <a:gd name="T15" fmla="*/ 32 h 34"/>
              <a:gd name="T16" fmla="*/ 33 w 35"/>
              <a:gd name="T17" fmla="*/ 34 h 34"/>
              <a:gd name="T18" fmla="*/ 4 w 35"/>
              <a:gd name="T19" fmla="*/ 31 h 34"/>
              <a:gd name="T20" fmla="*/ 31 w 35"/>
              <a:gd name="T21" fmla="*/ 31 h 34"/>
              <a:gd name="T22" fmla="*/ 31 w 35"/>
              <a:gd name="T23" fmla="*/ 4 h 34"/>
              <a:gd name="T24" fmla="*/ 4 w 35"/>
              <a:gd name="T25" fmla="*/ 4 h 34"/>
              <a:gd name="T26" fmla="*/ 4 w 35"/>
              <a:gd name="T27" fmla="*/ 3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" h="34">
                <a:moveTo>
                  <a:pt x="33" y="34"/>
                </a:moveTo>
                <a:cubicBezTo>
                  <a:pt x="2" y="34"/>
                  <a:pt x="2" y="34"/>
                  <a:pt x="2" y="34"/>
                </a:cubicBezTo>
                <a:cubicBezTo>
                  <a:pt x="1" y="34"/>
                  <a:pt x="0" y="33"/>
                  <a:pt x="0" y="3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5" y="1"/>
                  <a:pt x="35" y="2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3"/>
                  <a:pt x="34" y="34"/>
                  <a:pt x="33" y="34"/>
                </a:cubicBezTo>
                <a:close/>
                <a:moveTo>
                  <a:pt x="4" y="31"/>
                </a:moveTo>
                <a:cubicBezTo>
                  <a:pt x="31" y="31"/>
                  <a:pt x="31" y="31"/>
                  <a:pt x="31" y="31"/>
                </a:cubicBezTo>
                <a:cubicBezTo>
                  <a:pt x="31" y="4"/>
                  <a:pt x="31" y="4"/>
                  <a:pt x="31" y="4"/>
                </a:cubicBezTo>
                <a:cubicBezTo>
                  <a:pt x="4" y="4"/>
                  <a:pt x="4" y="4"/>
                  <a:pt x="4" y="4"/>
                </a:cubicBezTo>
                <a:lnTo>
                  <a:pt x="4" y="3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356" tIns="45678" rIns="91356" bIns="4567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808195" y="2970946"/>
            <a:ext cx="488662" cy="513554"/>
            <a:chOff x="853915" y="2963326"/>
            <a:chExt cx="488662" cy="513554"/>
          </a:xfrm>
        </p:grpSpPr>
        <p:sp>
          <p:nvSpPr>
            <p:cNvPr id="79" name="Freeform 129"/>
            <p:cNvSpPr>
              <a:spLocks/>
            </p:cNvSpPr>
            <p:nvPr/>
          </p:nvSpPr>
          <p:spPr bwMode="auto">
            <a:xfrm>
              <a:off x="1054889" y="3344532"/>
              <a:ext cx="129899" cy="132348"/>
            </a:xfrm>
            <a:custGeom>
              <a:avLst/>
              <a:gdLst>
                <a:gd name="T0" fmla="*/ 409 w 450"/>
                <a:gd name="T1" fmla="*/ 259 h 450"/>
                <a:gd name="T2" fmla="*/ 150 w 450"/>
                <a:gd name="T3" fmla="*/ 0 h 450"/>
                <a:gd name="T4" fmla="*/ 0 w 450"/>
                <a:gd name="T5" fmla="*/ 150 h 450"/>
                <a:gd name="T6" fmla="*/ 259 w 450"/>
                <a:gd name="T7" fmla="*/ 409 h 450"/>
                <a:gd name="T8" fmla="*/ 409 w 450"/>
                <a:gd name="T9" fmla="*/ 409 h 450"/>
                <a:gd name="T10" fmla="*/ 409 w 450"/>
                <a:gd name="T11" fmla="*/ 259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0" h="450">
                  <a:moveTo>
                    <a:pt x="409" y="259"/>
                  </a:moveTo>
                  <a:lnTo>
                    <a:pt x="150" y="0"/>
                  </a:lnTo>
                  <a:cubicBezTo>
                    <a:pt x="111" y="60"/>
                    <a:pt x="60" y="111"/>
                    <a:pt x="0" y="150"/>
                  </a:cubicBezTo>
                  <a:lnTo>
                    <a:pt x="259" y="409"/>
                  </a:lnTo>
                  <a:cubicBezTo>
                    <a:pt x="300" y="450"/>
                    <a:pt x="367" y="450"/>
                    <a:pt x="409" y="409"/>
                  </a:cubicBezTo>
                  <a:cubicBezTo>
                    <a:pt x="450" y="368"/>
                    <a:pt x="450" y="301"/>
                    <a:pt x="409" y="259"/>
                  </a:cubicBezTo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30"/>
            <p:cNvSpPr>
              <a:spLocks noEditPoints="1"/>
            </p:cNvSpPr>
            <p:nvPr/>
          </p:nvSpPr>
          <p:spPr bwMode="auto">
            <a:xfrm>
              <a:off x="853915" y="3143559"/>
              <a:ext cx="245090" cy="247541"/>
            </a:xfrm>
            <a:custGeom>
              <a:avLst/>
              <a:gdLst>
                <a:gd name="T0" fmla="*/ 423 w 846"/>
                <a:gd name="T1" fmla="*/ 741 h 847"/>
                <a:gd name="T2" fmla="*/ 106 w 846"/>
                <a:gd name="T3" fmla="*/ 423 h 847"/>
                <a:gd name="T4" fmla="*/ 423 w 846"/>
                <a:gd name="T5" fmla="*/ 106 h 847"/>
                <a:gd name="T6" fmla="*/ 741 w 846"/>
                <a:gd name="T7" fmla="*/ 423 h 847"/>
                <a:gd name="T8" fmla="*/ 423 w 846"/>
                <a:gd name="T9" fmla="*/ 741 h 847"/>
                <a:gd name="T10" fmla="*/ 846 w 846"/>
                <a:gd name="T11" fmla="*/ 423 h 847"/>
                <a:gd name="T12" fmla="*/ 423 w 846"/>
                <a:gd name="T13" fmla="*/ 0 h 847"/>
                <a:gd name="T14" fmla="*/ 0 w 846"/>
                <a:gd name="T15" fmla="*/ 423 h 847"/>
                <a:gd name="T16" fmla="*/ 423 w 846"/>
                <a:gd name="T17" fmla="*/ 847 h 847"/>
                <a:gd name="T18" fmla="*/ 846 w 846"/>
                <a:gd name="T19" fmla="*/ 423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6" h="847">
                  <a:moveTo>
                    <a:pt x="423" y="741"/>
                  </a:moveTo>
                  <a:cubicBezTo>
                    <a:pt x="248" y="741"/>
                    <a:pt x="106" y="598"/>
                    <a:pt x="106" y="423"/>
                  </a:cubicBezTo>
                  <a:cubicBezTo>
                    <a:pt x="106" y="248"/>
                    <a:pt x="248" y="106"/>
                    <a:pt x="423" y="106"/>
                  </a:cubicBezTo>
                  <a:cubicBezTo>
                    <a:pt x="598" y="106"/>
                    <a:pt x="741" y="248"/>
                    <a:pt x="741" y="423"/>
                  </a:cubicBezTo>
                  <a:cubicBezTo>
                    <a:pt x="741" y="598"/>
                    <a:pt x="598" y="741"/>
                    <a:pt x="423" y="741"/>
                  </a:cubicBezTo>
                  <a:moveTo>
                    <a:pt x="846" y="423"/>
                  </a:moveTo>
                  <a:cubicBezTo>
                    <a:pt x="846" y="190"/>
                    <a:pt x="657" y="0"/>
                    <a:pt x="423" y="0"/>
                  </a:cubicBezTo>
                  <a:cubicBezTo>
                    <a:pt x="189" y="0"/>
                    <a:pt x="0" y="190"/>
                    <a:pt x="0" y="423"/>
                  </a:cubicBezTo>
                  <a:cubicBezTo>
                    <a:pt x="0" y="657"/>
                    <a:pt x="189" y="847"/>
                    <a:pt x="423" y="847"/>
                  </a:cubicBezTo>
                  <a:cubicBezTo>
                    <a:pt x="657" y="847"/>
                    <a:pt x="846" y="657"/>
                    <a:pt x="846" y="423"/>
                  </a:cubicBezTo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31"/>
            <p:cNvSpPr>
              <a:spLocks/>
            </p:cNvSpPr>
            <p:nvPr/>
          </p:nvSpPr>
          <p:spPr bwMode="auto">
            <a:xfrm>
              <a:off x="905383" y="3195028"/>
              <a:ext cx="71076" cy="73528"/>
            </a:xfrm>
            <a:custGeom>
              <a:avLst/>
              <a:gdLst>
                <a:gd name="T0" fmla="*/ 0 w 247"/>
                <a:gd name="T1" fmla="*/ 247 h 247"/>
                <a:gd name="T2" fmla="*/ 71 w 247"/>
                <a:gd name="T3" fmla="*/ 247 h 247"/>
                <a:gd name="T4" fmla="*/ 247 w 247"/>
                <a:gd name="T5" fmla="*/ 71 h 247"/>
                <a:gd name="T6" fmla="*/ 247 w 247"/>
                <a:gd name="T7" fmla="*/ 0 h 247"/>
                <a:gd name="T8" fmla="*/ 0 w 247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47">
                  <a:moveTo>
                    <a:pt x="0" y="247"/>
                  </a:moveTo>
                  <a:lnTo>
                    <a:pt x="71" y="247"/>
                  </a:lnTo>
                  <a:cubicBezTo>
                    <a:pt x="71" y="150"/>
                    <a:pt x="150" y="71"/>
                    <a:pt x="247" y="71"/>
                  </a:cubicBezTo>
                  <a:lnTo>
                    <a:pt x="247" y="0"/>
                  </a:lnTo>
                  <a:cubicBezTo>
                    <a:pt x="111" y="0"/>
                    <a:pt x="0" y="111"/>
                    <a:pt x="0" y="247"/>
                  </a:cubicBezTo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>
            <a:xfrm>
              <a:off x="1017635" y="2963326"/>
              <a:ext cx="324942" cy="358818"/>
            </a:xfrm>
            <a:custGeom>
              <a:avLst/>
              <a:gdLst/>
              <a:ahLst/>
              <a:cxnLst/>
              <a:rect l="l" t="t" r="r" b="b"/>
              <a:pathLst>
                <a:path w="541159" h="532085">
                  <a:moveTo>
                    <a:pt x="203352" y="255126"/>
                  </a:moveTo>
                  <a:lnTo>
                    <a:pt x="203352" y="288810"/>
                  </a:lnTo>
                  <a:cubicBezTo>
                    <a:pt x="172163" y="353684"/>
                    <a:pt x="223313" y="455984"/>
                    <a:pt x="240779" y="479687"/>
                  </a:cubicBezTo>
                  <a:lnTo>
                    <a:pt x="242215" y="466285"/>
                  </a:lnTo>
                  <a:cubicBezTo>
                    <a:pt x="242601" y="463691"/>
                    <a:pt x="241608" y="461687"/>
                    <a:pt x="240498" y="459726"/>
                  </a:cubicBezTo>
                  <a:lnTo>
                    <a:pt x="249230" y="376140"/>
                  </a:lnTo>
                  <a:lnTo>
                    <a:pt x="236755" y="359921"/>
                  </a:lnTo>
                  <a:cubicBezTo>
                    <a:pt x="230725" y="354307"/>
                    <a:pt x="230933" y="344951"/>
                    <a:pt x="235507" y="341208"/>
                  </a:cubicBezTo>
                  <a:lnTo>
                    <a:pt x="260458" y="319999"/>
                  </a:lnTo>
                  <a:cubicBezTo>
                    <a:pt x="263852" y="318433"/>
                    <a:pt x="267245" y="317113"/>
                    <a:pt x="270580" y="318065"/>
                  </a:cubicBezTo>
                  <a:cubicBezTo>
                    <a:pt x="273914" y="317113"/>
                    <a:pt x="277307" y="318433"/>
                    <a:pt x="280701" y="319999"/>
                  </a:cubicBezTo>
                  <a:lnTo>
                    <a:pt x="305652" y="341208"/>
                  </a:lnTo>
                  <a:cubicBezTo>
                    <a:pt x="310226" y="344951"/>
                    <a:pt x="310434" y="354307"/>
                    <a:pt x="304404" y="359921"/>
                  </a:cubicBezTo>
                  <a:lnTo>
                    <a:pt x="291929" y="376140"/>
                  </a:lnTo>
                  <a:lnTo>
                    <a:pt x="300662" y="459726"/>
                  </a:lnTo>
                  <a:lnTo>
                    <a:pt x="298944" y="466285"/>
                  </a:lnTo>
                  <a:lnTo>
                    <a:pt x="300380" y="479687"/>
                  </a:lnTo>
                  <a:cubicBezTo>
                    <a:pt x="308569" y="468574"/>
                    <a:pt x="324162" y="440185"/>
                    <a:pt x="334734" y="406323"/>
                  </a:cubicBezTo>
                  <a:lnTo>
                    <a:pt x="339901" y="385417"/>
                  </a:lnTo>
                  <a:cubicBezTo>
                    <a:pt x="349337" y="352739"/>
                    <a:pt x="351452" y="317192"/>
                    <a:pt x="337807" y="288810"/>
                  </a:cubicBezTo>
                  <a:lnTo>
                    <a:pt x="337807" y="255126"/>
                  </a:lnTo>
                  <a:lnTo>
                    <a:pt x="340583" y="256836"/>
                  </a:lnTo>
                  <a:lnTo>
                    <a:pt x="340583" y="255126"/>
                  </a:lnTo>
                  <a:cubicBezTo>
                    <a:pt x="358434" y="265505"/>
                    <a:pt x="373799" y="272153"/>
                    <a:pt x="384795" y="289978"/>
                  </a:cubicBezTo>
                  <a:lnTo>
                    <a:pt x="385107" y="290058"/>
                  </a:lnTo>
                  <a:lnTo>
                    <a:pt x="396100" y="290058"/>
                  </a:lnTo>
                  <a:lnTo>
                    <a:pt x="396564" y="292985"/>
                  </a:lnTo>
                  <a:cubicBezTo>
                    <a:pt x="428640" y="300132"/>
                    <a:pt x="462556" y="308710"/>
                    <a:pt x="493752" y="329980"/>
                  </a:cubicBezTo>
                  <a:cubicBezTo>
                    <a:pt x="515792" y="363664"/>
                    <a:pt x="539080" y="452241"/>
                    <a:pt x="541159" y="532085"/>
                  </a:cubicBezTo>
                  <a:lnTo>
                    <a:pt x="290681" y="532085"/>
                  </a:lnTo>
                  <a:lnTo>
                    <a:pt x="250478" y="532085"/>
                  </a:lnTo>
                  <a:lnTo>
                    <a:pt x="0" y="532085"/>
                  </a:lnTo>
                  <a:cubicBezTo>
                    <a:pt x="2079" y="452241"/>
                    <a:pt x="25367" y="363664"/>
                    <a:pt x="47407" y="329980"/>
                  </a:cubicBezTo>
                  <a:cubicBezTo>
                    <a:pt x="84002" y="305029"/>
                    <a:pt x="124340" y="297543"/>
                    <a:pt x="160935" y="288810"/>
                  </a:cubicBezTo>
                  <a:cubicBezTo>
                    <a:pt x="175074" y="271345"/>
                    <a:pt x="182975" y="266354"/>
                    <a:pt x="203352" y="255126"/>
                  </a:cubicBezTo>
                  <a:close/>
                  <a:moveTo>
                    <a:pt x="275710" y="0"/>
                  </a:moveTo>
                  <a:cubicBezTo>
                    <a:pt x="385495" y="2703"/>
                    <a:pt x="421051" y="135152"/>
                    <a:pt x="365534" y="189629"/>
                  </a:cubicBezTo>
                  <a:cubicBezTo>
                    <a:pt x="368653" y="160311"/>
                    <a:pt x="368653" y="135984"/>
                    <a:pt x="352435" y="112904"/>
                  </a:cubicBezTo>
                  <a:cubicBezTo>
                    <a:pt x="314384" y="137440"/>
                    <a:pt x="280700" y="124548"/>
                    <a:pt x="236412" y="109785"/>
                  </a:cubicBezTo>
                  <a:cubicBezTo>
                    <a:pt x="198361" y="97517"/>
                    <a:pt x="170291" y="122677"/>
                    <a:pt x="180272" y="192748"/>
                  </a:cubicBezTo>
                  <a:cubicBezTo>
                    <a:pt x="114151" y="110409"/>
                    <a:pt x="179024" y="1248"/>
                    <a:pt x="275710" y="0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4" name="Rounded Rectangle 11"/>
          <p:cNvSpPr/>
          <p:nvPr/>
        </p:nvSpPr>
        <p:spPr>
          <a:xfrm>
            <a:off x="904571" y="3943186"/>
            <a:ext cx="245681" cy="314473"/>
          </a:xfrm>
          <a:custGeom>
            <a:avLst/>
            <a:gdLst/>
            <a:ahLst/>
            <a:cxnLst/>
            <a:rect l="l" t="t" r="r" b="b"/>
            <a:pathLst>
              <a:path w="3810000" h="4876801">
                <a:moveTo>
                  <a:pt x="368313" y="0"/>
                </a:moveTo>
                <a:lnTo>
                  <a:pt x="3441687" y="0"/>
                </a:lnTo>
                <a:cubicBezTo>
                  <a:pt x="3645101" y="0"/>
                  <a:pt x="3810000" y="164899"/>
                  <a:pt x="3810000" y="368313"/>
                </a:cubicBezTo>
                <a:lnTo>
                  <a:pt x="3810000" y="436756"/>
                </a:lnTo>
                <a:lnTo>
                  <a:pt x="3543300" y="795776"/>
                </a:lnTo>
                <a:lnTo>
                  <a:pt x="3543300" y="254000"/>
                </a:lnTo>
                <a:lnTo>
                  <a:pt x="266700" y="254000"/>
                </a:lnTo>
                <a:lnTo>
                  <a:pt x="266700" y="4622800"/>
                </a:lnTo>
                <a:lnTo>
                  <a:pt x="3543300" y="4622800"/>
                </a:lnTo>
                <a:lnTo>
                  <a:pt x="3543300" y="3007207"/>
                </a:lnTo>
                <a:lnTo>
                  <a:pt x="3810000" y="2635576"/>
                </a:lnTo>
                <a:lnTo>
                  <a:pt x="3810000" y="4508488"/>
                </a:lnTo>
                <a:cubicBezTo>
                  <a:pt x="3810000" y="4711902"/>
                  <a:pt x="3645101" y="4876801"/>
                  <a:pt x="3441687" y="4876801"/>
                </a:cubicBezTo>
                <a:lnTo>
                  <a:pt x="368313" y="4876801"/>
                </a:lnTo>
                <a:cubicBezTo>
                  <a:pt x="164899" y="4876801"/>
                  <a:pt x="0" y="4711902"/>
                  <a:pt x="0" y="4508488"/>
                </a:cubicBezTo>
                <a:lnTo>
                  <a:pt x="0" y="368313"/>
                </a:lnTo>
                <a:cubicBezTo>
                  <a:pt x="0" y="164899"/>
                  <a:pt x="164899" y="0"/>
                  <a:pt x="368313" y="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5" name="Rounded Rectangle 84"/>
          <p:cNvSpPr/>
          <p:nvPr/>
        </p:nvSpPr>
        <p:spPr>
          <a:xfrm>
            <a:off x="949613" y="3982966"/>
            <a:ext cx="15396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6" name="Rounded Rectangle 85"/>
          <p:cNvSpPr/>
          <p:nvPr/>
        </p:nvSpPr>
        <p:spPr>
          <a:xfrm>
            <a:off x="949613" y="4011425"/>
            <a:ext cx="15396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7" name="Rounded Rectangle 86"/>
          <p:cNvSpPr/>
          <p:nvPr/>
        </p:nvSpPr>
        <p:spPr>
          <a:xfrm>
            <a:off x="949613" y="4040088"/>
            <a:ext cx="15396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8" name="Rounded Rectangle 87"/>
          <p:cNvSpPr/>
          <p:nvPr/>
        </p:nvSpPr>
        <p:spPr>
          <a:xfrm>
            <a:off x="949627" y="4068546"/>
            <a:ext cx="136763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89" name="Rounded Rectangle 88"/>
          <p:cNvSpPr/>
          <p:nvPr/>
        </p:nvSpPr>
        <p:spPr>
          <a:xfrm>
            <a:off x="949613" y="4097556"/>
            <a:ext cx="120384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0" name="Rounded Rectangle 89"/>
          <p:cNvSpPr/>
          <p:nvPr/>
        </p:nvSpPr>
        <p:spPr>
          <a:xfrm>
            <a:off x="949613" y="4126014"/>
            <a:ext cx="103186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949613" y="4154677"/>
            <a:ext cx="81484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949613" y="4183135"/>
            <a:ext cx="7483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3" name="Rounded Rectangle 92"/>
          <p:cNvSpPr/>
          <p:nvPr/>
        </p:nvSpPr>
        <p:spPr>
          <a:xfrm>
            <a:off x="949613" y="4211635"/>
            <a:ext cx="74830" cy="1146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94" name="Freeform 93"/>
          <p:cNvSpPr/>
          <p:nvPr/>
        </p:nvSpPr>
        <p:spPr>
          <a:xfrm>
            <a:off x="1029943" y="3959428"/>
            <a:ext cx="183092" cy="263362"/>
          </a:xfrm>
          <a:custGeom>
            <a:avLst/>
            <a:gdLst/>
            <a:ahLst/>
            <a:cxnLst/>
            <a:rect l="l" t="t" r="r" b="b"/>
            <a:pathLst>
              <a:path w="2839372" h="4084177">
                <a:moveTo>
                  <a:pt x="2176020" y="780764"/>
                </a:moveTo>
                <a:cubicBezTo>
                  <a:pt x="2143510" y="786996"/>
                  <a:pt x="2113378" y="805631"/>
                  <a:pt x="2093330" y="835190"/>
                </a:cubicBezTo>
                <a:lnTo>
                  <a:pt x="1227562" y="2111655"/>
                </a:lnTo>
                <a:cubicBezTo>
                  <a:pt x="1187465" y="2170773"/>
                  <a:pt x="1202884" y="2251204"/>
                  <a:pt x="1262003" y="2291301"/>
                </a:cubicBezTo>
                <a:cubicBezTo>
                  <a:pt x="1262003" y="2291301"/>
                  <a:pt x="1262002" y="2291301"/>
                  <a:pt x="1262002" y="2291301"/>
                </a:cubicBezTo>
                <a:lnTo>
                  <a:pt x="1262003" y="2291302"/>
                </a:lnTo>
                <a:lnTo>
                  <a:pt x="1262003" y="2291301"/>
                </a:lnTo>
                <a:cubicBezTo>
                  <a:pt x="1321121" y="2331399"/>
                  <a:pt x="1401552" y="2315979"/>
                  <a:pt x="1441649" y="2256860"/>
                </a:cubicBezTo>
                <a:lnTo>
                  <a:pt x="2307417" y="980397"/>
                </a:lnTo>
                <a:cubicBezTo>
                  <a:pt x="2347514" y="921278"/>
                  <a:pt x="2332095" y="840848"/>
                  <a:pt x="2272976" y="800750"/>
                </a:cubicBezTo>
                <a:lnTo>
                  <a:pt x="2272977" y="800749"/>
                </a:lnTo>
                <a:cubicBezTo>
                  <a:pt x="2243417" y="780701"/>
                  <a:pt x="2208530" y="774531"/>
                  <a:pt x="2176020" y="780764"/>
                </a:cubicBezTo>
                <a:close/>
                <a:moveTo>
                  <a:pt x="2567715" y="107"/>
                </a:moveTo>
                <a:cubicBezTo>
                  <a:pt x="2732722" y="4736"/>
                  <a:pt x="2900964" y="157791"/>
                  <a:pt x="2817090" y="389632"/>
                </a:cubicBezTo>
                <a:lnTo>
                  <a:pt x="2678545" y="583595"/>
                </a:lnTo>
                <a:cubicBezTo>
                  <a:pt x="2691919" y="669897"/>
                  <a:pt x="2676716" y="741913"/>
                  <a:pt x="2618652" y="842502"/>
                </a:cubicBezTo>
                <a:lnTo>
                  <a:pt x="646545" y="3770141"/>
                </a:lnTo>
                <a:lnTo>
                  <a:pt x="0" y="4084177"/>
                </a:lnTo>
                <a:lnTo>
                  <a:pt x="46181" y="3382791"/>
                </a:lnTo>
                <a:lnTo>
                  <a:pt x="2041813" y="421814"/>
                </a:lnTo>
                <a:cubicBezTo>
                  <a:pt x="2098337" y="350136"/>
                  <a:pt x="2159626" y="297509"/>
                  <a:pt x="2235200" y="297268"/>
                </a:cubicBezTo>
                <a:lnTo>
                  <a:pt x="2368694" y="92337"/>
                </a:lnTo>
                <a:cubicBezTo>
                  <a:pt x="2418379" y="26567"/>
                  <a:pt x="2492713" y="-1996"/>
                  <a:pt x="2567715" y="10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>
              <a:latin typeface="+mn-lt"/>
            </a:endParaRPr>
          </a:p>
        </p:txBody>
      </p:sp>
      <p:pic>
        <p:nvPicPr>
          <p:cNvPr id="655369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097" y="1954486"/>
            <a:ext cx="6844356" cy="2739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1" name="AutoShape 31"/>
          <p:cNvCxnSpPr>
            <a:cxnSpLocks noChangeShapeType="1"/>
          </p:cNvCxnSpPr>
          <p:nvPr/>
        </p:nvCxnSpPr>
        <p:spPr bwMode="auto">
          <a:xfrm>
            <a:off x="7616355" y="4546962"/>
            <a:ext cx="0" cy="146744"/>
          </a:xfrm>
          <a:prstGeom prst="straightConnector1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78" name="Group 77"/>
          <p:cNvGrpSpPr/>
          <p:nvPr/>
        </p:nvGrpSpPr>
        <p:grpSpPr>
          <a:xfrm>
            <a:off x="904571" y="1080577"/>
            <a:ext cx="6676810" cy="644063"/>
            <a:chOff x="302388" y="4028994"/>
            <a:chExt cx="6676810" cy="644063"/>
          </a:xfrm>
        </p:grpSpPr>
        <p:grpSp>
          <p:nvGrpSpPr>
            <p:cNvPr id="83" name="Group 82"/>
            <p:cNvGrpSpPr/>
            <p:nvPr/>
          </p:nvGrpSpPr>
          <p:grpSpPr>
            <a:xfrm>
              <a:off x="302388" y="4028994"/>
              <a:ext cx="6676810" cy="632769"/>
              <a:chOff x="302388" y="3697189"/>
              <a:chExt cx="6676810" cy="632769"/>
            </a:xfrm>
          </p:grpSpPr>
          <p:sp>
            <p:nvSpPr>
              <p:cNvPr id="100" name="Rectangle 31"/>
              <p:cNvSpPr>
                <a:spLocks noChangeArrowheads="1"/>
              </p:cNvSpPr>
              <p:nvPr/>
            </p:nvSpPr>
            <p:spPr bwMode="gray">
              <a:xfrm flipH="1">
                <a:off x="302388" y="3697189"/>
                <a:ext cx="331643" cy="632769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Rectangle 33"/>
              <p:cNvSpPr txBox="1">
                <a:spLocks noChangeArrowheads="1"/>
              </p:cNvSpPr>
              <p:nvPr/>
            </p:nvSpPr>
            <p:spPr bwMode="gray">
              <a:xfrm>
                <a:off x="1913445" y="3989466"/>
                <a:ext cx="5065752" cy="1846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342900" indent="-342900" algn="l" defTabSz="895350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12033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6605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177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5749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eaLnBrk="1" hangingPunct="1">
                  <a:buClr>
                    <a:srgbClr val="0A1B2B"/>
                  </a:buClr>
                </a:pPr>
                <a:r>
                  <a:rPr lang="en-US" sz="1200" b="1">
                    <a:solidFill>
                      <a:srgbClr val="0A1B2B"/>
                    </a:solidFill>
                  </a:rPr>
                  <a:t>…</a:t>
                </a:r>
              </a:p>
            </p:txBody>
          </p:sp>
          <p:sp>
            <p:nvSpPr>
              <p:cNvPr id="102" name="WordArt 19"/>
              <p:cNvSpPr>
                <a:spLocks noChangeArrowheads="1" noChangeShapeType="1" noTextEdit="1"/>
              </p:cNvSpPr>
              <p:nvPr/>
            </p:nvSpPr>
            <p:spPr bwMode="gray">
              <a:xfrm>
                <a:off x="374669" y="3853825"/>
                <a:ext cx="187081" cy="319495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800" kern="10" dirty="0">
                    <a:solidFill>
                      <a:srgbClr val="FFFFFF"/>
                    </a:solidFill>
                    <a:latin typeface="Arial Black"/>
                  </a:rPr>
                  <a:t>5</a:t>
                </a:r>
              </a:p>
            </p:txBody>
          </p:sp>
          <p:sp>
            <p:nvSpPr>
              <p:cNvPr id="103" name="Rectangle 28"/>
              <p:cNvSpPr>
                <a:spLocks noChangeArrowheads="1"/>
              </p:cNvSpPr>
              <p:nvPr/>
            </p:nvSpPr>
            <p:spPr bwMode="gray">
              <a:xfrm>
                <a:off x="1398918" y="3697189"/>
                <a:ext cx="5580280" cy="632769"/>
              </a:xfrm>
              <a:prstGeom prst="rect">
                <a:avLst/>
              </a:prstGeom>
              <a:solidFill>
                <a:schemeClr val="bg1"/>
              </a:solidFill>
              <a:ln w="9525" cmpd="sng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marL="0" lvl="1"/>
                <a:r>
                  <a:rPr lang="en-US" sz="1600" dirty="0">
                    <a:solidFill>
                      <a:srgbClr val="000000"/>
                    </a:solidFill>
                  </a:rPr>
                  <a:t>Describe how the Project Delivery &amp; Governance process </a:t>
                </a:r>
              </a:p>
              <a:p>
                <a:pPr marL="0" lvl="1"/>
                <a:r>
                  <a:rPr lang="en-US" sz="1600" dirty="0">
                    <a:solidFill>
                      <a:srgbClr val="000000"/>
                    </a:solidFill>
                  </a:rPr>
                  <a:t>ensures on-time and on-budget completion of projects</a:t>
                </a:r>
              </a:p>
            </p:txBody>
          </p:sp>
          <p:sp>
            <p:nvSpPr>
              <p:cNvPr id="104" name="Rectangle 29"/>
              <p:cNvSpPr>
                <a:spLocks noChangeArrowheads="1"/>
              </p:cNvSpPr>
              <p:nvPr/>
            </p:nvSpPr>
            <p:spPr bwMode="gray">
              <a:xfrm>
                <a:off x="694991" y="3697189"/>
                <a:ext cx="707019" cy="632769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98" name="Picture 97"/>
            <p:cNvPicPr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804" y="4112607"/>
              <a:ext cx="560450" cy="5604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6338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55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348958" y="1559513"/>
            <a:ext cx="435089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algn="ctr"/>
            <a:r>
              <a:rPr lang="en-US" sz="8000" dirty="0">
                <a:solidFill>
                  <a:schemeClr val="tx2"/>
                </a:solidFill>
              </a:rPr>
              <a:t>Thanks</a:t>
            </a:r>
          </a:p>
        </p:txBody>
      </p:sp>
    </p:spTree>
    <p:extLst>
      <p:ext uri="{BB962C8B-B14F-4D97-AF65-F5344CB8AC3E}">
        <p14:creationId xmlns:p14="http://schemas.microsoft.com/office/powerpoint/2010/main" val="2049494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98" y="100996"/>
            <a:ext cx="8306057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6385">
              <a:tabLst/>
            </a:pPr>
            <a:r>
              <a:rPr lang="en-US" dirty="0"/>
              <a:t>What is project development and delivery?</a:t>
            </a:r>
          </a:p>
        </p:txBody>
      </p:sp>
      <p:sp>
        <p:nvSpPr>
          <p:cNvPr id="30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1</a:t>
            </a:r>
          </a:p>
        </p:txBody>
      </p:sp>
      <p:pic>
        <p:nvPicPr>
          <p:cNvPr id="728066" name="Picture 2"/>
          <p:cNvPicPr>
            <a:picLocks noChangeAspect="1" noChangeArrowheads="1"/>
          </p:cNvPicPr>
          <p:nvPr/>
        </p:nvPicPr>
        <p:blipFill>
          <a:blip r:embed="rId9">
            <a:lum bright="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84" y="900123"/>
            <a:ext cx="8916904" cy="960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2"/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61984" y="508883"/>
            <a:ext cx="569536" cy="3912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xtLst/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2" indent="0">
              <a:buClr>
                <a:schemeClr val="bg1"/>
              </a:buClr>
              <a:buNone/>
            </a:pPr>
            <a:r>
              <a:rPr lang="en-US" sz="800" b="1" dirty="0">
                <a:solidFill>
                  <a:schemeClr val="bg1"/>
                </a:solidFill>
              </a:rPr>
              <a:t>Project Initiation/ Planning</a:t>
            </a: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731520" y="508882"/>
            <a:ext cx="3355450" cy="3912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xtLst/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2" indent="0">
              <a:buClr>
                <a:schemeClr val="bg1"/>
              </a:buClr>
              <a:buNone/>
            </a:pPr>
            <a:r>
              <a:rPr lang="en-US" sz="800" b="1" dirty="0">
                <a:solidFill>
                  <a:schemeClr val="bg1"/>
                </a:solidFill>
              </a:rPr>
              <a:t>Preliminary Engineering</a:t>
            </a: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086970" y="508886"/>
            <a:ext cx="2782958" cy="3912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xtLst/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2" indent="0">
              <a:buClr>
                <a:schemeClr val="bg1"/>
              </a:buClr>
              <a:buNone/>
            </a:pPr>
            <a:r>
              <a:rPr lang="en-US" sz="800" b="1" dirty="0">
                <a:solidFill>
                  <a:schemeClr val="bg1"/>
                </a:solidFill>
              </a:rPr>
              <a:t>Plans, Specifications &amp; Estimate</a:t>
            </a: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027090" y="508886"/>
            <a:ext cx="842838" cy="3912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xtLst/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2" indent="0">
              <a:buClr>
                <a:schemeClr val="bg1"/>
              </a:buClr>
              <a:buNone/>
            </a:pPr>
            <a:r>
              <a:rPr lang="en-US" sz="800" b="1" dirty="0">
                <a:solidFill>
                  <a:schemeClr val="bg1"/>
                </a:solidFill>
              </a:rPr>
              <a:t>Letting</a:t>
            </a: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869927" y="508886"/>
            <a:ext cx="1304014" cy="3912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xtLst/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2" indent="0">
              <a:buClr>
                <a:schemeClr val="bg1"/>
              </a:buClr>
              <a:buNone/>
            </a:pPr>
            <a:r>
              <a:rPr lang="en-US" sz="800" b="1" dirty="0">
                <a:solidFill>
                  <a:schemeClr val="bg1"/>
                </a:solidFill>
              </a:rPr>
              <a:t>Construction</a:t>
            </a: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173955" y="508886"/>
            <a:ext cx="892247" cy="39123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  <a:extLst/>
        </p:spPr>
        <p:txBody>
          <a:bodyPr vert="horz" wrap="square" lIns="80893" tIns="82480" rIns="0" bIns="80893" numCol="1" spcCol="0" rtlCol="0" anchor="ctr" anchorCtr="0">
            <a:noAutofit/>
          </a:bodyPr>
          <a:lstStyle>
            <a:lvl1pPr marL="0" indent="0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393" indent="-190793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609608" indent="-349255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819162" indent="-207436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6pPr>
            <a:lvl7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7pPr>
            <a:lvl8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8pPr>
            <a:lvl9pPr marL="999757" indent="-173569" algn="l" defTabSz="119381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2" indent="0">
              <a:buClr>
                <a:schemeClr val="bg1"/>
              </a:buClr>
              <a:buNone/>
            </a:pPr>
            <a:r>
              <a:rPr lang="en-US" sz="800" b="1" dirty="0">
                <a:solidFill>
                  <a:schemeClr val="bg1"/>
                </a:solidFill>
              </a:rPr>
              <a:t>Close-out &amp; Maintenance</a:t>
            </a:r>
          </a:p>
        </p:txBody>
      </p:sp>
      <p:sp>
        <p:nvSpPr>
          <p:cNvPr id="3" name="Rectangle 2"/>
          <p:cNvSpPr/>
          <p:nvPr/>
        </p:nvSpPr>
        <p:spPr>
          <a:xfrm>
            <a:off x="1963972" y="1079153"/>
            <a:ext cx="938254" cy="301225"/>
          </a:xfrm>
          <a:prstGeom prst="rect">
            <a:avLst/>
          </a:prstGeom>
          <a:noFill/>
          <a:ln w="31750">
            <a:solidFill>
              <a:srgbClr val="F6B9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298450" y="2146427"/>
            <a:ext cx="8547100" cy="2456815"/>
          </a:xfrm>
          <a:prstGeom prst="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ot="0" spcFirstLastPara="0" vert="horz" wrap="square" lIns="91356" tIns="45678" rIns="91356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48" name="Rectangle 47"/>
          <p:cNvSpPr/>
          <p:nvPr/>
        </p:nvSpPr>
        <p:spPr>
          <a:xfrm>
            <a:off x="425451" y="2218180"/>
            <a:ext cx="786765" cy="461010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District Utilities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425451" y="2758565"/>
            <a:ext cx="786765" cy="588010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District ROW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25451" y="3410710"/>
            <a:ext cx="786765" cy="612140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District Environmental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25451" y="4070475"/>
            <a:ext cx="786765" cy="468630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District Railroad Coordinator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009901" y="3410710"/>
            <a:ext cx="786765" cy="612140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Obtain right of entry for environmental study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2150746" y="3418965"/>
            <a:ext cx="786765" cy="603885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Begin initial public involvement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110606" y="3418331"/>
            <a:ext cx="786765" cy="611505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Conduct initial public outreach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3530601" y="4091444"/>
            <a:ext cx="786765" cy="445135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Provide right of entry from RR to TP&amp;D/DES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1299846" y="2758565"/>
            <a:ext cx="786765" cy="588010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Begin title research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2150110" y="2766185"/>
            <a:ext cx="1104900" cy="588010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Obtain agreement with LPA to contribute ROW funds, if not covered in AFA with LPA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806316" y="3418965"/>
            <a:ext cx="1001395" cy="611505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Create core environmental team, including division personnel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868421" y="3418965"/>
            <a:ext cx="786765" cy="603885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Conduct environmental study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7947661" y="3418965"/>
            <a:ext cx="786765" cy="603250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Begin technical studies and draft documents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5570221" y="2758565"/>
            <a:ext cx="786765" cy="588010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Develop ROW map and identify parcels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2231391" y="2217559"/>
            <a:ext cx="786765" cy="445135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Attend utility coordination meeting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5888991" y="2235974"/>
            <a:ext cx="786765" cy="445135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Map utilities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6729731" y="2233434"/>
            <a:ext cx="1001395" cy="445135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Utility verification reimbursable or not reimbursable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7959091" y="2230894"/>
            <a:ext cx="786765" cy="445135"/>
          </a:xfrm>
          <a:prstGeom prst="rect">
            <a:avLst/>
          </a:prstGeom>
          <a:solidFill>
            <a:srgbClr val="1F497D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45678" tIns="45678" rIns="45678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  <a:latin typeface="Franklin Gothic Book"/>
                <a:ea typeface="Arial"/>
                <a:cs typeface="Times New Roman"/>
              </a:rPr>
              <a:t>Update SUE findings</a:t>
            </a:r>
            <a:endParaRPr lang="en-US" dirty="0">
              <a:solidFill>
                <a:schemeClr val="bg1"/>
              </a:solidFill>
              <a:latin typeface="Arial"/>
              <a:ea typeface="Arial"/>
              <a:cs typeface="Times New Roman"/>
            </a:endParaRPr>
          </a:p>
        </p:txBody>
      </p:sp>
      <p:cxnSp>
        <p:nvCxnSpPr>
          <p:cNvPr id="66" name="Straight Arrow Connector 65"/>
          <p:cNvCxnSpPr/>
          <p:nvPr/>
        </p:nvCxnSpPr>
        <p:spPr>
          <a:xfrm>
            <a:off x="3016886" y="2416949"/>
            <a:ext cx="2870835" cy="15875"/>
          </a:xfrm>
          <a:prstGeom prst="straightConnector1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67" name="Straight Arrow Connector 66"/>
          <p:cNvCxnSpPr/>
          <p:nvPr/>
        </p:nvCxnSpPr>
        <p:spPr>
          <a:xfrm>
            <a:off x="3256281" y="3084320"/>
            <a:ext cx="2313305" cy="0"/>
          </a:xfrm>
          <a:prstGeom prst="straightConnector1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68" name="Straight Arrow Connector 67"/>
          <p:cNvCxnSpPr/>
          <p:nvPr/>
        </p:nvCxnSpPr>
        <p:spPr>
          <a:xfrm flipV="1">
            <a:off x="6898005" y="3720590"/>
            <a:ext cx="1049020" cy="0"/>
          </a:xfrm>
          <a:prstGeom prst="straightConnector1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69" name="Straight Arrow Connector 68"/>
          <p:cNvCxnSpPr/>
          <p:nvPr/>
        </p:nvCxnSpPr>
        <p:spPr>
          <a:xfrm>
            <a:off x="5808346" y="3721225"/>
            <a:ext cx="301625" cy="0"/>
          </a:xfrm>
          <a:prstGeom prst="straightConnector1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70" name="Straight Arrow Connector 69"/>
          <p:cNvCxnSpPr/>
          <p:nvPr/>
        </p:nvCxnSpPr>
        <p:spPr>
          <a:xfrm>
            <a:off x="7732395" y="2472815"/>
            <a:ext cx="222250" cy="0"/>
          </a:xfrm>
          <a:prstGeom prst="straightConnector1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71" name="Straight Arrow Connector 70"/>
          <p:cNvCxnSpPr/>
          <p:nvPr/>
        </p:nvCxnSpPr>
        <p:spPr>
          <a:xfrm flipV="1">
            <a:off x="6675121" y="2432810"/>
            <a:ext cx="55245" cy="0"/>
          </a:xfrm>
          <a:prstGeom prst="straightConnector1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72" name="Straight Arrow Connector 71"/>
          <p:cNvCxnSpPr/>
          <p:nvPr/>
        </p:nvCxnSpPr>
        <p:spPr>
          <a:xfrm>
            <a:off x="3796665" y="3720590"/>
            <a:ext cx="71120" cy="0"/>
          </a:xfrm>
          <a:prstGeom prst="straightConnector1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73" name="Straight Arrow Connector 72"/>
          <p:cNvCxnSpPr/>
          <p:nvPr/>
        </p:nvCxnSpPr>
        <p:spPr>
          <a:xfrm>
            <a:off x="4655821" y="3721225"/>
            <a:ext cx="150495" cy="0"/>
          </a:xfrm>
          <a:prstGeom prst="straightConnector1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74" name="Straight Arrow Connector 73"/>
          <p:cNvCxnSpPr/>
          <p:nvPr/>
        </p:nvCxnSpPr>
        <p:spPr>
          <a:xfrm>
            <a:off x="2938145" y="3721225"/>
            <a:ext cx="71120" cy="0"/>
          </a:xfrm>
          <a:prstGeom prst="straightConnector1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75" name="Straight Arrow Connector 74"/>
          <p:cNvCxnSpPr/>
          <p:nvPr/>
        </p:nvCxnSpPr>
        <p:spPr>
          <a:xfrm>
            <a:off x="2087245" y="3037330"/>
            <a:ext cx="63500" cy="0"/>
          </a:xfrm>
          <a:prstGeom prst="straightConnector1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  <a:tailEnd type="triangle"/>
          </a:ln>
          <a:effectLst/>
        </p:spPr>
      </p:cxnSp>
      <p:cxnSp>
        <p:nvCxnSpPr>
          <p:cNvPr id="5" name="Straight Connector 4"/>
          <p:cNvCxnSpPr/>
          <p:nvPr/>
        </p:nvCxnSpPr>
        <p:spPr>
          <a:xfrm flipH="1">
            <a:off x="298450" y="1380378"/>
            <a:ext cx="1665522" cy="766061"/>
          </a:xfrm>
          <a:prstGeom prst="line">
            <a:avLst/>
          </a:prstGeom>
          <a:ln w="317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2902226" y="1380378"/>
            <a:ext cx="5943324" cy="766061"/>
          </a:xfrm>
          <a:prstGeom prst="line">
            <a:avLst/>
          </a:prstGeom>
          <a:ln w="317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5056837" y="4255850"/>
            <a:ext cx="3648971" cy="276914"/>
          </a:xfrm>
          <a:prstGeom prst="rect">
            <a:avLst/>
          </a:prstGeom>
        </p:spPr>
        <p:txBody>
          <a:bodyPr wrap="none" lIns="91356" tIns="45678" rIns="91356" bIns="45678">
            <a:spAutoFit/>
          </a:bodyPr>
          <a:lstStyle/>
          <a:p>
            <a:r>
              <a:rPr lang="en-US" u="sng" dirty="0">
                <a:solidFill>
                  <a:schemeClr val="bg1"/>
                </a:solidFill>
                <a:latin typeface="+mn-lt"/>
                <a:hlinkClick r:id="rId10"/>
              </a:rPr>
              <a:t>http://ftp.dot.state.tx.us/pub/txdot/tpp/workflow.pdf</a:t>
            </a:r>
            <a:endParaRPr lang="en-US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6474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15"/>
          <p:cNvSpPr>
            <a:spLocks/>
          </p:cNvSpPr>
          <p:nvPr/>
        </p:nvSpPr>
        <p:spPr bwMode="auto">
          <a:xfrm rot="618831">
            <a:off x="4032894" y="3370817"/>
            <a:ext cx="1726003" cy="1343144"/>
          </a:xfrm>
          <a:custGeom>
            <a:avLst/>
            <a:gdLst>
              <a:gd name="T0" fmla="*/ 2147483647 w 1217"/>
              <a:gd name="T1" fmla="*/ 667428541 h 977"/>
              <a:gd name="T2" fmla="*/ 2147483647 w 1217"/>
              <a:gd name="T3" fmla="*/ 740942822 h 977"/>
              <a:gd name="T4" fmla="*/ 2147483647 w 1217"/>
              <a:gd name="T5" fmla="*/ 814456929 h 977"/>
              <a:gd name="T6" fmla="*/ 2147483647 w 1217"/>
              <a:gd name="T7" fmla="*/ 886036308 h 977"/>
              <a:gd name="T8" fmla="*/ 2147483647 w 1217"/>
              <a:gd name="T9" fmla="*/ 955680958 h 977"/>
              <a:gd name="T10" fmla="*/ 2147483647 w 1217"/>
              <a:gd name="T11" fmla="*/ 1021456153 h 977"/>
              <a:gd name="T12" fmla="*/ 2147483647 w 1217"/>
              <a:gd name="T13" fmla="*/ 1087232738 h 977"/>
              <a:gd name="T14" fmla="*/ 2147483647 w 1217"/>
              <a:gd name="T15" fmla="*/ 1151073204 h 977"/>
              <a:gd name="T16" fmla="*/ 2147483647 w 1217"/>
              <a:gd name="T17" fmla="*/ 1211045605 h 977"/>
              <a:gd name="T18" fmla="*/ 2142801089 w 1217"/>
              <a:gd name="T19" fmla="*/ 1271016615 h 977"/>
              <a:gd name="T20" fmla="*/ 2063353799 w 1217"/>
              <a:gd name="T21" fmla="*/ 1327119559 h 977"/>
              <a:gd name="T22" fmla="*/ 1983908015 w 1217"/>
              <a:gd name="T23" fmla="*/ 1381287776 h 977"/>
              <a:gd name="T24" fmla="*/ 1897650784 w 1217"/>
              <a:gd name="T25" fmla="*/ 1433521264 h 977"/>
              <a:gd name="T26" fmla="*/ 1813664036 w 1217"/>
              <a:gd name="T27" fmla="*/ 1479950915 h 977"/>
              <a:gd name="T28" fmla="*/ 1727406806 w 1217"/>
              <a:gd name="T29" fmla="*/ 1526381610 h 977"/>
              <a:gd name="T30" fmla="*/ 1636610117 w 1217"/>
              <a:gd name="T31" fmla="*/ 1572810913 h 977"/>
              <a:gd name="T32" fmla="*/ 1545813052 w 1217"/>
              <a:gd name="T33" fmla="*/ 1613437423 h 977"/>
              <a:gd name="T34" fmla="*/ 1455016364 w 1217"/>
              <a:gd name="T35" fmla="*/ 1652129205 h 977"/>
              <a:gd name="T36" fmla="*/ 1359680218 w 1217"/>
              <a:gd name="T37" fmla="*/ 1686951530 h 977"/>
              <a:gd name="T38" fmla="*/ 1264344072 w 1217"/>
              <a:gd name="T39" fmla="*/ 1719839127 h 977"/>
              <a:gd name="T40" fmla="*/ 1169007926 w 1217"/>
              <a:gd name="T41" fmla="*/ 1750791996 h 977"/>
              <a:gd name="T42" fmla="*/ 1071401298 w 1217"/>
              <a:gd name="T43" fmla="*/ 1777875409 h 977"/>
              <a:gd name="T44" fmla="*/ 969255212 w 1217"/>
              <a:gd name="T45" fmla="*/ 1803025484 h 977"/>
              <a:gd name="T46" fmla="*/ 869378102 w 1217"/>
              <a:gd name="T47" fmla="*/ 1822371375 h 977"/>
              <a:gd name="T48" fmla="*/ 769502310 w 1217"/>
              <a:gd name="T49" fmla="*/ 1841717266 h 977"/>
              <a:gd name="T50" fmla="*/ 669625199 w 1217"/>
              <a:gd name="T51" fmla="*/ 1855258972 h 977"/>
              <a:gd name="T52" fmla="*/ 567479113 w 1217"/>
              <a:gd name="T53" fmla="*/ 1868800679 h 977"/>
              <a:gd name="T54" fmla="*/ 465333027 w 1217"/>
              <a:gd name="T55" fmla="*/ 1878474320 h 977"/>
              <a:gd name="T56" fmla="*/ 363186847 w 1217"/>
              <a:gd name="T57" fmla="*/ 1884277113 h 977"/>
              <a:gd name="T58" fmla="*/ 258770279 w 1217"/>
              <a:gd name="T59" fmla="*/ 1888146570 h 977"/>
              <a:gd name="T60" fmla="*/ 0 w 1217"/>
              <a:gd name="T61" fmla="*/ 1224587312 h 977"/>
              <a:gd name="T62" fmla="*/ 233801001 w 1217"/>
              <a:gd name="T63" fmla="*/ 630671487 h 977"/>
              <a:gd name="T64" fmla="*/ 283739557 w 1217"/>
              <a:gd name="T65" fmla="*/ 628736759 h 977"/>
              <a:gd name="T66" fmla="*/ 335947087 w 1217"/>
              <a:gd name="T67" fmla="*/ 624868693 h 977"/>
              <a:gd name="T68" fmla="*/ 385885643 w 1217"/>
              <a:gd name="T69" fmla="*/ 620999237 h 977"/>
              <a:gd name="T70" fmla="*/ 438094774 w 1217"/>
              <a:gd name="T71" fmla="*/ 613260324 h 977"/>
              <a:gd name="T72" fmla="*/ 488031823 w 1217"/>
              <a:gd name="T73" fmla="*/ 605522803 h 977"/>
              <a:gd name="T74" fmla="*/ 537970378 w 1217"/>
              <a:gd name="T75" fmla="*/ 597783890 h 977"/>
              <a:gd name="T76" fmla="*/ 587908933 w 1217"/>
              <a:gd name="T77" fmla="*/ 588111640 h 977"/>
              <a:gd name="T78" fmla="*/ 640116464 w 1217"/>
              <a:gd name="T79" fmla="*/ 574569934 h 977"/>
              <a:gd name="T80" fmla="*/ 687784537 w 1217"/>
              <a:gd name="T81" fmla="*/ 561026836 h 977"/>
              <a:gd name="T82" fmla="*/ 735452610 w 1217"/>
              <a:gd name="T83" fmla="*/ 547485130 h 977"/>
              <a:gd name="T84" fmla="*/ 783120683 w 1217"/>
              <a:gd name="T85" fmla="*/ 530073967 h 977"/>
              <a:gd name="T86" fmla="*/ 830790451 w 1217"/>
              <a:gd name="T87" fmla="*/ 510728076 h 977"/>
              <a:gd name="T88" fmla="*/ 876188042 w 1217"/>
              <a:gd name="T89" fmla="*/ 493316914 h 977"/>
              <a:gd name="T90" fmla="*/ 921585632 w 1217"/>
              <a:gd name="T91" fmla="*/ 472036295 h 977"/>
              <a:gd name="T92" fmla="*/ 966984730 w 1217"/>
              <a:gd name="T93" fmla="*/ 450755676 h 977"/>
              <a:gd name="T94" fmla="*/ 1010113345 w 1217"/>
              <a:gd name="T95" fmla="*/ 427541719 h 977"/>
              <a:gd name="T96" fmla="*/ 1053241960 w 1217"/>
              <a:gd name="T97" fmla="*/ 402391644 h 977"/>
              <a:gd name="T98" fmla="*/ 1094100093 w 1217"/>
              <a:gd name="T99" fmla="*/ 375308231 h 977"/>
              <a:gd name="T100" fmla="*/ 1134958226 w 1217"/>
              <a:gd name="T101" fmla="*/ 350158069 h 977"/>
              <a:gd name="T102" fmla="*/ 1175817866 w 1217"/>
              <a:gd name="T103" fmla="*/ 323074656 h 977"/>
              <a:gd name="T104" fmla="*/ 1212136541 w 1217"/>
              <a:gd name="T105" fmla="*/ 292120396 h 977"/>
              <a:gd name="T106" fmla="*/ 1248455217 w 1217"/>
              <a:gd name="T107" fmla="*/ 261167527 h 977"/>
              <a:gd name="T108" fmla="*/ 1287042868 w 1217"/>
              <a:gd name="T109" fmla="*/ 230214658 h 977"/>
              <a:gd name="T110" fmla="*/ 1321091061 w 1217"/>
              <a:gd name="T111" fmla="*/ 197327061 h 977"/>
              <a:gd name="T112" fmla="*/ 1352870278 w 1217"/>
              <a:gd name="T113" fmla="*/ 164439420 h 977"/>
              <a:gd name="T114" fmla="*/ 1384649496 w 1217"/>
              <a:gd name="T115" fmla="*/ 129617095 h 977"/>
              <a:gd name="T116" fmla="*/ 1414158231 w 1217"/>
              <a:gd name="T117" fmla="*/ 92860041 h 977"/>
              <a:gd name="T118" fmla="*/ 1445937449 w 1217"/>
              <a:gd name="T119" fmla="*/ 56102966 h 977"/>
              <a:gd name="T120" fmla="*/ 1470906726 w 1217"/>
              <a:gd name="T121" fmla="*/ 19345896 h 977"/>
              <a:gd name="T122" fmla="*/ 1961207713 w 1217"/>
              <a:gd name="T123" fmla="*/ 481709936 h 97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217"/>
              <a:gd name="T187" fmla="*/ 0 h 977"/>
              <a:gd name="T188" fmla="*/ 1217 w 1217"/>
              <a:gd name="T189" fmla="*/ 977 h 97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217" h="977">
                <a:moveTo>
                  <a:pt x="1216" y="326"/>
                </a:moveTo>
                <a:lnTo>
                  <a:pt x="1205" y="345"/>
                </a:lnTo>
                <a:lnTo>
                  <a:pt x="1193" y="364"/>
                </a:lnTo>
                <a:lnTo>
                  <a:pt x="1181" y="383"/>
                </a:lnTo>
                <a:lnTo>
                  <a:pt x="1168" y="403"/>
                </a:lnTo>
                <a:lnTo>
                  <a:pt x="1156" y="421"/>
                </a:lnTo>
                <a:lnTo>
                  <a:pt x="1143" y="440"/>
                </a:lnTo>
                <a:lnTo>
                  <a:pt x="1129" y="458"/>
                </a:lnTo>
                <a:lnTo>
                  <a:pt x="1116" y="476"/>
                </a:lnTo>
                <a:lnTo>
                  <a:pt x="1101" y="494"/>
                </a:lnTo>
                <a:lnTo>
                  <a:pt x="1087" y="511"/>
                </a:lnTo>
                <a:lnTo>
                  <a:pt x="1072" y="528"/>
                </a:lnTo>
                <a:lnTo>
                  <a:pt x="1057" y="546"/>
                </a:lnTo>
                <a:lnTo>
                  <a:pt x="1042" y="562"/>
                </a:lnTo>
                <a:lnTo>
                  <a:pt x="1026" y="578"/>
                </a:lnTo>
                <a:lnTo>
                  <a:pt x="1010" y="595"/>
                </a:lnTo>
                <a:lnTo>
                  <a:pt x="994" y="611"/>
                </a:lnTo>
                <a:lnTo>
                  <a:pt x="977" y="626"/>
                </a:lnTo>
                <a:lnTo>
                  <a:pt x="961" y="642"/>
                </a:lnTo>
                <a:lnTo>
                  <a:pt x="944" y="657"/>
                </a:lnTo>
                <a:lnTo>
                  <a:pt x="927" y="671"/>
                </a:lnTo>
                <a:lnTo>
                  <a:pt x="909" y="686"/>
                </a:lnTo>
                <a:lnTo>
                  <a:pt x="891" y="700"/>
                </a:lnTo>
                <a:lnTo>
                  <a:pt x="874" y="714"/>
                </a:lnTo>
                <a:lnTo>
                  <a:pt x="856" y="727"/>
                </a:lnTo>
                <a:lnTo>
                  <a:pt x="836" y="741"/>
                </a:lnTo>
                <a:lnTo>
                  <a:pt x="818" y="753"/>
                </a:lnTo>
                <a:lnTo>
                  <a:pt x="799" y="765"/>
                </a:lnTo>
                <a:lnTo>
                  <a:pt x="780" y="778"/>
                </a:lnTo>
                <a:lnTo>
                  <a:pt x="761" y="789"/>
                </a:lnTo>
                <a:lnTo>
                  <a:pt x="741" y="801"/>
                </a:lnTo>
                <a:lnTo>
                  <a:pt x="721" y="813"/>
                </a:lnTo>
                <a:lnTo>
                  <a:pt x="701" y="823"/>
                </a:lnTo>
                <a:lnTo>
                  <a:pt x="681" y="834"/>
                </a:lnTo>
                <a:lnTo>
                  <a:pt x="661" y="844"/>
                </a:lnTo>
                <a:lnTo>
                  <a:pt x="641" y="854"/>
                </a:lnTo>
                <a:lnTo>
                  <a:pt x="619" y="863"/>
                </a:lnTo>
                <a:lnTo>
                  <a:pt x="599" y="872"/>
                </a:lnTo>
                <a:lnTo>
                  <a:pt x="578" y="881"/>
                </a:lnTo>
                <a:lnTo>
                  <a:pt x="557" y="889"/>
                </a:lnTo>
                <a:lnTo>
                  <a:pt x="536" y="897"/>
                </a:lnTo>
                <a:lnTo>
                  <a:pt x="515" y="905"/>
                </a:lnTo>
                <a:lnTo>
                  <a:pt x="493" y="911"/>
                </a:lnTo>
                <a:lnTo>
                  <a:pt x="472" y="919"/>
                </a:lnTo>
                <a:lnTo>
                  <a:pt x="450" y="925"/>
                </a:lnTo>
                <a:lnTo>
                  <a:pt x="427" y="932"/>
                </a:lnTo>
                <a:lnTo>
                  <a:pt x="405" y="937"/>
                </a:lnTo>
                <a:lnTo>
                  <a:pt x="383" y="942"/>
                </a:lnTo>
                <a:lnTo>
                  <a:pt x="361" y="947"/>
                </a:lnTo>
                <a:lnTo>
                  <a:pt x="339" y="952"/>
                </a:lnTo>
                <a:lnTo>
                  <a:pt x="317" y="956"/>
                </a:lnTo>
                <a:lnTo>
                  <a:pt x="295" y="959"/>
                </a:lnTo>
                <a:lnTo>
                  <a:pt x="272" y="963"/>
                </a:lnTo>
                <a:lnTo>
                  <a:pt x="250" y="966"/>
                </a:lnTo>
                <a:lnTo>
                  <a:pt x="227" y="968"/>
                </a:lnTo>
                <a:lnTo>
                  <a:pt x="205" y="971"/>
                </a:lnTo>
                <a:lnTo>
                  <a:pt x="182" y="972"/>
                </a:lnTo>
                <a:lnTo>
                  <a:pt x="160" y="974"/>
                </a:lnTo>
                <a:lnTo>
                  <a:pt x="137" y="975"/>
                </a:lnTo>
                <a:lnTo>
                  <a:pt x="114" y="976"/>
                </a:lnTo>
                <a:lnTo>
                  <a:pt x="92" y="976"/>
                </a:lnTo>
                <a:lnTo>
                  <a:pt x="0" y="633"/>
                </a:lnTo>
                <a:lnTo>
                  <a:pt x="92" y="326"/>
                </a:lnTo>
                <a:lnTo>
                  <a:pt x="103" y="326"/>
                </a:lnTo>
                <a:lnTo>
                  <a:pt x="114" y="325"/>
                </a:lnTo>
                <a:lnTo>
                  <a:pt x="125" y="325"/>
                </a:lnTo>
                <a:lnTo>
                  <a:pt x="137" y="324"/>
                </a:lnTo>
                <a:lnTo>
                  <a:pt x="148" y="323"/>
                </a:lnTo>
                <a:lnTo>
                  <a:pt x="160" y="322"/>
                </a:lnTo>
                <a:lnTo>
                  <a:pt x="170" y="321"/>
                </a:lnTo>
                <a:lnTo>
                  <a:pt x="182" y="319"/>
                </a:lnTo>
                <a:lnTo>
                  <a:pt x="193" y="317"/>
                </a:lnTo>
                <a:lnTo>
                  <a:pt x="204" y="315"/>
                </a:lnTo>
                <a:lnTo>
                  <a:pt x="215" y="313"/>
                </a:lnTo>
                <a:lnTo>
                  <a:pt x="227" y="311"/>
                </a:lnTo>
                <a:lnTo>
                  <a:pt x="237" y="309"/>
                </a:lnTo>
                <a:lnTo>
                  <a:pt x="249" y="307"/>
                </a:lnTo>
                <a:lnTo>
                  <a:pt x="259" y="304"/>
                </a:lnTo>
                <a:lnTo>
                  <a:pt x="270" y="301"/>
                </a:lnTo>
                <a:lnTo>
                  <a:pt x="282" y="297"/>
                </a:lnTo>
                <a:lnTo>
                  <a:pt x="292" y="294"/>
                </a:lnTo>
                <a:lnTo>
                  <a:pt x="303" y="290"/>
                </a:lnTo>
                <a:lnTo>
                  <a:pt x="313" y="286"/>
                </a:lnTo>
                <a:lnTo>
                  <a:pt x="324" y="283"/>
                </a:lnTo>
                <a:lnTo>
                  <a:pt x="334" y="278"/>
                </a:lnTo>
                <a:lnTo>
                  <a:pt x="345" y="274"/>
                </a:lnTo>
                <a:lnTo>
                  <a:pt x="355" y="269"/>
                </a:lnTo>
                <a:lnTo>
                  <a:pt x="366" y="264"/>
                </a:lnTo>
                <a:lnTo>
                  <a:pt x="377" y="260"/>
                </a:lnTo>
                <a:lnTo>
                  <a:pt x="386" y="255"/>
                </a:lnTo>
                <a:lnTo>
                  <a:pt x="397" y="250"/>
                </a:lnTo>
                <a:lnTo>
                  <a:pt x="406" y="244"/>
                </a:lnTo>
                <a:lnTo>
                  <a:pt x="416" y="239"/>
                </a:lnTo>
                <a:lnTo>
                  <a:pt x="426" y="233"/>
                </a:lnTo>
                <a:lnTo>
                  <a:pt x="436" y="227"/>
                </a:lnTo>
                <a:lnTo>
                  <a:pt x="445" y="221"/>
                </a:lnTo>
                <a:lnTo>
                  <a:pt x="454" y="215"/>
                </a:lnTo>
                <a:lnTo>
                  <a:pt x="464" y="208"/>
                </a:lnTo>
                <a:lnTo>
                  <a:pt x="474" y="201"/>
                </a:lnTo>
                <a:lnTo>
                  <a:pt x="482" y="194"/>
                </a:lnTo>
                <a:lnTo>
                  <a:pt x="492" y="188"/>
                </a:lnTo>
                <a:lnTo>
                  <a:pt x="500" y="181"/>
                </a:lnTo>
                <a:lnTo>
                  <a:pt x="509" y="173"/>
                </a:lnTo>
                <a:lnTo>
                  <a:pt x="518" y="167"/>
                </a:lnTo>
                <a:lnTo>
                  <a:pt x="526" y="159"/>
                </a:lnTo>
                <a:lnTo>
                  <a:pt x="534" y="151"/>
                </a:lnTo>
                <a:lnTo>
                  <a:pt x="543" y="143"/>
                </a:lnTo>
                <a:lnTo>
                  <a:pt x="550" y="135"/>
                </a:lnTo>
                <a:lnTo>
                  <a:pt x="559" y="127"/>
                </a:lnTo>
                <a:lnTo>
                  <a:pt x="567" y="119"/>
                </a:lnTo>
                <a:lnTo>
                  <a:pt x="574" y="111"/>
                </a:lnTo>
                <a:lnTo>
                  <a:pt x="582" y="102"/>
                </a:lnTo>
                <a:lnTo>
                  <a:pt x="589" y="94"/>
                </a:lnTo>
                <a:lnTo>
                  <a:pt x="596" y="85"/>
                </a:lnTo>
                <a:lnTo>
                  <a:pt x="603" y="76"/>
                </a:lnTo>
                <a:lnTo>
                  <a:pt x="610" y="67"/>
                </a:lnTo>
                <a:lnTo>
                  <a:pt x="617" y="58"/>
                </a:lnTo>
                <a:lnTo>
                  <a:pt x="623" y="48"/>
                </a:lnTo>
                <a:lnTo>
                  <a:pt x="630" y="39"/>
                </a:lnTo>
                <a:lnTo>
                  <a:pt x="637" y="29"/>
                </a:lnTo>
                <a:lnTo>
                  <a:pt x="642" y="21"/>
                </a:lnTo>
                <a:lnTo>
                  <a:pt x="648" y="10"/>
                </a:lnTo>
                <a:lnTo>
                  <a:pt x="654" y="0"/>
                </a:lnTo>
                <a:lnTo>
                  <a:pt x="864" y="249"/>
                </a:lnTo>
                <a:lnTo>
                  <a:pt x="1216" y="326"/>
                </a:lnTo>
              </a:path>
            </a:pathLst>
          </a:custGeom>
          <a:solidFill>
            <a:srgbClr val="899BAD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lIns="45678" tIns="45678" rIns="45678" bIns="45678" anchor="ctr"/>
          <a:lstStyle/>
          <a:p>
            <a:pPr algn="ctr" defTabSz="899304"/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4482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6385">
              <a:tabLst/>
            </a:pPr>
            <a:r>
              <a:rPr lang="en-US" dirty="0"/>
              <a:t>What is project development and delivery?</a:t>
            </a:r>
          </a:p>
        </p:txBody>
      </p:sp>
      <p:sp>
        <p:nvSpPr>
          <p:cNvPr id="38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1</a:t>
            </a:r>
          </a:p>
        </p:txBody>
      </p:sp>
      <p:grpSp>
        <p:nvGrpSpPr>
          <p:cNvPr id="138" name="Group 137"/>
          <p:cNvGrpSpPr/>
          <p:nvPr/>
        </p:nvGrpSpPr>
        <p:grpSpPr>
          <a:xfrm>
            <a:off x="7570624" y="535545"/>
            <a:ext cx="1316202" cy="164592"/>
            <a:chOff x="7390602" y="535545"/>
            <a:chExt cx="1316202" cy="164592"/>
          </a:xfrm>
        </p:grpSpPr>
        <p:sp>
          <p:nvSpPr>
            <p:cNvPr id="139" name="Rectangle 138"/>
            <p:cNvSpPr>
              <a:spLocks/>
            </p:cNvSpPr>
            <p:nvPr/>
          </p:nvSpPr>
          <p:spPr>
            <a:xfrm>
              <a:off x="7390602" y="535545"/>
              <a:ext cx="164592" cy="164592"/>
            </a:xfrm>
            <a:prstGeom prst="rect">
              <a:avLst/>
            </a:prstGeom>
            <a:noFill/>
            <a:ln w="19050">
              <a:solidFill>
                <a:schemeClr val="accent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140" name="Rectangle 286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604680" y="540897"/>
              <a:ext cx="1102124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defTabSz="518239"/>
              <a:r>
                <a:rPr lang="en-US" sz="1000" dirty="0">
                  <a:solidFill>
                    <a:schemeClr val="tx2"/>
                  </a:solidFill>
                </a:rPr>
                <a:t>Focus of this course</a:t>
              </a:r>
            </a:p>
          </p:txBody>
        </p:sp>
      </p:grpSp>
      <p:sp>
        <p:nvSpPr>
          <p:cNvPr id="141" name="TextBox 140"/>
          <p:cNvSpPr txBox="1">
            <a:spLocks/>
          </p:cNvSpPr>
          <p:nvPr/>
        </p:nvSpPr>
        <p:spPr>
          <a:xfrm>
            <a:off x="238355" y="734402"/>
            <a:ext cx="878002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1193817" eaLnBrk="1" latinLnBrk="0" hangingPunct="1">
              <a:buClr>
                <a:schemeClr val="tx2"/>
              </a:buClr>
              <a:buSzPct val="100000"/>
              <a:defRPr sz="22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400" dirty="0"/>
              <a:t>The process is cyclical: operations and maintenance identify needs which feed into project selection</a:t>
            </a:r>
          </a:p>
        </p:txBody>
      </p:sp>
      <p:sp>
        <p:nvSpPr>
          <p:cNvPr id="11" name="Freeform 17"/>
          <p:cNvSpPr>
            <a:spLocks/>
          </p:cNvSpPr>
          <p:nvPr/>
        </p:nvSpPr>
        <p:spPr bwMode="auto">
          <a:xfrm>
            <a:off x="2796799" y="1030628"/>
            <a:ext cx="3499827" cy="913213"/>
          </a:xfrm>
          <a:custGeom>
            <a:avLst/>
            <a:gdLst>
              <a:gd name="T0" fmla="*/ 0 w 2162"/>
              <a:gd name="T1" fmla="*/ 0 h 582"/>
              <a:gd name="T2" fmla="*/ 2147483647 w 2162"/>
              <a:gd name="T3" fmla="*/ 0 h 582"/>
              <a:gd name="T4" fmla="*/ 2147483647 w 2162"/>
              <a:gd name="T5" fmla="*/ 730845204 h 582"/>
              <a:gd name="T6" fmla="*/ 2147483647 w 2162"/>
              <a:gd name="T7" fmla="*/ 1466730719 h 582"/>
              <a:gd name="T8" fmla="*/ 2147483647 w 2162"/>
              <a:gd name="T9" fmla="*/ 1466730719 h 582"/>
              <a:gd name="T10" fmla="*/ 2147483647 w 2162"/>
              <a:gd name="T11" fmla="*/ 1381045443 h 582"/>
              <a:gd name="T12" fmla="*/ 2147483647 w 2162"/>
              <a:gd name="T13" fmla="*/ 1290319856 h 582"/>
              <a:gd name="T14" fmla="*/ 2147483647 w 2162"/>
              <a:gd name="T15" fmla="*/ 1224795821 h 582"/>
              <a:gd name="T16" fmla="*/ 2147483647 w 2162"/>
              <a:gd name="T17" fmla="*/ 1174392717 h 582"/>
              <a:gd name="T18" fmla="*/ 2147483647 w 2162"/>
              <a:gd name="T19" fmla="*/ 1108868682 h 582"/>
              <a:gd name="T20" fmla="*/ 2147483647 w 2162"/>
              <a:gd name="T21" fmla="*/ 1023183405 h 582"/>
              <a:gd name="T22" fmla="*/ 2147483647 w 2162"/>
              <a:gd name="T23" fmla="*/ 952619060 h 582"/>
              <a:gd name="T24" fmla="*/ 2093741983 w 2162"/>
              <a:gd name="T25" fmla="*/ 841732231 h 582"/>
              <a:gd name="T26" fmla="*/ 1975451145 w 2162"/>
              <a:gd name="T27" fmla="*/ 740925825 h 582"/>
              <a:gd name="T28" fmla="*/ 1827588888 w 2162"/>
              <a:gd name="T29" fmla="*/ 640119617 h 582"/>
              <a:gd name="T30" fmla="*/ 1656067001 w 2162"/>
              <a:gd name="T31" fmla="*/ 524192479 h 582"/>
              <a:gd name="T32" fmla="*/ 1419485325 w 2162"/>
              <a:gd name="T33" fmla="*/ 393144309 h 582"/>
              <a:gd name="T34" fmla="*/ 1236135988 w 2162"/>
              <a:gd name="T35" fmla="*/ 307459033 h 582"/>
              <a:gd name="T36" fmla="*/ 899006799 w 2162"/>
              <a:gd name="T37" fmla="*/ 176410913 h 582"/>
              <a:gd name="T38" fmla="*/ 561879545 w 2162"/>
              <a:gd name="T39" fmla="*/ 90725612 h 582"/>
              <a:gd name="T40" fmla="*/ 130118772 w 2162"/>
              <a:gd name="T41" fmla="*/ 10080624 h 582"/>
              <a:gd name="T42" fmla="*/ 0 w 2162"/>
              <a:gd name="T43" fmla="*/ 0 h 582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162"/>
              <a:gd name="T67" fmla="*/ 0 h 582"/>
              <a:gd name="T68" fmla="*/ 2162 w 2162"/>
              <a:gd name="T69" fmla="*/ 582 h 582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162" h="582">
                <a:moveTo>
                  <a:pt x="0" y="0"/>
                </a:moveTo>
                <a:lnTo>
                  <a:pt x="1988" y="0"/>
                </a:lnTo>
                <a:lnTo>
                  <a:pt x="2162" y="290"/>
                </a:lnTo>
                <a:lnTo>
                  <a:pt x="1990" y="582"/>
                </a:lnTo>
                <a:lnTo>
                  <a:pt x="896" y="582"/>
                </a:lnTo>
                <a:lnTo>
                  <a:pt x="874" y="548"/>
                </a:lnTo>
                <a:lnTo>
                  <a:pt x="850" y="512"/>
                </a:lnTo>
                <a:lnTo>
                  <a:pt x="834" y="486"/>
                </a:lnTo>
                <a:lnTo>
                  <a:pt x="818" y="466"/>
                </a:lnTo>
                <a:lnTo>
                  <a:pt x="800" y="440"/>
                </a:lnTo>
                <a:lnTo>
                  <a:pt x="772" y="406"/>
                </a:lnTo>
                <a:lnTo>
                  <a:pt x="748" y="378"/>
                </a:lnTo>
                <a:lnTo>
                  <a:pt x="708" y="334"/>
                </a:lnTo>
                <a:lnTo>
                  <a:pt x="668" y="294"/>
                </a:lnTo>
                <a:lnTo>
                  <a:pt x="618" y="254"/>
                </a:lnTo>
                <a:lnTo>
                  <a:pt x="560" y="208"/>
                </a:lnTo>
                <a:lnTo>
                  <a:pt x="480" y="156"/>
                </a:lnTo>
                <a:lnTo>
                  <a:pt x="418" y="122"/>
                </a:lnTo>
                <a:lnTo>
                  <a:pt x="304" y="70"/>
                </a:lnTo>
                <a:lnTo>
                  <a:pt x="190" y="36"/>
                </a:lnTo>
                <a:lnTo>
                  <a:pt x="44" y="4"/>
                </a:lnTo>
                <a:lnTo>
                  <a:pt x="0" y="0"/>
                </a:lnTo>
                <a:close/>
              </a:path>
            </a:pathLst>
          </a:custGeom>
          <a:solidFill>
            <a:srgbClr val="899BAD"/>
          </a:solidFill>
          <a:ln w="9525">
            <a:noFill/>
            <a:prstDash val="dash"/>
            <a:round/>
            <a:headEnd/>
            <a:tailEnd/>
          </a:ln>
        </p:spPr>
        <p:txBody>
          <a:bodyPr lIns="91356" tIns="45678" rIns="91356" bIns="45678"/>
          <a:lstStyle/>
          <a:p>
            <a:endParaRPr lang="en-US" dirty="0">
              <a:latin typeface="+mn-lt"/>
            </a:endParaRPr>
          </a:p>
        </p:txBody>
      </p:sp>
      <p:sp>
        <p:nvSpPr>
          <p:cNvPr id="12" name="AutoShape 18"/>
          <p:cNvSpPr>
            <a:spLocks noChangeArrowheads="1"/>
          </p:cNvSpPr>
          <p:nvPr/>
        </p:nvSpPr>
        <p:spPr bwMode="gray">
          <a:xfrm>
            <a:off x="238355" y="1027378"/>
            <a:ext cx="1500662" cy="913213"/>
          </a:xfrm>
          <a:prstGeom prst="chevron">
            <a:avLst>
              <a:gd name="adj" fmla="val 29046"/>
            </a:avLst>
          </a:prstGeom>
          <a:solidFill>
            <a:srgbClr val="14385C"/>
          </a:solidFill>
          <a:ln w="190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lIns="182712" tIns="45678" rIns="91356" bIns="45678" anchor="ctr">
            <a:noAutofit/>
          </a:bodyPr>
          <a:lstStyle/>
          <a:p>
            <a:pPr algn="ctr" eaLnBrk="0" hangingPunct="0"/>
            <a:endParaRPr lang="en-GB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3" name="Freeform 13"/>
          <p:cNvSpPr>
            <a:spLocks/>
          </p:cNvSpPr>
          <p:nvPr/>
        </p:nvSpPr>
        <p:spPr bwMode="auto">
          <a:xfrm rot="618831">
            <a:off x="2585946" y="3108094"/>
            <a:ext cx="1598981" cy="1343144"/>
          </a:xfrm>
          <a:custGeom>
            <a:avLst/>
            <a:gdLst>
              <a:gd name="T0" fmla="*/ 2147483647 w 1127"/>
              <a:gd name="T1" fmla="*/ 1888146570 h 977"/>
              <a:gd name="T2" fmla="*/ 2147483647 w 1127"/>
              <a:gd name="T3" fmla="*/ 1884277113 h 977"/>
              <a:gd name="T4" fmla="*/ 2147483647 w 1127"/>
              <a:gd name="T5" fmla="*/ 1878474320 h 977"/>
              <a:gd name="T6" fmla="*/ 2147483647 w 1127"/>
              <a:gd name="T7" fmla="*/ 1868800679 h 977"/>
              <a:gd name="T8" fmla="*/ 2094488875 w 1127"/>
              <a:gd name="T9" fmla="*/ 1855258972 h 977"/>
              <a:gd name="T10" fmla="*/ 1992262441 w 1127"/>
              <a:gd name="T11" fmla="*/ 1841717266 h 977"/>
              <a:gd name="T12" fmla="*/ 1892308878 w 1127"/>
              <a:gd name="T13" fmla="*/ 1822371375 h 977"/>
              <a:gd name="T14" fmla="*/ 1792355316 w 1127"/>
              <a:gd name="T15" fmla="*/ 1803025484 h 977"/>
              <a:gd name="T16" fmla="*/ 1692401753 w 1127"/>
              <a:gd name="T17" fmla="*/ 1777875409 h 977"/>
              <a:gd name="T18" fmla="*/ 1594719553 w 1127"/>
              <a:gd name="T19" fmla="*/ 1750791996 h 977"/>
              <a:gd name="T20" fmla="*/ 1499308341 w 1127"/>
              <a:gd name="T21" fmla="*/ 1719839127 h 977"/>
              <a:gd name="T22" fmla="*/ 1403897505 w 1127"/>
              <a:gd name="T23" fmla="*/ 1686951530 h 977"/>
              <a:gd name="T24" fmla="*/ 1308488177 w 1127"/>
              <a:gd name="T25" fmla="*/ 1652129205 h 977"/>
              <a:gd name="T26" fmla="*/ 1215348705 w 1127"/>
              <a:gd name="T27" fmla="*/ 1613437423 h 977"/>
              <a:gd name="T28" fmla="*/ 1124482104 w 1127"/>
              <a:gd name="T29" fmla="*/ 1572810913 h 977"/>
              <a:gd name="T30" fmla="*/ 1035885359 w 1127"/>
              <a:gd name="T31" fmla="*/ 1526381610 h 977"/>
              <a:gd name="T32" fmla="*/ 947290121 w 1127"/>
              <a:gd name="T33" fmla="*/ 1479950915 h 977"/>
              <a:gd name="T34" fmla="*/ 863239118 w 1127"/>
              <a:gd name="T35" fmla="*/ 1433521264 h 977"/>
              <a:gd name="T36" fmla="*/ 779186419 w 1127"/>
              <a:gd name="T37" fmla="*/ 1381287776 h 977"/>
              <a:gd name="T38" fmla="*/ 699676635 w 1127"/>
              <a:gd name="T39" fmla="*/ 1327119559 h 977"/>
              <a:gd name="T40" fmla="*/ 617896996 w 1127"/>
              <a:gd name="T41" fmla="*/ 1271016615 h 977"/>
              <a:gd name="T42" fmla="*/ 542931447 w 1127"/>
              <a:gd name="T43" fmla="*/ 1211045605 h 977"/>
              <a:gd name="T44" fmla="*/ 467965898 w 1127"/>
              <a:gd name="T45" fmla="*/ 1151073204 h 977"/>
              <a:gd name="T46" fmla="*/ 397544583 w 1127"/>
              <a:gd name="T47" fmla="*/ 1087232738 h 977"/>
              <a:gd name="T48" fmla="*/ 329393031 w 1127"/>
              <a:gd name="T49" fmla="*/ 1021456153 h 977"/>
              <a:gd name="T50" fmla="*/ 261243080 w 1127"/>
              <a:gd name="T51" fmla="*/ 955680958 h 977"/>
              <a:gd name="T52" fmla="*/ 197635856 w 1127"/>
              <a:gd name="T53" fmla="*/ 886036308 h 977"/>
              <a:gd name="T54" fmla="*/ 138572820 w 1127"/>
              <a:gd name="T55" fmla="*/ 814456929 h 977"/>
              <a:gd name="T56" fmla="*/ 79508300 w 1127"/>
              <a:gd name="T57" fmla="*/ 740942822 h 977"/>
              <a:gd name="T58" fmla="*/ 24988026 w 1127"/>
              <a:gd name="T59" fmla="*/ 667428541 h 977"/>
              <a:gd name="T60" fmla="*/ 495226783 w 1127"/>
              <a:gd name="T61" fmla="*/ 110271204 h 977"/>
              <a:gd name="T62" fmla="*/ 1290314254 w 1127"/>
              <a:gd name="T63" fmla="*/ 19345896 h 977"/>
              <a:gd name="T64" fmla="*/ 1317573631 w 1127"/>
              <a:gd name="T65" fmla="*/ 56102966 h 977"/>
              <a:gd name="T66" fmla="*/ 1347105880 w 1127"/>
              <a:gd name="T67" fmla="*/ 92860041 h 977"/>
              <a:gd name="T68" fmla="*/ 1376638128 w 1127"/>
              <a:gd name="T69" fmla="*/ 129617095 h 977"/>
              <a:gd name="T70" fmla="*/ 1410713103 w 1127"/>
              <a:gd name="T71" fmla="*/ 164439420 h 977"/>
              <a:gd name="T72" fmla="*/ 1442516715 w 1127"/>
              <a:gd name="T73" fmla="*/ 197327061 h 977"/>
              <a:gd name="T74" fmla="*/ 1476591691 w 1127"/>
              <a:gd name="T75" fmla="*/ 230214658 h 977"/>
              <a:gd name="T76" fmla="*/ 1512938030 w 1127"/>
              <a:gd name="T77" fmla="*/ 261167527 h 977"/>
              <a:gd name="T78" fmla="*/ 1549285876 w 1127"/>
              <a:gd name="T79" fmla="*/ 292120396 h 977"/>
              <a:gd name="T80" fmla="*/ 1587903955 w 1127"/>
              <a:gd name="T81" fmla="*/ 323074656 h 977"/>
              <a:gd name="T82" fmla="*/ 1628794529 w 1127"/>
              <a:gd name="T83" fmla="*/ 350158069 h 977"/>
              <a:gd name="T84" fmla="*/ 1667413739 w 1127"/>
              <a:gd name="T85" fmla="*/ 375308231 h 977"/>
              <a:gd name="T86" fmla="*/ 1708302805 w 1127"/>
              <a:gd name="T87" fmla="*/ 402391644 h 977"/>
              <a:gd name="T88" fmla="*/ 1751464742 w 1127"/>
              <a:gd name="T89" fmla="*/ 427541719 h 977"/>
              <a:gd name="T90" fmla="*/ 1796898043 w 1127"/>
              <a:gd name="T91" fmla="*/ 450755676 h 977"/>
              <a:gd name="T92" fmla="*/ 1842332851 w 1127"/>
              <a:gd name="T93" fmla="*/ 472036295 h 977"/>
              <a:gd name="T94" fmla="*/ 1885494788 w 1127"/>
              <a:gd name="T95" fmla="*/ 493316914 h 977"/>
              <a:gd name="T96" fmla="*/ 1933199452 w 1127"/>
              <a:gd name="T97" fmla="*/ 510728076 h 977"/>
              <a:gd name="T98" fmla="*/ 1978632752 w 1127"/>
              <a:gd name="T99" fmla="*/ 530073967 h 977"/>
              <a:gd name="T100" fmla="*/ 2026338924 w 1127"/>
              <a:gd name="T101" fmla="*/ 547485130 h 977"/>
              <a:gd name="T102" fmla="*/ 2074043588 w 1127"/>
              <a:gd name="T103" fmla="*/ 561026836 h 977"/>
              <a:gd name="T104" fmla="*/ 2124021123 w 1127"/>
              <a:gd name="T105" fmla="*/ 574569934 h 977"/>
              <a:gd name="T106" fmla="*/ 2147483647 w 1127"/>
              <a:gd name="T107" fmla="*/ 588111640 h 977"/>
              <a:gd name="T108" fmla="*/ 2147483647 w 1127"/>
              <a:gd name="T109" fmla="*/ 597783890 h 977"/>
              <a:gd name="T110" fmla="*/ 2147483647 w 1127"/>
              <a:gd name="T111" fmla="*/ 605522803 h 977"/>
              <a:gd name="T112" fmla="*/ 2147483647 w 1127"/>
              <a:gd name="T113" fmla="*/ 613260324 h 977"/>
              <a:gd name="T114" fmla="*/ 2147483647 w 1127"/>
              <a:gd name="T115" fmla="*/ 620999237 h 977"/>
              <a:gd name="T116" fmla="*/ 2147483647 w 1127"/>
              <a:gd name="T117" fmla="*/ 624868693 h 977"/>
              <a:gd name="T118" fmla="*/ 2147483647 w 1127"/>
              <a:gd name="T119" fmla="*/ 628736759 h 977"/>
              <a:gd name="T120" fmla="*/ 2147483647 w 1127"/>
              <a:gd name="T121" fmla="*/ 630671487 h 977"/>
              <a:gd name="T122" fmla="*/ 2147483647 w 1127"/>
              <a:gd name="T123" fmla="*/ 1224587312 h 97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27"/>
              <a:gd name="T187" fmla="*/ 0 h 977"/>
              <a:gd name="T188" fmla="*/ 1127 w 1127"/>
              <a:gd name="T189" fmla="*/ 977 h 97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27" h="977">
                <a:moveTo>
                  <a:pt x="1126" y="976"/>
                </a:moveTo>
                <a:lnTo>
                  <a:pt x="1102" y="976"/>
                </a:lnTo>
                <a:lnTo>
                  <a:pt x="1079" y="975"/>
                </a:lnTo>
                <a:lnTo>
                  <a:pt x="1057" y="974"/>
                </a:lnTo>
                <a:lnTo>
                  <a:pt x="1034" y="972"/>
                </a:lnTo>
                <a:lnTo>
                  <a:pt x="1012" y="971"/>
                </a:lnTo>
                <a:lnTo>
                  <a:pt x="989" y="968"/>
                </a:lnTo>
                <a:lnTo>
                  <a:pt x="967" y="966"/>
                </a:lnTo>
                <a:lnTo>
                  <a:pt x="944" y="963"/>
                </a:lnTo>
                <a:lnTo>
                  <a:pt x="922" y="959"/>
                </a:lnTo>
                <a:lnTo>
                  <a:pt x="900" y="956"/>
                </a:lnTo>
                <a:lnTo>
                  <a:pt x="877" y="952"/>
                </a:lnTo>
                <a:lnTo>
                  <a:pt x="855" y="947"/>
                </a:lnTo>
                <a:lnTo>
                  <a:pt x="833" y="942"/>
                </a:lnTo>
                <a:lnTo>
                  <a:pt x="811" y="937"/>
                </a:lnTo>
                <a:lnTo>
                  <a:pt x="789" y="932"/>
                </a:lnTo>
                <a:lnTo>
                  <a:pt x="767" y="925"/>
                </a:lnTo>
                <a:lnTo>
                  <a:pt x="745" y="919"/>
                </a:lnTo>
                <a:lnTo>
                  <a:pt x="723" y="911"/>
                </a:lnTo>
                <a:lnTo>
                  <a:pt x="702" y="905"/>
                </a:lnTo>
                <a:lnTo>
                  <a:pt x="681" y="897"/>
                </a:lnTo>
                <a:lnTo>
                  <a:pt x="660" y="889"/>
                </a:lnTo>
                <a:lnTo>
                  <a:pt x="639" y="881"/>
                </a:lnTo>
                <a:lnTo>
                  <a:pt x="618" y="872"/>
                </a:lnTo>
                <a:lnTo>
                  <a:pt x="597" y="863"/>
                </a:lnTo>
                <a:lnTo>
                  <a:pt x="576" y="854"/>
                </a:lnTo>
                <a:lnTo>
                  <a:pt x="555" y="844"/>
                </a:lnTo>
                <a:lnTo>
                  <a:pt x="535" y="834"/>
                </a:lnTo>
                <a:lnTo>
                  <a:pt x="515" y="823"/>
                </a:lnTo>
                <a:lnTo>
                  <a:pt x="495" y="813"/>
                </a:lnTo>
                <a:lnTo>
                  <a:pt x="476" y="801"/>
                </a:lnTo>
                <a:lnTo>
                  <a:pt x="456" y="789"/>
                </a:lnTo>
                <a:lnTo>
                  <a:pt x="436" y="778"/>
                </a:lnTo>
                <a:lnTo>
                  <a:pt x="417" y="765"/>
                </a:lnTo>
                <a:lnTo>
                  <a:pt x="399" y="753"/>
                </a:lnTo>
                <a:lnTo>
                  <a:pt x="380" y="741"/>
                </a:lnTo>
                <a:lnTo>
                  <a:pt x="361" y="727"/>
                </a:lnTo>
                <a:lnTo>
                  <a:pt x="343" y="714"/>
                </a:lnTo>
                <a:lnTo>
                  <a:pt x="325" y="700"/>
                </a:lnTo>
                <a:lnTo>
                  <a:pt x="308" y="686"/>
                </a:lnTo>
                <a:lnTo>
                  <a:pt x="289" y="671"/>
                </a:lnTo>
                <a:lnTo>
                  <a:pt x="272" y="657"/>
                </a:lnTo>
                <a:lnTo>
                  <a:pt x="256" y="642"/>
                </a:lnTo>
                <a:lnTo>
                  <a:pt x="239" y="626"/>
                </a:lnTo>
                <a:lnTo>
                  <a:pt x="222" y="611"/>
                </a:lnTo>
                <a:lnTo>
                  <a:pt x="206" y="595"/>
                </a:lnTo>
                <a:lnTo>
                  <a:pt x="191" y="578"/>
                </a:lnTo>
                <a:lnTo>
                  <a:pt x="175" y="562"/>
                </a:lnTo>
                <a:lnTo>
                  <a:pt x="160" y="546"/>
                </a:lnTo>
                <a:lnTo>
                  <a:pt x="145" y="528"/>
                </a:lnTo>
                <a:lnTo>
                  <a:pt x="130" y="511"/>
                </a:lnTo>
                <a:lnTo>
                  <a:pt x="115" y="494"/>
                </a:lnTo>
                <a:lnTo>
                  <a:pt x="101" y="476"/>
                </a:lnTo>
                <a:lnTo>
                  <a:pt x="87" y="458"/>
                </a:lnTo>
                <a:lnTo>
                  <a:pt x="74" y="440"/>
                </a:lnTo>
                <a:lnTo>
                  <a:pt x="61" y="421"/>
                </a:lnTo>
                <a:lnTo>
                  <a:pt x="48" y="403"/>
                </a:lnTo>
                <a:lnTo>
                  <a:pt x="35" y="383"/>
                </a:lnTo>
                <a:lnTo>
                  <a:pt x="23" y="364"/>
                </a:lnTo>
                <a:lnTo>
                  <a:pt x="11" y="345"/>
                </a:lnTo>
                <a:lnTo>
                  <a:pt x="0" y="326"/>
                </a:lnTo>
                <a:lnTo>
                  <a:pt x="218" y="57"/>
                </a:lnTo>
                <a:lnTo>
                  <a:pt x="562" y="0"/>
                </a:lnTo>
                <a:lnTo>
                  <a:pt x="568" y="10"/>
                </a:lnTo>
                <a:lnTo>
                  <a:pt x="575" y="21"/>
                </a:lnTo>
                <a:lnTo>
                  <a:pt x="580" y="29"/>
                </a:lnTo>
                <a:lnTo>
                  <a:pt x="586" y="39"/>
                </a:lnTo>
                <a:lnTo>
                  <a:pt x="593" y="48"/>
                </a:lnTo>
                <a:lnTo>
                  <a:pt x="600" y="58"/>
                </a:lnTo>
                <a:lnTo>
                  <a:pt x="606" y="67"/>
                </a:lnTo>
                <a:lnTo>
                  <a:pt x="613" y="76"/>
                </a:lnTo>
                <a:lnTo>
                  <a:pt x="621" y="85"/>
                </a:lnTo>
                <a:lnTo>
                  <a:pt x="627" y="94"/>
                </a:lnTo>
                <a:lnTo>
                  <a:pt x="635" y="102"/>
                </a:lnTo>
                <a:lnTo>
                  <a:pt x="643" y="111"/>
                </a:lnTo>
                <a:lnTo>
                  <a:pt x="650" y="119"/>
                </a:lnTo>
                <a:lnTo>
                  <a:pt x="658" y="127"/>
                </a:lnTo>
                <a:lnTo>
                  <a:pt x="666" y="135"/>
                </a:lnTo>
                <a:lnTo>
                  <a:pt x="673" y="143"/>
                </a:lnTo>
                <a:lnTo>
                  <a:pt x="682" y="151"/>
                </a:lnTo>
                <a:lnTo>
                  <a:pt x="691" y="159"/>
                </a:lnTo>
                <a:lnTo>
                  <a:pt x="699" y="167"/>
                </a:lnTo>
                <a:lnTo>
                  <a:pt x="708" y="173"/>
                </a:lnTo>
                <a:lnTo>
                  <a:pt x="717" y="181"/>
                </a:lnTo>
                <a:lnTo>
                  <a:pt x="725" y="188"/>
                </a:lnTo>
                <a:lnTo>
                  <a:pt x="734" y="194"/>
                </a:lnTo>
                <a:lnTo>
                  <a:pt x="743" y="201"/>
                </a:lnTo>
                <a:lnTo>
                  <a:pt x="752" y="208"/>
                </a:lnTo>
                <a:lnTo>
                  <a:pt x="762" y="215"/>
                </a:lnTo>
                <a:lnTo>
                  <a:pt x="771" y="221"/>
                </a:lnTo>
                <a:lnTo>
                  <a:pt x="781" y="227"/>
                </a:lnTo>
                <a:lnTo>
                  <a:pt x="791" y="233"/>
                </a:lnTo>
                <a:lnTo>
                  <a:pt x="800" y="239"/>
                </a:lnTo>
                <a:lnTo>
                  <a:pt x="811" y="244"/>
                </a:lnTo>
                <a:lnTo>
                  <a:pt x="820" y="250"/>
                </a:lnTo>
                <a:lnTo>
                  <a:pt x="830" y="255"/>
                </a:lnTo>
                <a:lnTo>
                  <a:pt x="840" y="260"/>
                </a:lnTo>
                <a:lnTo>
                  <a:pt x="851" y="264"/>
                </a:lnTo>
                <a:lnTo>
                  <a:pt x="861" y="269"/>
                </a:lnTo>
                <a:lnTo>
                  <a:pt x="871" y="274"/>
                </a:lnTo>
                <a:lnTo>
                  <a:pt x="882" y="278"/>
                </a:lnTo>
                <a:lnTo>
                  <a:pt x="892" y="283"/>
                </a:lnTo>
                <a:lnTo>
                  <a:pt x="903" y="286"/>
                </a:lnTo>
                <a:lnTo>
                  <a:pt x="913" y="290"/>
                </a:lnTo>
                <a:lnTo>
                  <a:pt x="925" y="294"/>
                </a:lnTo>
                <a:lnTo>
                  <a:pt x="935" y="297"/>
                </a:lnTo>
                <a:lnTo>
                  <a:pt x="946" y="301"/>
                </a:lnTo>
                <a:lnTo>
                  <a:pt x="958" y="304"/>
                </a:lnTo>
                <a:lnTo>
                  <a:pt x="968" y="307"/>
                </a:lnTo>
                <a:lnTo>
                  <a:pt x="979" y="309"/>
                </a:lnTo>
                <a:lnTo>
                  <a:pt x="990" y="311"/>
                </a:lnTo>
                <a:lnTo>
                  <a:pt x="1002" y="313"/>
                </a:lnTo>
                <a:lnTo>
                  <a:pt x="1012" y="315"/>
                </a:lnTo>
                <a:lnTo>
                  <a:pt x="1024" y="317"/>
                </a:lnTo>
                <a:lnTo>
                  <a:pt x="1035" y="319"/>
                </a:lnTo>
                <a:lnTo>
                  <a:pt x="1046" y="321"/>
                </a:lnTo>
                <a:lnTo>
                  <a:pt x="1057" y="322"/>
                </a:lnTo>
                <a:lnTo>
                  <a:pt x="1069" y="323"/>
                </a:lnTo>
                <a:lnTo>
                  <a:pt x="1080" y="324"/>
                </a:lnTo>
                <a:lnTo>
                  <a:pt x="1091" y="325"/>
                </a:lnTo>
                <a:lnTo>
                  <a:pt x="1102" y="325"/>
                </a:lnTo>
                <a:lnTo>
                  <a:pt x="1114" y="326"/>
                </a:lnTo>
                <a:lnTo>
                  <a:pt x="1126" y="326"/>
                </a:lnTo>
                <a:lnTo>
                  <a:pt x="1034" y="633"/>
                </a:lnTo>
                <a:lnTo>
                  <a:pt x="1126" y="976"/>
                </a:lnTo>
              </a:path>
            </a:pathLst>
          </a:custGeom>
          <a:solidFill>
            <a:srgbClr val="899BAD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lIns="45678" tIns="45678" rIns="45678" bIns="45678" anchor="ctr"/>
          <a:lstStyle/>
          <a:p>
            <a:pPr algn="ctr" defTabSz="899304"/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Freeform 14"/>
          <p:cNvSpPr>
            <a:spLocks/>
          </p:cNvSpPr>
          <p:nvPr/>
        </p:nvSpPr>
        <p:spPr bwMode="auto">
          <a:xfrm rot="618831">
            <a:off x="5153283" y="2155668"/>
            <a:ext cx="1044568" cy="1788767"/>
          </a:xfrm>
          <a:custGeom>
            <a:avLst/>
            <a:gdLst>
              <a:gd name="T0" fmla="*/ 1297719583 w 738"/>
              <a:gd name="T1" fmla="*/ 36765326 h 1301"/>
              <a:gd name="T2" fmla="*/ 1345195960 w 738"/>
              <a:gd name="T3" fmla="*/ 116100818 h 1301"/>
              <a:gd name="T4" fmla="*/ 1390412416 w 738"/>
              <a:gd name="T5" fmla="*/ 195436321 h 1301"/>
              <a:gd name="T6" fmla="*/ 1431107528 w 738"/>
              <a:gd name="T7" fmla="*/ 274770390 h 1301"/>
              <a:gd name="T8" fmla="*/ 1471802639 w 738"/>
              <a:gd name="T9" fmla="*/ 356040793 h 1301"/>
              <a:gd name="T10" fmla="*/ 1505714981 w 738"/>
              <a:gd name="T11" fmla="*/ 439246226 h 1301"/>
              <a:gd name="T12" fmla="*/ 1537367402 w 738"/>
              <a:gd name="T13" fmla="*/ 522451572 h 1301"/>
              <a:gd name="T14" fmla="*/ 1566758400 w 738"/>
              <a:gd name="T15" fmla="*/ 605656919 h 1301"/>
              <a:gd name="T16" fmla="*/ 1591626924 w 738"/>
              <a:gd name="T17" fmla="*/ 690797208 h 1301"/>
              <a:gd name="T18" fmla="*/ 1611975232 w 738"/>
              <a:gd name="T19" fmla="*/ 775937672 h 1301"/>
              <a:gd name="T20" fmla="*/ 1630062115 w 738"/>
              <a:gd name="T21" fmla="*/ 864947848 h 1301"/>
              <a:gd name="T22" fmla="*/ 1645887574 w 738"/>
              <a:gd name="T23" fmla="*/ 952023082 h 1301"/>
              <a:gd name="T24" fmla="*/ 1654930264 w 738"/>
              <a:gd name="T25" fmla="*/ 1039098315 h 1301"/>
              <a:gd name="T26" fmla="*/ 1661713033 w 738"/>
              <a:gd name="T27" fmla="*/ 1126173548 h 1301"/>
              <a:gd name="T28" fmla="*/ 1666234378 w 738"/>
              <a:gd name="T29" fmla="*/ 1213248781 h 1301"/>
              <a:gd name="T30" fmla="*/ 1666234378 w 738"/>
              <a:gd name="T31" fmla="*/ 1300324014 h 1301"/>
              <a:gd name="T32" fmla="*/ 1661713033 w 738"/>
              <a:gd name="T33" fmla="*/ 1389335581 h 1301"/>
              <a:gd name="T34" fmla="*/ 1654930264 w 738"/>
              <a:gd name="T35" fmla="*/ 1476411162 h 1301"/>
              <a:gd name="T36" fmla="*/ 1645887574 w 738"/>
              <a:gd name="T37" fmla="*/ 1563486395 h 1301"/>
              <a:gd name="T38" fmla="*/ 1630062115 w 738"/>
              <a:gd name="T39" fmla="*/ 1652496572 h 1301"/>
              <a:gd name="T40" fmla="*/ 1611975232 w 738"/>
              <a:gd name="T41" fmla="*/ 1737636861 h 1301"/>
              <a:gd name="T42" fmla="*/ 1591626924 w 738"/>
              <a:gd name="T43" fmla="*/ 1822777151 h 1301"/>
              <a:gd name="T44" fmla="*/ 1566758400 w 738"/>
              <a:gd name="T45" fmla="*/ 1907917441 h 1301"/>
              <a:gd name="T46" fmla="*/ 1537367402 w 738"/>
              <a:gd name="T47" fmla="*/ 1993057731 h 1301"/>
              <a:gd name="T48" fmla="*/ 1505714981 w 738"/>
              <a:gd name="T49" fmla="*/ 2076263077 h 1301"/>
              <a:gd name="T50" fmla="*/ 1471802639 w 738"/>
              <a:gd name="T51" fmla="*/ 2147483647 h 1301"/>
              <a:gd name="T52" fmla="*/ 1431107528 w 738"/>
              <a:gd name="T53" fmla="*/ 2147483647 h 1301"/>
              <a:gd name="T54" fmla="*/ 1390412416 w 738"/>
              <a:gd name="T55" fmla="*/ 2147483647 h 1301"/>
              <a:gd name="T56" fmla="*/ 1345195960 w 738"/>
              <a:gd name="T57" fmla="*/ 2147483647 h 1301"/>
              <a:gd name="T58" fmla="*/ 1297719583 w 738"/>
              <a:gd name="T59" fmla="*/ 2147483647 h 1301"/>
              <a:gd name="T60" fmla="*/ 474774481 w 738"/>
              <a:gd name="T61" fmla="*/ 2147483647 h 1301"/>
              <a:gd name="T62" fmla="*/ 13565544 w 738"/>
              <a:gd name="T63" fmla="*/ 1867282239 h 1301"/>
              <a:gd name="T64" fmla="*/ 36173778 w 738"/>
              <a:gd name="T65" fmla="*/ 1828581981 h 1301"/>
              <a:gd name="T66" fmla="*/ 58782018 w 738"/>
              <a:gd name="T67" fmla="*/ 1789881723 h 1301"/>
              <a:gd name="T68" fmla="*/ 79128822 w 738"/>
              <a:gd name="T69" fmla="*/ 1747311578 h 1301"/>
              <a:gd name="T70" fmla="*/ 99477153 w 738"/>
              <a:gd name="T71" fmla="*/ 1706676377 h 1301"/>
              <a:gd name="T72" fmla="*/ 117564036 w 738"/>
              <a:gd name="T73" fmla="*/ 1666041175 h 1301"/>
              <a:gd name="T74" fmla="*/ 133389495 w 738"/>
              <a:gd name="T75" fmla="*/ 1625405974 h 1301"/>
              <a:gd name="T76" fmla="*/ 146953529 w 738"/>
              <a:gd name="T77" fmla="*/ 1582835829 h 1301"/>
              <a:gd name="T78" fmla="*/ 158259147 w 738"/>
              <a:gd name="T79" fmla="*/ 1540265684 h 1301"/>
              <a:gd name="T80" fmla="*/ 169563261 w 738"/>
              <a:gd name="T81" fmla="*/ 1497695539 h 1301"/>
              <a:gd name="T82" fmla="*/ 178605951 w 738"/>
              <a:gd name="T83" fmla="*/ 1455125046 h 1301"/>
              <a:gd name="T84" fmla="*/ 187648641 w 738"/>
              <a:gd name="T85" fmla="*/ 1410619958 h 1301"/>
              <a:gd name="T86" fmla="*/ 189910065 w 738"/>
              <a:gd name="T87" fmla="*/ 1368049813 h 1301"/>
              <a:gd name="T88" fmla="*/ 194431410 w 738"/>
              <a:gd name="T89" fmla="*/ 1323544725 h 1301"/>
              <a:gd name="T90" fmla="*/ 196692834 w 738"/>
              <a:gd name="T91" fmla="*/ 1280974580 h 1301"/>
              <a:gd name="T92" fmla="*/ 196692834 w 738"/>
              <a:gd name="T93" fmla="*/ 1236469492 h 1301"/>
              <a:gd name="T94" fmla="*/ 194431410 w 738"/>
              <a:gd name="T95" fmla="*/ 1190029461 h 1301"/>
              <a:gd name="T96" fmla="*/ 189910065 w 738"/>
              <a:gd name="T97" fmla="*/ 1147459316 h 1301"/>
              <a:gd name="T98" fmla="*/ 187648641 w 738"/>
              <a:gd name="T99" fmla="*/ 1102954227 h 1301"/>
              <a:gd name="T100" fmla="*/ 178605951 w 738"/>
              <a:gd name="T101" fmla="*/ 1060384083 h 1301"/>
              <a:gd name="T102" fmla="*/ 169563261 w 738"/>
              <a:gd name="T103" fmla="*/ 1017813938 h 1301"/>
              <a:gd name="T104" fmla="*/ 158259147 w 738"/>
              <a:gd name="T105" fmla="*/ 973308849 h 1301"/>
              <a:gd name="T106" fmla="*/ 146953529 w 738"/>
              <a:gd name="T107" fmla="*/ 932673648 h 1301"/>
              <a:gd name="T108" fmla="*/ 133389495 w 738"/>
              <a:gd name="T109" fmla="*/ 890103503 h 1301"/>
              <a:gd name="T110" fmla="*/ 117564036 w 738"/>
              <a:gd name="T111" fmla="*/ 847533358 h 1301"/>
              <a:gd name="T112" fmla="*/ 99477153 w 738"/>
              <a:gd name="T113" fmla="*/ 806898157 h 1301"/>
              <a:gd name="T114" fmla="*/ 79128822 w 738"/>
              <a:gd name="T115" fmla="*/ 766262955 h 1301"/>
              <a:gd name="T116" fmla="*/ 58782018 w 738"/>
              <a:gd name="T117" fmla="*/ 725627580 h 1301"/>
              <a:gd name="T118" fmla="*/ 36173778 w 738"/>
              <a:gd name="T119" fmla="*/ 684992378 h 1301"/>
              <a:gd name="T120" fmla="*/ 13565544 w 738"/>
              <a:gd name="T121" fmla="*/ 648227064 h 1301"/>
              <a:gd name="T122" fmla="*/ 800335559 w 738"/>
              <a:gd name="T123" fmla="*/ 508906969 h 130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38"/>
              <a:gd name="T187" fmla="*/ 0 h 1301"/>
              <a:gd name="T188" fmla="*/ 738 w 738"/>
              <a:gd name="T189" fmla="*/ 1301 h 1301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38" h="1301">
                <a:moveTo>
                  <a:pt x="562" y="0"/>
                </a:moveTo>
                <a:lnTo>
                  <a:pt x="574" y="19"/>
                </a:lnTo>
                <a:lnTo>
                  <a:pt x="584" y="40"/>
                </a:lnTo>
                <a:lnTo>
                  <a:pt x="595" y="60"/>
                </a:lnTo>
                <a:lnTo>
                  <a:pt x="606" y="80"/>
                </a:lnTo>
                <a:lnTo>
                  <a:pt x="615" y="101"/>
                </a:lnTo>
                <a:lnTo>
                  <a:pt x="625" y="121"/>
                </a:lnTo>
                <a:lnTo>
                  <a:pt x="633" y="142"/>
                </a:lnTo>
                <a:lnTo>
                  <a:pt x="642" y="163"/>
                </a:lnTo>
                <a:lnTo>
                  <a:pt x="651" y="184"/>
                </a:lnTo>
                <a:lnTo>
                  <a:pt x="658" y="206"/>
                </a:lnTo>
                <a:lnTo>
                  <a:pt x="666" y="227"/>
                </a:lnTo>
                <a:lnTo>
                  <a:pt x="673" y="248"/>
                </a:lnTo>
                <a:lnTo>
                  <a:pt x="680" y="270"/>
                </a:lnTo>
                <a:lnTo>
                  <a:pt x="686" y="292"/>
                </a:lnTo>
                <a:lnTo>
                  <a:pt x="693" y="313"/>
                </a:lnTo>
                <a:lnTo>
                  <a:pt x="699" y="335"/>
                </a:lnTo>
                <a:lnTo>
                  <a:pt x="704" y="357"/>
                </a:lnTo>
                <a:lnTo>
                  <a:pt x="708" y="379"/>
                </a:lnTo>
                <a:lnTo>
                  <a:pt x="713" y="401"/>
                </a:lnTo>
                <a:lnTo>
                  <a:pt x="717" y="424"/>
                </a:lnTo>
                <a:lnTo>
                  <a:pt x="721" y="447"/>
                </a:lnTo>
                <a:lnTo>
                  <a:pt x="725" y="469"/>
                </a:lnTo>
                <a:lnTo>
                  <a:pt x="728" y="492"/>
                </a:lnTo>
                <a:lnTo>
                  <a:pt x="729" y="514"/>
                </a:lnTo>
                <a:lnTo>
                  <a:pt x="732" y="537"/>
                </a:lnTo>
                <a:lnTo>
                  <a:pt x="733" y="559"/>
                </a:lnTo>
                <a:lnTo>
                  <a:pt x="735" y="582"/>
                </a:lnTo>
                <a:lnTo>
                  <a:pt x="736" y="604"/>
                </a:lnTo>
                <a:lnTo>
                  <a:pt x="737" y="627"/>
                </a:lnTo>
                <a:lnTo>
                  <a:pt x="737" y="650"/>
                </a:lnTo>
                <a:lnTo>
                  <a:pt x="737" y="672"/>
                </a:lnTo>
                <a:lnTo>
                  <a:pt x="736" y="695"/>
                </a:lnTo>
                <a:lnTo>
                  <a:pt x="735" y="718"/>
                </a:lnTo>
                <a:lnTo>
                  <a:pt x="733" y="740"/>
                </a:lnTo>
                <a:lnTo>
                  <a:pt x="732" y="763"/>
                </a:lnTo>
                <a:lnTo>
                  <a:pt x="729" y="785"/>
                </a:lnTo>
                <a:lnTo>
                  <a:pt x="728" y="808"/>
                </a:lnTo>
                <a:lnTo>
                  <a:pt x="725" y="830"/>
                </a:lnTo>
                <a:lnTo>
                  <a:pt x="721" y="854"/>
                </a:lnTo>
                <a:lnTo>
                  <a:pt x="717" y="876"/>
                </a:lnTo>
                <a:lnTo>
                  <a:pt x="713" y="898"/>
                </a:lnTo>
                <a:lnTo>
                  <a:pt x="708" y="920"/>
                </a:lnTo>
                <a:lnTo>
                  <a:pt x="704" y="942"/>
                </a:lnTo>
                <a:lnTo>
                  <a:pt x="699" y="964"/>
                </a:lnTo>
                <a:lnTo>
                  <a:pt x="693" y="986"/>
                </a:lnTo>
                <a:lnTo>
                  <a:pt x="686" y="1008"/>
                </a:lnTo>
                <a:lnTo>
                  <a:pt x="680" y="1030"/>
                </a:lnTo>
                <a:lnTo>
                  <a:pt x="673" y="1051"/>
                </a:lnTo>
                <a:lnTo>
                  <a:pt x="666" y="1073"/>
                </a:lnTo>
                <a:lnTo>
                  <a:pt x="658" y="1094"/>
                </a:lnTo>
                <a:lnTo>
                  <a:pt x="651" y="1116"/>
                </a:lnTo>
                <a:lnTo>
                  <a:pt x="642" y="1137"/>
                </a:lnTo>
                <a:lnTo>
                  <a:pt x="633" y="1158"/>
                </a:lnTo>
                <a:lnTo>
                  <a:pt x="625" y="1178"/>
                </a:lnTo>
                <a:lnTo>
                  <a:pt x="615" y="1199"/>
                </a:lnTo>
                <a:lnTo>
                  <a:pt x="606" y="1219"/>
                </a:lnTo>
                <a:lnTo>
                  <a:pt x="595" y="1239"/>
                </a:lnTo>
                <a:lnTo>
                  <a:pt x="584" y="1260"/>
                </a:lnTo>
                <a:lnTo>
                  <a:pt x="574" y="1280"/>
                </a:lnTo>
                <a:lnTo>
                  <a:pt x="562" y="1300"/>
                </a:lnTo>
                <a:lnTo>
                  <a:pt x="210" y="1271"/>
                </a:lnTo>
                <a:lnTo>
                  <a:pt x="0" y="974"/>
                </a:lnTo>
                <a:lnTo>
                  <a:pt x="6" y="965"/>
                </a:lnTo>
                <a:lnTo>
                  <a:pt x="11" y="955"/>
                </a:lnTo>
                <a:lnTo>
                  <a:pt x="16" y="945"/>
                </a:lnTo>
                <a:lnTo>
                  <a:pt x="21" y="935"/>
                </a:lnTo>
                <a:lnTo>
                  <a:pt x="26" y="925"/>
                </a:lnTo>
                <a:lnTo>
                  <a:pt x="31" y="914"/>
                </a:lnTo>
                <a:lnTo>
                  <a:pt x="35" y="903"/>
                </a:lnTo>
                <a:lnTo>
                  <a:pt x="39" y="893"/>
                </a:lnTo>
                <a:lnTo>
                  <a:pt x="44" y="882"/>
                </a:lnTo>
                <a:lnTo>
                  <a:pt x="48" y="872"/>
                </a:lnTo>
                <a:lnTo>
                  <a:pt x="52" y="861"/>
                </a:lnTo>
                <a:lnTo>
                  <a:pt x="56" y="851"/>
                </a:lnTo>
                <a:lnTo>
                  <a:pt x="59" y="840"/>
                </a:lnTo>
                <a:lnTo>
                  <a:pt x="62" y="829"/>
                </a:lnTo>
                <a:lnTo>
                  <a:pt x="65" y="818"/>
                </a:lnTo>
                <a:lnTo>
                  <a:pt x="68" y="807"/>
                </a:lnTo>
                <a:lnTo>
                  <a:pt x="70" y="796"/>
                </a:lnTo>
                <a:lnTo>
                  <a:pt x="73" y="785"/>
                </a:lnTo>
                <a:lnTo>
                  <a:pt x="75" y="774"/>
                </a:lnTo>
                <a:lnTo>
                  <a:pt x="77" y="762"/>
                </a:lnTo>
                <a:lnTo>
                  <a:pt x="79" y="752"/>
                </a:lnTo>
                <a:lnTo>
                  <a:pt x="81" y="740"/>
                </a:lnTo>
                <a:lnTo>
                  <a:pt x="83" y="729"/>
                </a:lnTo>
                <a:lnTo>
                  <a:pt x="83" y="718"/>
                </a:lnTo>
                <a:lnTo>
                  <a:pt x="84" y="707"/>
                </a:lnTo>
                <a:lnTo>
                  <a:pt x="85" y="695"/>
                </a:lnTo>
                <a:lnTo>
                  <a:pt x="86" y="684"/>
                </a:lnTo>
                <a:lnTo>
                  <a:pt x="86" y="672"/>
                </a:lnTo>
                <a:lnTo>
                  <a:pt x="87" y="662"/>
                </a:lnTo>
                <a:lnTo>
                  <a:pt x="87" y="650"/>
                </a:lnTo>
                <a:lnTo>
                  <a:pt x="87" y="639"/>
                </a:lnTo>
                <a:lnTo>
                  <a:pt x="86" y="627"/>
                </a:lnTo>
                <a:lnTo>
                  <a:pt x="86" y="615"/>
                </a:lnTo>
                <a:lnTo>
                  <a:pt x="85" y="605"/>
                </a:lnTo>
                <a:lnTo>
                  <a:pt x="84" y="593"/>
                </a:lnTo>
                <a:lnTo>
                  <a:pt x="83" y="582"/>
                </a:lnTo>
                <a:lnTo>
                  <a:pt x="83" y="570"/>
                </a:lnTo>
                <a:lnTo>
                  <a:pt x="81" y="560"/>
                </a:lnTo>
                <a:lnTo>
                  <a:pt x="79" y="548"/>
                </a:lnTo>
                <a:lnTo>
                  <a:pt x="77" y="537"/>
                </a:lnTo>
                <a:lnTo>
                  <a:pt x="75" y="526"/>
                </a:lnTo>
                <a:lnTo>
                  <a:pt x="73" y="515"/>
                </a:lnTo>
                <a:lnTo>
                  <a:pt x="70" y="503"/>
                </a:lnTo>
                <a:lnTo>
                  <a:pt x="68" y="493"/>
                </a:lnTo>
                <a:lnTo>
                  <a:pt x="65" y="482"/>
                </a:lnTo>
                <a:lnTo>
                  <a:pt x="62" y="471"/>
                </a:lnTo>
                <a:lnTo>
                  <a:pt x="59" y="460"/>
                </a:lnTo>
                <a:lnTo>
                  <a:pt x="56" y="449"/>
                </a:lnTo>
                <a:lnTo>
                  <a:pt x="52" y="438"/>
                </a:lnTo>
                <a:lnTo>
                  <a:pt x="48" y="427"/>
                </a:lnTo>
                <a:lnTo>
                  <a:pt x="44" y="417"/>
                </a:lnTo>
                <a:lnTo>
                  <a:pt x="39" y="406"/>
                </a:lnTo>
                <a:lnTo>
                  <a:pt x="35" y="396"/>
                </a:lnTo>
                <a:lnTo>
                  <a:pt x="31" y="385"/>
                </a:lnTo>
                <a:lnTo>
                  <a:pt x="26" y="375"/>
                </a:lnTo>
                <a:lnTo>
                  <a:pt x="21" y="365"/>
                </a:lnTo>
                <a:lnTo>
                  <a:pt x="16" y="354"/>
                </a:lnTo>
                <a:lnTo>
                  <a:pt x="11" y="345"/>
                </a:lnTo>
                <a:lnTo>
                  <a:pt x="6" y="335"/>
                </a:lnTo>
                <a:lnTo>
                  <a:pt x="0" y="325"/>
                </a:lnTo>
                <a:lnTo>
                  <a:pt x="354" y="263"/>
                </a:lnTo>
                <a:lnTo>
                  <a:pt x="562" y="0"/>
                </a:lnTo>
              </a:path>
            </a:pathLst>
          </a:custGeom>
          <a:solidFill>
            <a:srgbClr val="899BAD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lIns="45678" tIns="45678" rIns="45678" bIns="45678" anchor="ctr"/>
          <a:lstStyle/>
          <a:p>
            <a:pPr algn="ctr" defTabSz="899304"/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gray">
          <a:xfrm>
            <a:off x="2765271" y="1030628"/>
            <a:ext cx="3344412" cy="1487501"/>
          </a:xfrm>
          <a:custGeom>
            <a:avLst/>
            <a:gdLst>
              <a:gd name="T0" fmla="*/ 0 w 2066"/>
              <a:gd name="T1" fmla="*/ 1476811579 h 948"/>
              <a:gd name="T2" fmla="*/ 520475074 w 2066"/>
              <a:gd name="T3" fmla="*/ 730845323 h 948"/>
              <a:gd name="T4" fmla="*/ 0 w 2066"/>
              <a:gd name="T5" fmla="*/ 0 h 948"/>
              <a:gd name="T6" fmla="*/ 2147483647 w 2066"/>
              <a:gd name="T7" fmla="*/ 5040313 h 948"/>
              <a:gd name="T8" fmla="*/ 2147483647 w 2066"/>
              <a:gd name="T9" fmla="*/ 20161251 h 948"/>
              <a:gd name="T10" fmla="*/ 2147483647 w 2066"/>
              <a:gd name="T11" fmla="*/ 35282191 h 948"/>
              <a:gd name="T12" fmla="*/ 2147483647 w 2066"/>
              <a:gd name="T13" fmla="*/ 55443448 h 948"/>
              <a:gd name="T14" fmla="*/ 2147483647 w 2066"/>
              <a:gd name="T15" fmla="*/ 80645004 h 948"/>
              <a:gd name="T16" fmla="*/ 2147483647 w 2066"/>
              <a:gd name="T17" fmla="*/ 105846585 h 948"/>
              <a:gd name="T18" fmla="*/ 2147483647 w 2066"/>
              <a:gd name="T19" fmla="*/ 141128763 h 948"/>
              <a:gd name="T20" fmla="*/ 2147483647 w 2066"/>
              <a:gd name="T21" fmla="*/ 171370630 h 948"/>
              <a:gd name="T22" fmla="*/ 2147483647 w 2066"/>
              <a:gd name="T23" fmla="*/ 201612498 h 948"/>
              <a:gd name="T24" fmla="*/ 2147483647 w 2066"/>
              <a:gd name="T25" fmla="*/ 236894726 h 948"/>
              <a:gd name="T26" fmla="*/ 2147483647 w 2066"/>
              <a:gd name="T27" fmla="*/ 287297838 h 948"/>
              <a:gd name="T28" fmla="*/ 2147483647 w 2066"/>
              <a:gd name="T29" fmla="*/ 327620327 h 948"/>
              <a:gd name="T30" fmla="*/ 2147483647 w 2066"/>
              <a:gd name="T31" fmla="*/ 383063751 h 948"/>
              <a:gd name="T32" fmla="*/ 2147483647 w 2066"/>
              <a:gd name="T33" fmla="*/ 433466962 h 948"/>
              <a:gd name="T34" fmla="*/ 2147483647 w 2066"/>
              <a:gd name="T35" fmla="*/ 478829763 h 948"/>
              <a:gd name="T36" fmla="*/ 2147483647 w 2066"/>
              <a:gd name="T37" fmla="*/ 539313497 h 948"/>
              <a:gd name="T38" fmla="*/ 2147483647 w 2066"/>
              <a:gd name="T39" fmla="*/ 584676298 h 948"/>
              <a:gd name="T40" fmla="*/ 2147483647 w 2066"/>
              <a:gd name="T41" fmla="*/ 655240655 h 948"/>
              <a:gd name="T42" fmla="*/ 2147483647 w 2066"/>
              <a:gd name="T43" fmla="*/ 715724389 h 948"/>
              <a:gd name="T44" fmla="*/ 2147483647 w 2066"/>
              <a:gd name="T45" fmla="*/ 786288746 h 948"/>
              <a:gd name="T46" fmla="*/ 2147483647 w 2066"/>
              <a:gd name="T47" fmla="*/ 861893612 h 948"/>
              <a:gd name="T48" fmla="*/ 2147483647 w 2066"/>
              <a:gd name="T49" fmla="*/ 927417658 h 948"/>
              <a:gd name="T50" fmla="*/ 2147483647 w 2066"/>
              <a:gd name="T51" fmla="*/ 997982015 h 948"/>
              <a:gd name="T52" fmla="*/ 2147483647 w 2066"/>
              <a:gd name="T53" fmla="*/ 1068546372 h 948"/>
              <a:gd name="T54" fmla="*/ 2147483647 w 2066"/>
              <a:gd name="T55" fmla="*/ 1154231662 h 948"/>
              <a:gd name="T56" fmla="*/ 2147483647 w 2066"/>
              <a:gd name="T57" fmla="*/ 1265118509 h 948"/>
              <a:gd name="T58" fmla="*/ 2147483647 w 2066"/>
              <a:gd name="T59" fmla="*/ 1360884421 h 948"/>
              <a:gd name="T60" fmla="*/ 2147483647 w 2066"/>
              <a:gd name="T61" fmla="*/ 1431448778 h 948"/>
              <a:gd name="T62" fmla="*/ 2147483647 w 2066"/>
              <a:gd name="T63" fmla="*/ 1481851890 h 948"/>
              <a:gd name="T64" fmla="*/ 2147483647 w 2066"/>
              <a:gd name="T65" fmla="*/ 1542335625 h 948"/>
              <a:gd name="T66" fmla="*/ 2147483647 w 2066"/>
              <a:gd name="T67" fmla="*/ 1617940293 h 948"/>
              <a:gd name="T68" fmla="*/ 2147483647 w 2066"/>
              <a:gd name="T69" fmla="*/ 1693545358 h 948"/>
              <a:gd name="T70" fmla="*/ 2147483647 w 2066"/>
              <a:gd name="T71" fmla="*/ 1748988781 h 948"/>
              <a:gd name="T72" fmla="*/ 2147483647 w 2066"/>
              <a:gd name="T73" fmla="*/ 1829633760 h 948"/>
              <a:gd name="T74" fmla="*/ 2147483647 w 2066"/>
              <a:gd name="T75" fmla="*/ 1880036872 h 948"/>
              <a:gd name="T76" fmla="*/ 2147483647 w 2066"/>
              <a:gd name="T77" fmla="*/ 1910278739 h 948"/>
              <a:gd name="T78" fmla="*/ 2147483647 w 2066"/>
              <a:gd name="T79" fmla="*/ 2147483647 h 948"/>
              <a:gd name="T80" fmla="*/ 2147483647 w 2066"/>
              <a:gd name="T81" fmla="*/ 2147483647 h 948"/>
              <a:gd name="T82" fmla="*/ 2147483647 w 2066"/>
              <a:gd name="T83" fmla="*/ 2147483647 h 948"/>
              <a:gd name="T84" fmla="*/ 2147483647 w 2066"/>
              <a:gd name="T85" fmla="*/ 2147483647 h 948"/>
              <a:gd name="T86" fmla="*/ 2147483647 w 2066"/>
              <a:gd name="T87" fmla="*/ 2147483647 h 948"/>
              <a:gd name="T88" fmla="*/ 2147483647 w 2066"/>
              <a:gd name="T89" fmla="*/ 2091729943 h 948"/>
              <a:gd name="T90" fmla="*/ 2147483647 w 2066"/>
              <a:gd name="T91" fmla="*/ 2016125275 h 948"/>
              <a:gd name="T92" fmla="*/ 2147483647 w 2066"/>
              <a:gd name="T93" fmla="*/ 1975802785 h 948"/>
              <a:gd name="T94" fmla="*/ 2147483647 w 2066"/>
              <a:gd name="T95" fmla="*/ 1915319050 h 948"/>
              <a:gd name="T96" fmla="*/ 2147483647 w 2066"/>
              <a:gd name="T97" fmla="*/ 1859875627 h 948"/>
              <a:gd name="T98" fmla="*/ 2147483647 w 2066"/>
              <a:gd name="T99" fmla="*/ 1804432204 h 948"/>
              <a:gd name="T100" fmla="*/ 2147483647 w 2066"/>
              <a:gd name="T101" fmla="*/ 1769150026 h 948"/>
              <a:gd name="T102" fmla="*/ 2147483647 w 2066"/>
              <a:gd name="T103" fmla="*/ 1738908158 h 948"/>
              <a:gd name="T104" fmla="*/ 2147483647 w 2066"/>
              <a:gd name="T105" fmla="*/ 1693545358 h 948"/>
              <a:gd name="T106" fmla="*/ 2147483647 w 2066"/>
              <a:gd name="T107" fmla="*/ 1633061226 h 948"/>
              <a:gd name="T108" fmla="*/ 2147483647 w 2066"/>
              <a:gd name="T109" fmla="*/ 1567537181 h 948"/>
              <a:gd name="T110" fmla="*/ 2147483647 w 2066"/>
              <a:gd name="T111" fmla="*/ 1532255002 h 948"/>
              <a:gd name="T112" fmla="*/ 2147483647 w 2066"/>
              <a:gd name="T113" fmla="*/ 1489413151 h 948"/>
              <a:gd name="T114" fmla="*/ 2147483647 w 2066"/>
              <a:gd name="T115" fmla="*/ 1479332528 h 948"/>
              <a:gd name="T116" fmla="*/ 0 w 2066"/>
              <a:gd name="T117" fmla="*/ 1476811579 h 94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066"/>
              <a:gd name="T178" fmla="*/ 0 h 948"/>
              <a:gd name="T179" fmla="*/ 2066 w 2066"/>
              <a:gd name="T180" fmla="*/ 948 h 94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066" h="948">
                <a:moveTo>
                  <a:pt x="0" y="586"/>
                </a:moveTo>
                <a:lnTo>
                  <a:pt x="176" y="290"/>
                </a:lnTo>
                <a:lnTo>
                  <a:pt x="0" y="0"/>
                </a:lnTo>
                <a:lnTo>
                  <a:pt x="1082" y="2"/>
                </a:lnTo>
                <a:lnTo>
                  <a:pt x="1122" y="8"/>
                </a:lnTo>
                <a:lnTo>
                  <a:pt x="1172" y="14"/>
                </a:lnTo>
                <a:lnTo>
                  <a:pt x="1212" y="22"/>
                </a:lnTo>
                <a:lnTo>
                  <a:pt x="1254" y="32"/>
                </a:lnTo>
                <a:lnTo>
                  <a:pt x="1294" y="42"/>
                </a:lnTo>
                <a:lnTo>
                  <a:pt x="1340" y="56"/>
                </a:lnTo>
                <a:lnTo>
                  <a:pt x="1380" y="68"/>
                </a:lnTo>
                <a:lnTo>
                  <a:pt x="1412" y="80"/>
                </a:lnTo>
                <a:lnTo>
                  <a:pt x="1446" y="94"/>
                </a:lnTo>
                <a:lnTo>
                  <a:pt x="1486" y="114"/>
                </a:lnTo>
                <a:lnTo>
                  <a:pt x="1520" y="130"/>
                </a:lnTo>
                <a:lnTo>
                  <a:pt x="1562" y="152"/>
                </a:lnTo>
                <a:lnTo>
                  <a:pt x="1594" y="172"/>
                </a:lnTo>
                <a:lnTo>
                  <a:pt x="1622" y="190"/>
                </a:lnTo>
                <a:lnTo>
                  <a:pt x="1656" y="214"/>
                </a:lnTo>
                <a:lnTo>
                  <a:pt x="1682" y="232"/>
                </a:lnTo>
                <a:lnTo>
                  <a:pt x="1716" y="260"/>
                </a:lnTo>
                <a:lnTo>
                  <a:pt x="1744" y="284"/>
                </a:lnTo>
                <a:lnTo>
                  <a:pt x="1778" y="312"/>
                </a:lnTo>
                <a:lnTo>
                  <a:pt x="1808" y="342"/>
                </a:lnTo>
                <a:lnTo>
                  <a:pt x="1832" y="368"/>
                </a:lnTo>
                <a:lnTo>
                  <a:pt x="1854" y="396"/>
                </a:lnTo>
                <a:lnTo>
                  <a:pt x="1878" y="424"/>
                </a:lnTo>
                <a:lnTo>
                  <a:pt x="1904" y="458"/>
                </a:lnTo>
                <a:lnTo>
                  <a:pt x="1936" y="502"/>
                </a:lnTo>
                <a:lnTo>
                  <a:pt x="1962" y="540"/>
                </a:lnTo>
                <a:lnTo>
                  <a:pt x="1982" y="568"/>
                </a:lnTo>
                <a:lnTo>
                  <a:pt x="1992" y="588"/>
                </a:lnTo>
                <a:lnTo>
                  <a:pt x="2006" y="612"/>
                </a:lnTo>
                <a:lnTo>
                  <a:pt x="2020" y="642"/>
                </a:lnTo>
                <a:lnTo>
                  <a:pt x="2034" y="672"/>
                </a:lnTo>
                <a:lnTo>
                  <a:pt x="2044" y="694"/>
                </a:lnTo>
                <a:lnTo>
                  <a:pt x="2056" y="726"/>
                </a:lnTo>
                <a:lnTo>
                  <a:pt x="2064" y="746"/>
                </a:lnTo>
                <a:lnTo>
                  <a:pt x="2066" y="758"/>
                </a:lnTo>
                <a:lnTo>
                  <a:pt x="1848" y="948"/>
                </a:lnTo>
                <a:lnTo>
                  <a:pt x="1530" y="948"/>
                </a:lnTo>
                <a:lnTo>
                  <a:pt x="1516" y="912"/>
                </a:lnTo>
                <a:lnTo>
                  <a:pt x="1502" y="880"/>
                </a:lnTo>
                <a:lnTo>
                  <a:pt x="1490" y="858"/>
                </a:lnTo>
                <a:lnTo>
                  <a:pt x="1474" y="830"/>
                </a:lnTo>
                <a:lnTo>
                  <a:pt x="1454" y="800"/>
                </a:lnTo>
                <a:lnTo>
                  <a:pt x="1438" y="784"/>
                </a:lnTo>
                <a:lnTo>
                  <a:pt x="1420" y="760"/>
                </a:lnTo>
                <a:lnTo>
                  <a:pt x="1398" y="738"/>
                </a:lnTo>
                <a:lnTo>
                  <a:pt x="1376" y="716"/>
                </a:lnTo>
                <a:lnTo>
                  <a:pt x="1360" y="702"/>
                </a:lnTo>
                <a:lnTo>
                  <a:pt x="1344" y="690"/>
                </a:lnTo>
                <a:lnTo>
                  <a:pt x="1320" y="672"/>
                </a:lnTo>
                <a:lnTo>
                  <a:pt x="1280" y="648"/>
                </a:lnTo>
                <a:lnTo>
                  <a:pt x="1228" y="622"/>
                </a:lnTo>
                <a:lnTo>
                  <a:pt x="1194" y="608"/>
                </a:lnTo>
                <a:lnTo>
                  <a:pt x="1157" y="591"/>
                </a:lnTo>
                <a:lnTo>
                  <a:pt x="1133" y="587"/>
                </a:lnTo>
                <a:lnTo>
                  <a:pt x="0" y="586"/>
                </a:lnTo>
                <a:close/>
              </a:path>
            </a:pathLst>
          </a:custGeom>
          <a:solidFill>
            <a:srgbClr val="C57600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lIns="45678" tIns="45678" rIns="45678" bIns="45678" anchor="ctr"/>
          <a:lstStyle/>
          <a:p>
            <a:pPr algn="ctr" defTabSz="899304"/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Freeform 19"/>
          <p:cNvSpPr>
            <a:spLocks/>
          </p:cNvSpPr>
          <p:nvPr/>
        </p:nvSpPr>
        <p:spPr bwMode="gray">
          <a:xfrm>
            <a:off x="2532149" y="1948534"/>
            <a:ext cx="1636340" cy="1471810"/>
          </a:xfrm>
          <a:custGeom>
            <a:avLst/>
            <a:gdLst>
              <a:gd name="T0" fmla="*/ 2147483647 w 1011"/>
              <a:gd name="T1" fmla="*/ 7561264 h 938"/>
              <a:gd name="T2" fmla="*/ 2147483647 w 1011"/>
              <a:gd name="T3" fmla="*/ 65524070 h 938"/>
              <a:gd name="T4" fmla="*/ 2147483647 w 1011"/>
              <a:gd name="T5" fmla="*/ 118448156 h 938"/>
              <a:gd name="T6" fmla="*/ 2147483647 w 1011"/>
              <a:gd name="T7" fmla="*/ 189012513 h 938"/>
              <a:gd name="T8" fmla="*/ 2147483647 w 1011"/>
              <a:gd name="T9" fmla="*/ 262096281 h 938"/>
              <a:gd name="T10" fmla="*/ 2147483647 w 1011"/>
              <a:gd name="T11" fmla="*/ 345262209 h 938"/>
              <a:gd name="T12" fmla="*/ 2146298122 w 1011"/>
              <a:gd name="T13" fmla="*/ 413305617 h 938"/>
              <a:gd name="T14" fmla="*/ 2098995759 w 1011"/>
              <a:gd name="T15" fmla="*/ 453628205 h 938"/>
              <a:gd name="T16" fmla="*/ 2031000437 w 1011"/>
              <a:gd name="T17" fmla="*/ 534273184 h 938"/>
              <a:gd name="T18" fmla="*/ 1948223450 w 1011"/>
              <a:gd name="T19" fmla="*/ 640119719 h 938"/>
              <a:gd name="T20" fmla="*/ 1897965440 w 1011"/>
              <a:gd name="T21" fmla="*/ 710684076 h 938"/>
              <a:gd name="T22" fmla="*/ 1809275442 w 1011"/>
              <a:gd name="T23" fmla="*/ 869454871 h 938"/>
              <a:gd name="T24" fmla="*/ 1744235337 w 1011"/>
              <a:gd name="T25" fmla="*/ 1048385124 h 938"/>
              <a:gd name="T26" fmla="*/ 1708760713 w 1011"/>
              <a:gd name="T27" fmla="*/ 1224796016 h 938"/>
              <a:gd name="T28" fmla="*/ 1693979047 w 1011"/>
              <a:gd name="T29" fmla="*/ 1343244122 h 938"/>
              <a:gd name="T30" fmla="*/ 1699890338 w 1011"/>
              <a:gd name="T31" fmla="*/ 1504534080 h 938"/>
              <a:gd name="T32" fmla="*/ 1726498025 w 1011"/>
              <a:gd name="T33" fmla="*/ 1678424419 h 938"/>
              <a:gd name="T34" fmla="*/ 1764930014 w 1011"/>
              <a:gd name="T35" fmla="*/ 1829633755 h 938"/>
              <a:gd name="T36" fmla="*/ 886900194 w 1011"/>
              <a:gd name="T37" fmla="*/ 1864915933 h 938"/>
              <a:gd name="T38" fmla="*/ 177380050 w 1011"/>
              <a:gd name="T39" fmla="*/ 2147483647 h 938"/>
              <a:gd name="T40" fmla="*/ 138948061 w 1011"/>
              <a:gd name="T41" fmla="*/ 2147483647 h 938"/>
              <a:gd name="T42" fmla="*/ 88690025 w 1011"/>
              <a:gd name="T43" fmla="*/ 2053928397 h 938"/>
              <a:gd name="T44" fmla="*/ 59126692 w 1011"/>
              <a:gd name="T45" fmla="*/ 1935480290 h 938"/>
              <a:gd name="T46" fmla="*/ 32518992 w 1011"/>
              <a:gd name="T47" fmla="*/ 1761590348 h 938"/>
              <a:gd name="T48" fmla="*/ 8868659 w 1011"/>
              <a:gd name="T49" fmla="*/ 1607859666 h 938"/>
              <a:gd name="T50" fmla="*/ 0 w 1011"/>
              <a:gd name="T51" fmla="*/ 1428929412 h 938"/>
              <a:gd name="T52" fmla="*/ 5913012 w 1011"/>
              <a:gd name="T53" fmla="*/ 1247476622 h 938"/>
              <a:gd name="T54" fmla="*/ 23650329 w 1011"/>
              <a:gd name="T55" fmla="*/ 1088707614 h 938"/>
              <a:gd name="T56" fmla="*/ 59126692 w 1011"/>
              <a:gd name="T57" fmla="*/ 892135477 h 938"/>
              <a:gd name="T58" fmla="*/ 115297739 w 1011"/>
              <a:gd name="T59" fmla="*/ 655240653 h 938"/>
              <a:gd name="T60" fmla="*/ 203987737 w 1011"/>
              <a:gd name="T61" fmla="*/ 413305617 h 938"/>
              <a:gd name="T62" fmla="*/ 337021068 w 1011"/>
              <a:gd name="T63" fmla="*/ 148688436 h 93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11"/>
              <a:gd name="T97" fmla="*/ 0 h 938"/>
              <a:gd name="T98" fmla="*/ 1011 w 1011"/>
              <a:gd name="T99" fmla="*/ 938 h 93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11" h="938">
                <a:moveTo>
                  <a:pt x="143" y="0"/>
                </a:moveTo>
                <a:lnTo>
                  <a:pt x="1011" y="3"/>
                </a:lnTo>
                <a:lnTo>
                  <a:pt x="959" y="15"/>
                </a:lnTo>
                <a:lnTo>
                  <a:pt x="929" y="26"/>
                </a:lnTo>
                <a:lnTo>
                  <a:pt x="905" y="38"/>
                </a:lnTo>
                <a:lnTo>
                  <a:pt x="887" y="47"/>
                </a:lnTo>
                <a:lnTo>
                  <a:pt x="855" y="62"/>
                </a:lnTo>
                <a:lnTo>
                  <a:pt x="833" y="75"/>
                </a:lnTo>
                <a:lnTo>
                  <a:pt x="807" y="93"/>
                </a:lnTo>
                <a:lnTo>
                  <a:pt x="791" y="104"/>
                </a:lnTo>
                <a:lnTo>
                  <a:pt x="776" y="117"/>
                </a:lnTo>
                <a:lnTo>
                  <a:pt x="755" y="137"/>
                </a:lnTo>
                <a:lnTo>
                  <a:pt x="740" y="150"/>
                </a:lnTo>
                <a:lnTo>
                  <a:pt x="726" y="164"/>
                </a:lnTo>
                <a:lnTo>
                  <a:pt x="714" y="176"/>
                </a:lnTo>
                <a:lnTo>
                  <a:pt x="710" y="180"/>
                </a:lnTo>
                <a:lnTo>
                  <a:pt x="698" y="197"/>
                </a:lnTo>
                <a:lnTo>
                  <a:pt x="687" y="212"/>
                </a:lnTo>
                <a:lnTo>
                  <a:pt x="672" y="230"/>
                </a:lnTo>
                <a:lnTo>
                  <a:pt x="659" y="254"/>
                </a:lnTo>
                <a:lnTo>
                  <a:pt x="650" y="269"/>
                </a:lnTo>
                <a:lnTo>
                  <a:pt x="642" y="282"/>
                </a:lnTo>
                <a:lnTo>
                  <a:pt x="627" y="311"/>
                </a:lnTo>
                <a:lnTo>
                  <a:pt x="612" y="345"/>
                </a:lnTo>
                <a:lnTo>
                  <a:pt x="599" y="383"/>
                </a:lnTo>
                <a:lnTo>
                  <a:pt x="590" y="416"/>
                </a:lnTo>
                <a:lnTo>
                  <a:pt x="582" y="453"/>
                </a:lnTo>
                <a:lnTo>
                  <a:pt x="578" y="486"/>
                </a:lnTo>
                <a:lnTo>
                  <a:pt x="575" y="512"/>
                </a:lnTo>
                <a:lnTo>
                  <a:pt x="573" y="533"/>
                </a:lnTo>
                <a:lnTo>
                  <a:pt x="573" y="564"/>
                </a:lnTo>
                <a:lnTo>
                  <a:pt x="575" y="597"/>
                </a:lnTo>
                <a:lnTo>
                  <a:pt x="578" y="624"/>
                </a:lnTo>
                <a:lnTo>
                  <a:pt x="584" y="666"/>
                </a:lnTo>
                <a:lnTo>
                  <a:pt x="588" y="693"/>
                </a:lnTo>
                <a:lnTo>
                  <a:pt x="597" y="726"/>
                </a:lnTo>
                <a:lnTo>
                  <a:pt x="602" y="746"/>
                </a:lnTo>
                <a:lnTo>
                  <a:pt x="300" y="740"/>
                </a:lnTo>
                <a:lnTo>
                  <a:pt x="66" y="938"/>
                </a:lnTo>
                <a:lnTo>
                  <a:pt x="60" y="915"/>
                </a:lnTo>
                <a:lnTo>
                  <a:pt x="53" y="893"/>
                </a:lnTo>
                <a:lnTo>
                  <a:pt x="47" y="873"/>
                </a:lnTo>
                <a:lnTo>
                  <a:pt x="38" y="840"/>
                </a:lnTo>
                <a:lnTo>
                  <a:pt x="30" y="815"/>
                </a:lnTo>
                <a:lnTo>
                  <a:pt x="23" y="792"/>
                </a:lnTo>
                <a:lnTo>
                  <a:pt x="20" y="768"/>
                </a:lnTo>
                <a:lnTo>
                  <a:pt x="15" y="735"/>
                </a:lnTo>
                <a:lnTo>
                  <a:pt x="11" y="699"/>
                </a:lnTo>
                <a:lnTo>
                  <a:pt x="6" y="663"/>
                </a:lnTo>
                <a:lnTo>
                  <a:pt x="3" y="638"/>
                </a:lnTo>
                <a:lnTo>
                  <a:pt x="2" y="600"/>
                </a:lnTo>
                <a:lnTo>
                  <a:pt x="0" y="567"/>
                </a:lnTo>
                <a:lnTo>
                  <a:pt x="0" y="528"/>
                </a:lnTo>
                <a:lnTo>
                  <a:pt x="2" y="495"/>
                </a:lnTo>
                <a:lnTo>
                  <a:pt x="5" y="464"/>
                </a:lnTo>
                <a:lnTo>
                  <a:pt x="8" y="432"/>
                </a:lnTo>
                <a:lnTo>
                  <a:pt x="12" y="396"/>
                </a:lnTo>
                <a:lnTo>
                  <a:pt x="20" y="354"/>
                </a:lnTo>
                <a:lnTo>
                  <a:pt x="29" y="303"/>
                </a:lnTo>
                <a:lnTo>
                  <a:pt x="39" y="260"/>
                </a:lnTo>
                <a:lnTo>
                  <a:pt x="53" y="212"/>
                </a:lnTo>
                <a:lnTo>
                  <a:pt x="69" y="164"/>
                </a:lnTo>
                <a:lnTo>
                  <a:pt x="90" y="111"/>
                </a:lnTo>
                <a:lnTo>
                  <a:pt x="114" y="59"/>
                </a:lnTo>
                <a:lnTo>
                  <a:pt x="143" y="0"/>
                </a:lnTo>
                <a:close/>
              </a:path>
            </a:pathLst>
          </a:custGeom>
          <a:solidFill>
            <a:srgbClr val="899BAD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lIns="45678" tIns="45678" rIns="45678" bIns="45678" anchor="ctr"/>
          <a:lstStyle/>
          <a:p>
            <a:pPr algn="ctr" defTabSz="899304"/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blackWhite">
          <a:xfrm>
            <a:off x="5319719" y="2919481"/>
            <a:ext cx="7920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518239"/>
            <a:r>
              <a:rPr lang="en-US" b="1" dirty="0">
                <a:latin typeface="+mn-lt"/>
              </a:rPr>
              <a:t>Preliminary engineering</a:t>
            </a: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blackWhite">
          <a:xfrm>
            <a:off x="4273874" y="3752084"/>
            <a:ext cx="95765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518239"/>
            <a:r>
              <a:rPr lang="en-US" b="1" dirty="0">
                <a:latin typeface="+mn-lt"/>
              </a:rPr>
              <a:t>Plans, Specifications &amp; Estimate (PS&amp;E)</a:t>
            </a: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blackWhite">
          <a:xfrm>
            <a:off x="2976583" y="3621413"/>
            <a:ext cx="80063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518239"/>
            <a:r>
              <a:rPr lang="en-US" b="1" dirty="0">
                <a:latin typeface="+mn-lt"/>
              </a:rPr>
              <a:t>Letting</a:t>
            </a: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blackWhite">
          <a:xfrm>
            <a:off x="2575159" y="2473616"/>
            <a:ext cx="88747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518239"/>
            <a:r>
              <a:rPr lang="en-US" b="1" dirty="0">
                <a:latin typeface="+mn-lt"/>
              </a:rPr>
              <a:t>Construction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7628858" y="1030614"/>
            <a:ext cx="1242231" cy="922627"/>
            <a:chOff x="7801494" y="905411"/>
            <a:chExt cx="1242231" cy="922627"/>
          </a:xfrm>
        </p:grpSpPr>
        <p:sp>
          <p:nvSpPr>
            <p:cNvPr id="22" name="AutoShape 18"/>
            <p:cNvSpPr>
              <a:spLocks noChangeArrowheads="1"/>
            </p:cNvSpPr>
            <p:nvPr/>
          </p:nvSpPr>
          <p:spPr bwMode="gray">
            <a:xfrm>
              <a:off x="7801494" y="905411"/>
              <a:ext cx="1242231" cy="922627"/>
            </a:xfrm>
            <a:prstGeom prst="chevron">
              <a:avLst>
                <a:gd name="adj" fmla="val 31916"/>
              </a:avLst>
            </a:prstGeom>
            <a:solidFill>
              <a:srgbClr val="14385C"/>
            </a:solidFill>
            <a:ln w="9525">
              <a:noFill/>
              <a:prstDash val="dash"/>
              <a:miter lim="800000"/>
              <a:headEnd/>
              <a:tailEnd/>
            </a:ln>
          </p:spPr>
          <p:txBody>
            <a:bodyPr lIns="182880" anchor="ctr"/>
            <a:lstStyle/>
            <a:p>
              <a:pPr algn="ctr" eaLnBrk="0" hangingPunct="0"/>
              <a:endParaRPr lang="en-GB" dirty="0">
                <a:solidFill>
                  <a:schemeClr val="bg2"/>
                </a:solidFill>
                <a:latin typeface="+mn-lt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8061978" y="1135893"/>
              <a:ext cx="80983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  <a:latin typeface="+mn-lt"/>
                </a:rPr>
                <a:t>Project </a:t>
              </a:r>
            </a:p>
            <a:p>
              <a:r>
                <a:rPr lang="en-US" b="1" dirty="0">
                  <a:solidFill>
                    <a:schemeClr val="bg1"/>
                  </a:solidFill>
                  <a:latin typeface="+mn-lt"/>
                </a:rPr>
                <a:t>selection </a:t>
              </a:r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3496405" y="1345471"/>
            <a:ext cx="1239722" cy="276914"/>
          </a:xfrm>
          <a:prstGeom prst="rect">
            <a:avLst/>
          </a:prstGeom>
          <a:noFill/>
        </p:spPr>
        <p:txBody>
          <a:bodyPr wrap="none" lIns="91356" tIns="45678" rIns="91356" bIns="45678" rtlCol="0">
            <a:spAutoFit/>
          </a:bodyPr>
          <a:lstStyle/>
          <a:p>
            <a:pPr algn="ctr" defTabSz="518239"/>
            <a:r>
              <a:rPr lang="en-US" b="1" dirty="0">
                <a:latin typeface="+mn-lt"/>
              </a:rPr>
              <a:t>Project initiation</a:t>
            </a:r>
          </a:p>
        </p:txBody>
      </p:sp>
      <p:sp>
        <p:nvSpPr>
          <p:cNvPr id="25" name="AutoShape 18"/>
          <p:cNvSpPr>
            <a:spLocks noChangeArrowheads="1"/>
          </p:cNvSpPr>
          <p:nvPr/>
        </p:nvSpPr>
        <p:spPr bwMode="gray">
          <a:xfrm>
            <a:off x="1506372" y="1027378"/>
            <a:ext cx="1500662" cy="913213"/>
          </a:xfrm>
          <a:prstGeom prst="chevron">
            <a:avLst>
              <a:gd name="adj" fmla="val 29881"/>
            </a:avLst>
          </a:prstGeom>
          <a:solidFill>
            <a:srgbClr val="14385C"/>
          </a:solidFill>
          <a:ln w="19050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lIns="182712" tIns="45678" rIns="91356" bIns="45678" anchor="ctr">
            <a:noAutofit/>
          </a:bodyPr>
          <a:lstStyle/>
          <a:p>
            <a:pPr algn="ctr" eaLnBrk="0" hangingPunct="0"/>
            <a:endParaRPr lang="en-GB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792828" y="1259079"/>
            <a:ext cx="809667" cy="461580"/>
          </a:xfrm>
          <a:prstGeom prst="rect">
            <a:avLst/>
          </a:prstGeom>
          <a:noFill/>
        </p:spPr>
        <p:txBody>
          <a:bodyPr wrap="none" lIns="91356" tIns="45678" rIns="91356" bIns="45678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+mn-lt"/>
              </a:rPr>
              <a:t>Project </a:t>
            </a:r>
          </a:p>
          <a:p>
            <a:r>
              <a:rPr lang="en-US" b="1" dirty="0">
                <a:solidFill>
                  <a:schemeClr val="bg1"/>
                </a:solidFill>
                <a:latin typeface="+mn-lt"/>
              </a:rPr>
              <a:t>selection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12832" y="1151730"/>
            <a:ext cx="1036268" cy="646246"/>
          </a:xfrm>
          <a:prstGeom prst="rect">
            <a:avLst/>
          </a:prstGeom>
          <a:noFill/>
        </p:spPr>
        <p:txBody>
          <a:bodyPr wrap="none" lIns="91356" tIns="45678" rIns="91356" bIns="45678" rtlCol="0">
            <a:spAutoFit/>
          </a:bodyPr>
          <a:lstStyle/>
          <a:p>
            <a:pPr defTabSz="518239"/>
            <a:r>
              <a:rPr lang="en-US" b="1" dirty="0">
                <a:solidFill>
                  <a:schemeClr val="bg1"/>
                </a:solidFill>
                <a:latin typeface="+mn-lt"/>
              </a:rPr>
              <a:t>Operations </a:t>
            </a:r>
          </a:p>
          <a:p>
            <a:pPr defTabSz="518239"/>
            <a:r>
              <a:rPr lang="en-US" b="1" dirty="0">
                <a:solidFill>
                  <a:schemeClr val="bg1"/>
                </a:solidFill>
                <a:latin typeface="+mn-lt"/>
              </a:rPr>
              <a:t>and </a:t>
            </a:r>
            <a:br>
              <a:rPr lang="en-US" b="1" dirty="0">
                <a:solidFill>
                  <a:schemeClr val="bg1"/>
                </a:solidFill>
                <a:latin typeface="+mn-lt"/>
              </a:rPr>
            </a:br>
            <a:r>
              <a:rPr lang="en-US" b="1" dirty="0">
                <a:solidFill>
                  <a:schemeClr val="bg1"/>
                </a:solidFill>
                <a:latin typeface="+mn-lt"/>
              </a:rPr>
              <a:t>maintenance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6064413" y="1030614"/>
            <a:ext cx="1805511" cy="922627"/>
            <a:chOff x="6237050" y="915603"/>
            <a:chExt cx="1805511" cy="922627"/>
          </a:xfrm>
        </p:grpSpPr>
        <p:sp>
          <p:nvSpPr>
            <p:cNvPr id="29" name="AutoShape 18"/>
            <p:cNvSpPr>
              <a:spLocks noChangeArrowheads="1"/>
            </p:cNvSpPr>
            <p:nvPr/>
          </p:nvSpPr>
          <p:spPr bwMode="gray">
            <a:xfrm>
              <a:off x="6237050" y="915603"/>
              <a:ext cx="1805511" cy="922627"/>
            </a:xfrm>
            <a:prstGeom prst="chevron">
              <a:avLst>
                <a:gd name="adj" fmla="val 31916"/>
              </a:avLst>
            </a:prstGeom>
            <a:solidFill>
              <a:srgbClr val="14385C"/>
            </a:solidFill>
            <a:ln w="9525">
              <a:noFill/>
              <a:prstDash val="dash"/>
              <a:miter lim="800000"/>
              <a:headEnd/>
              <a:tailEnd/>
            </a:ln>
          </p:spPr>
          <p:txBody>
            <a:bodyPr lIns="182880" anchor="ctr"/>
            <a:lstStyle/>
            <a:p>
              <a:pPr algn="ctr" eaLnBrk="0" hangingPunct="0"/>
              <a:endParaRPr lang="en-GB" dirty="0">
                <a:solidFill>
                  <a:schemeClr val="bg2"/>
                </a:solidFill>
                <a:latin typeface="+mn-lt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680523" y="1043561"/>
              <a:ext cx="103643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18239"/>
              <a:r>
                <a:rPr lang="en-US" b="1" dirty="0">
                  <a:solidFill>
                    <a:schemeClr val="bg1"/>
                  </a:solidFill>
                  <a:latin typeface="+mn-lt"/>
                </a:rPr>
                <a:t>Operations </a:t>
              </a:r>
            </a:p>
            <a:p>
              <a:pPr defTabSz="518239"/>
              <a:r>
                <a:rPr lang="en-US" b="1" dirty="0">
                  <a:solidFill>
                    <a:schemeClr val="bg1"/>
                  </a:solidFill>
                  <a:latin typeface="+mn-lt"/>
                </a:rPr>
                <a:t>and </a:t>
              </a:r>
              <a:br>
                <a:rPr lang="en-US" b="1" dirty="0">
                  <a:solidFill>
                    <a:schemeClr val="bg1"/>
                  </a:solidFill>
                  <a:latin typeface="+mn-lt"/>
                </a:rPr>
              </a:br>
              <a:r>
                <a:rPr lang="en-US" b="1" dirty="0">
                  <a:solidFill>
                    <a:schemeClr val="bg1"/>
                  </a:solidFill>
                  <a:latin typeface="+mn-lt"/>
                </a:rPr>
                <a:t>maintenance</a:t>
              </a:r>
            </a:p>
          </p:txBody>
        </p:sp>
      </p:grpSp>
      <p:sp>
        <p:nvSpPr>
          <p:cNvPr id="31" name="Rectangle 30"/>
          <p:cNvSpPr>
            <a:spLocks/>
          </p:cNvSpPr>
          <p:nvPr/>
        </p:nvSpPr>
        <p:spPr>
          <a:xfrm>
            <a:off x="2538154" y="978737"/>
            <a:ext cx="3750469" cy="3671434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6" tIns="45678" rIns="91356" bIns="4567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840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829108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42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  <a:latin typeface="Franklin Gothic Book" panose="020B0503020102090204" pitchFamily="34" charset="0"/>
              <a:sym typeface="Franklin Gothic Book" panose="020B050302010209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0753" y="646628"/>
            <a:ext cx="8059480" cy="400025"/>
          </a:xfrm>
          <a:prstGeom prst="rect">
            <a:avLst/>
          </a:prstGeom>
        </p:spPr>
        <p:txBody>
          <a:bodyPr wrap="square" lIns="91356" tIns="45678" rIns="91356" bIns="45678">
            <a:spAutoFit/>
          </a:bodyPr>
          <a:lstStyle/>
          <a:p>
            <a:r>
              <a:rPr lang="en-US" altLang="en-US" sz="2000" b="1" dirty="0">
                <a:latin typeface="+mn-lt"/>
              </a:rPr>
              <a:t>TxDOT Comprehensive Planning and Programming Process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161984" y="100983"/>
            <a:ext cx="8724842" cy="307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193817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38" algn="l"/>
              </a:tabLst>
              <a:defRPr lang="x-none" sz="1999" b="0" baseline="0">
                <a:solidFill>
                  <a:schemeClr val="bg1"/>
                </a:solidFill>
                <a:latin typeface="Franklin Gothic Demi" panose="020B0703020102020204" pitchFamily="34" charset="0"/>
                <a:ea typeface="+mj-ea"/>
                <a:cs typeface="+mj-cs"/>
              </a:defRPr>
            </a:lvl1pPr>
            <a:lvl2pPr algn="l" defTabSz="1193817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2pPr>
            <a:lvl3pPr algn="l" defTabSz="1193817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3pPr>
            <a:lvl4pPr algn="l" defTabSz="1193817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4pPr>
            <a:lvl5pPr algn="l" defTabSz="1193817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5pPr>
            <a:lvl6pPr marL="609608" algn="l" defTabSz="1193817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6pPr>
            <a:lvl7pPr marL="1219217" algn="l" defTabSz="1193817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7pPr>
            <a:lvl8pPr marL="1828823" algn="l" defTabSz="1193817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8pPr>
            <a:lvl9pPr marL="2438433" algn="l" defTabSz="1193817" rtl="0" eaLnBrk="1" fontAlgn="base" hangingPunct="1">
              <a:spcBef>
                <a:spcPct val="0"/>
              </a:spcBef>
              <a:spcAft>
                <a:spcPct val="0"/>
              </a:spcAft>
              <a:defRPr lang="x-none"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99690"/>
            <a:r>
              <a:rPr lang="en-US" kern="0" dirty="0"/>
              <a:t>What is project development and </a:t>
            </a:r>
            <a:r>
              <a:rPr lang="en-US" kern="0" dirty="0" smtClean="0"/>
              <a:t>delivery?</a:t>
            </a:r>
            <a:endParaRPr lang="en-US" kern="0" dirty="0"/>
          </a:p>
        </p:txBody>
      </p:sp>
      <p:sp>
        <p:nvSpPr>
          <p:cNvPr id="9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Franklin Gothic Demi" panose="020B0703020102020204" pitchFamily="34" charset="0"/>
              </a:rPr>
              <a:t>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80753" y="2044520"/>
            <a:ext cx="1713066" cy="246136"/>
          </a:xfrm>
          <a:prstGeom prst="rect">
            <a:avLst/>
          </a:prstGeom>
          <a:noFill/>
        </p:spPr>
        <p:txBody>
          <a:bodyPr wrap="square" lIns="91356" tIns="45678" rIns="91356" bIns="45678" rtlCol="0">
            <a:spAutoFit/>
          </a:bodyPr>
          <a:lstStyle/>
          <a:p>
            <a:r>
              <a:rPr lang="en-US" sz="1000" b="1" dirty="0">
                <a:latin typeface="+mn-lt"/>
              </a:rPr>
              <a:t>Federal </a:t>
            </a:r>
            <a:r>
              <a:rPr lang="en-US" sz="1000" b="1" dirty="0" err="1">
                <a:latin typeface="+mn-lt"/>
              </a:rPr>
              <a:t>Req’t</a:t>
            </a:r>
            <a:r>
              <a:rPr lang="en-US" sz="1000" b="1" dirty="0">
                <a:latin typeface="+mn-lt"/>
              </a:rPr>
              <a:t> -  MPO/TxDO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94691" y="1412394"/>
            <a:ext cx="1499128" cy="246136"/>
          </a:xfrm>
          <a:prstGeom prst="rect">
            <a:avLst/>
          </a:prstGeom>
          <a:noFill/>
        </p:spPr>
        <p:txBody>
          <a:bodyPr wrap="square" lIns="91356" tIns="45678" rIns="91356" bIns="45678" rtlCol="0">
            <a:spAutoFit/>
          </a:bodyPr>
          <a:lstStyle/>
          <a:p>
            <a:r>
              <a:rPr lang="en-US" sz="1000" b="1" dirty="0" smtClean="0">
                <a:latin typeface="+mn-lt"/>
              </a:rPr>
              <a:t>Federal  </a:t>
            </a:r>
            <a:r>
              <a:rPr lang="en-US" sz="1000" b="1" dirty="0" err="1" smtClean="0">
                <a:latin typeface="+mn-lt"/>
              </a:rPr>
              <a:t>Req’t</a:t>
            </a:r>
            <a:r>
              <a:rPr lang="en-US" sz="1000" b="1" dirty="0" smtClean="0">
                <a:latin typeface="+mn-lt"/>
              </a:rPr>
              <a:t> </a:t>
            </a:r>
            <a:r>
              <a:rPr lang="en-US" sz="1000" b="1" dirty="0">
                <a:latin typeface="+mn-lt"/>
              </a:rPr>
              <a:t>-  TxDO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94349" y="2739909"/>
            <a:ext cx="1285875" cy="246136"/>
          </a:xfrm>
          <a:prstGeom prst="rect">
            <a:avLst/>
          </a:prstGeom>
          <a:noFill/>
        </p:spPr>
        <p:txBody>
          <a:bodyPr wrap="square" lIns="91356" tIns="45678" rIns="91356" bIns="45678" rtlCol="0">
            <a:spAutoFit/>
          </a:bodyPr>
          <a:lstStyle/>
          <a:p>
            <a:r>
              <a:rPr lang="en-US" sz="1000" b="1" dirty="0">
                <a:latin typeface="+mn-lt"/>
              </a:rPr>
              <a:t>State </a:t>
            </a:r>
            <a:r>
              <a:rPr lang="en-US" sz="1000" b="1" dirty="0" err="1">
                <a:latin typeface="+mn-lt"/>
              </a:rPr>
              <a:t>Req’t</a:t>
            </a:r>
            <a:r>
              <a:rPr lang="en-US" sz="1000" b="1" dirty="0">
                <a:latin typeface="+mn-lt"/>
              </a:rPr>
              <a:t>  -  TxDO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94691" y="4096662"/>
            <a:ext cx="1285874" cy="246136"/>
          </a:xfrm>
          <a:prstGeom prst="rect">
            <a:avLst/>
          </a:prstGeom>
          <a:noFill/>
        </p:spPr>
        <p:txBody>
          <a:bodyPr wrap="square" lIns="91356" tIns="45678" rIns="91356" bIns="45678" rtlCol="0">
            <a:spAutoFit/>
          </a:bodyPr>
          <a:lstStyle/>
          <a:p>
            <a:r>
              <a:rPr lang="en-US" sz="1000" b="1" dirty="0">
                <a:latin typeface="+mn-lt"/>
              </a:rPr>
              <a:t>State </a:t>
            </a:r>
            <a:r>
              <a:rPr lang="en-US" sz="1000" b="1" dirty="0" err="1">
                <a:latin typeface="+mn-lt"/>
              </a:rPr>
              <a:t>Req’t</a:t>
            </a:r>
            <a:r>
              <a:rPr lang="en-US" sz="1000" b="1" dirty="0">
                <a:latin typeface="+mn-lt"/>
              </a:rPr>
              <a:t> - TxDO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80753" y="3477823"/>
            <a:ext cx="1713066" cy="246136"/>
          </a:xfrm>
          <a:prstGeom prst="rect">
            <a:avLst/>
          </a:prstGeom>
          <a:noFill/>
        </p:spPr>
        <p:txBody>
          <a:bodyPr wrap="square" lIns="91356" tIns="45678" rIns="91356" bIns="45678" rtlCol="0">
            <a:spAutoFit/>
          </a:bodyPr>
          <a:lstStyle/>
          <a:p>
            <a:r>
              <a:rPr lang="en-US" sz="1000" b="1" dirty="0">
                <a:latin typeface="+mn-lt"/>
              </a:rPr>
              <a:t>Federal </a:t>
            </a:r>
            <a:r>
              <a:rPr lang="en-US" sz="1000" b="1" dirty="0" err="1">
                <a:latin typeface="+mn-lt"/>
              </a:rPr>
              <a:t>Req’t</a:t>
            </a:r>
            <a:r>
              <a:rPr lang="en-US" sz="1000" b="1" dirty="0">
                <a:latin typeface="+mn-lt"/>
              </a:rPr>
              <a:t> – MPO/TxDOT</a:t>
            </a:r>
          </a:p>
        </p:txBody>
      </p:sp>
      <p:pic>
        <p:nvPicPr>
          <p:cNvPr id="23" name="Picture 269" descr="C:\Users\DMILLIK2\AppData\Local\Microsoft\Windows\Temporary Internet Files\Content.Outlook\DE1ZX9RR\Fig_01-2019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812" y="1198056"/>
            <a:ext cx="6307667" cy="332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151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745" y="734292"/>
            <a:ext cx="3650592" cy="3969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550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6385">
              <a:tabLst/>
            </a:pPr>
            <a:r>
              <a:rPr lang="en-US" dirty="0"/>
              <a:t>Where do new processes fit?</a:t>
            </a:r>
          </a:p>
        </p:txBody>
      </p:sp>
      <p:cxnSp>
        <p:nvCxnSpPr>
          <p:cNvPr id="78" name="Straight Connector 77"/>
          <p:cNvCxnSpPr>
            <a:stCxn id="74" idx="1"/>
          </p:cNvCxnSpPr>
          <p:nvPr/>
        </p:nvCxnSpPr>
        <p:spPr bwMode="gray">
          <a:xfrm flipH="1" flipV="1">
            <a:off x="5019675" y="1524251"/>
            <a:ext cx="1196008" cy="201019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cxnSp>
        <p:nvCxnSpPr>
          <p:cNvPr id="79" name="Straight Connector 78"/>
          <p:cNvCxnSpPr>
            <a:stCxn id="76" idx="1"/>
          </p:cNvCxnSpPr>
          <p:nvPr/>
        </p:nvCxnSpPr>
        <p:spPr bwMode="gray">
          <a:xfrm flipH="1" flipV="1">
            <a:off x="5360255" y="3550543"/>
            <a:ext cx="855170" cy="22710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cxnSp>
        <p:nvCxnSpPr>
          <p:cNvPr id="85" name="Straight Connector 84"/>
          <p:cNvCxnSpPr>
            <a:stCxn id="75" idx="3"/>
          </p:cNvCxnSpPr>
          <p:nvPr/>
        </p:nvCxnSpPr>
        <p:spPr bwMode="gray">
          <a:xfrm>
            <a:off x="2065295" y="1730771"/>
            <a:ext cx="1139093" cy="84617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sp>
        <p:nvSpPr>
          <p:cNvPr id="74" name="TextBox 73"/>
          <p:cNvSpPr txBox="1">
            <a:spLocks/>
          </p:cNvSpPr>
          <p:nvPr/>
        </p:nvSpPr>
        <p:spPr bwMode="gray">
          <a:xfrm>
            <a:off x="6215683" y="789723"/>
            <a:ext cx="2563882" cy="1871094"/>
          </a:xfrm>
          <a:prstGeom prst="rect">
            <a:avLst/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square" lIns="34959" tIns="34959" rIns="34959" bIns="3495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20681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9155" indent="-197522" defTabSz="92068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70135" indent="-269349" defTabSz="92068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31744" indent="-159976" defTabSz="92068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71022" indent="-133858" defTabSz="92068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6pPr>
            <a:lvl7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7pPr>
            <a:lvl8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8pPr>
            <a:lvl9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9pPr>
          </a:lstStyle>
          <a:p>
            <a:pPr lvl="1">
              <a:buClr>
                <a:srgbClr val="14385C"/>
              </a:buClr>
              <a:defRPr/>
            </a:pPr>
            <a:endParaRPr lang="en-US" sz="1300" kern="0" dirty="0">
              <a:ea typeface="ＭＳ Ｐゴシック"/>
            </a:endParaRPr>
          </a:p>
          <a:p>
            <a:pPr lvl="1">
              <a:buClr>
                <a:srgbClr val="14385C"/>
              </a:buClr>
              <a:defRPr/>
            </a:pPr>
            <a:r>
              <a:rPr lang="en-US" sz="1300" kern="0" dirty="0">
                <a:ea typeface="ＭＳ Ｐゴシック"/>
              </a:rPr>
              <a:t>Define our </a:t>
            </a:r>
            <a:r>
              <a:rPr lang="en-US" sz="1300" b="1" kern="0" dirty="0">
                <a:ea typeface="ＭＳ Ｐゴシック"/>
              </a:rPr>
              <a:t>planning process </a:t>
            </a:r>
            <a:r>
              <a:rPr lang="en-US" sz="1300" kern="0" dirty="0">
                <a:ea typeface="ＭＳ Ｐゴシック"/>
              </a:rPr>
              <a:t>and develop scoring criteria and ranking methodology to </a:t>
            </a:r>
            <a:r>
              <a:rPr lang="en-US" sz="1300" b="1" kern="0" dirty="0">
                <a:ea typeface="ＭＳ Ｐゴシック"/>
              </a:rPr>
              <a:t>improve and demonstrate reasons for projects </a:t>
            </a:r>
            <a:r>
              <a:rPr lang="en-US" sz="1300" kern="0" dirty="0">
                <a:ea typeface="ＭＳ Ｐゴシック"/>
              </a:rPr>
              <a:t>in our 10-year plan and </a:t>
            </a:r>
            <a:r>
              <a:rPr lang="en-US" sz="1300" b="1" kern="0" dirty="0">
                <a:ea typeface="ＭＳ Ｐゴシック"/>
              </a:rPr>
              <a:t>comply with requirements of House Bill 20 (HB20)</a:t>
            </a:r>
            <a:r>
              <a:rPr lang="en-US" sz="1300" kern="0" dirty="0">
                <a:ea typeface="ＭＳ Ｐゴシック"/>
              </a:rPr>
              <a:t> from 84</a:t>
            </a:r>
            <a:r>
              <a:rPr lang="en-US" sz="1300" kern="0" baseline="30000" dirty="0">
                <a:ea typeface="ＭＳ Ｐゴシック"/>
              </a:rPr>
              <a:t>th</a:t>
            </a:r>
            <a:r>
              <a:rPr lang="en-US" sz="1300" kern="0" dirty="0">
                <a:ea typeface="ＭＳ Ｐゴシック"/>
              </a:rPr>
              <a:t> Legislative Session</a:t>
            </a:r>
            <a:endParaRPr lang="en-US" sz="1300" b="1" kern="0" dirty="0">
              <a:ea typeface="ＭＳ Ｐゴシック"/>
            </a:endParaRPr>
          </a:p>
        </p:txBody>
      </p:sp>
      <p:sp>
        <p:nvSpPr>
          <p:cNvPr id="76" name="TextBox 75"/>
          <p:cNvSpPr txBox="1">
            <a:spLocks/>
          </p:cNvSpPr>
          <p:nvPr/>
        </p:nvSpPr>
        <p:spPr bwMode="gray">
          <a:xfrm>
            <a:off x="6215425" y="3142183"/>
            <a:ext cx="2563882" cy="1270929"/>
          </a:xfrm>
          <a:prstGeom prst="rect">
            <a:avLst/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square" lIns="34959" tIns="34959" rIns="34959" bIns="3495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20681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9155" indent="-197522" defTabSz="92068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70135" indent="-269349" defTabSz="92068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31744" indent="-159976" defTabSz="92068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71022" indent="-133858" defTabSz="92068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6pPr>
            <a:lvl7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7pPr>
            <a:lvl8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8pPr>
            <a:lvl9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9pPr>
          </a:lstStyle>
          <a:p>
            <a:pPr lvl="1">
              <a:buClr>
                <a:srgbClr val="14385C"/>
              </a:buClr>
              <a:defRPr/>
            </a:pPr>
            <a:endParaRPr lang="en-US" sz="1300" kern="0" dirty="0">
              <a:ea typeface="ＭＳ Ｐゴシック"/>
            </a:endParaRPr>
          </a:p>
          <a:p>
            <a:pPr lvl="1">
              <a:buClr>
                <a:srgbClr val="14385C"/>
              </a:buClr>
              <a:defRPr/>
            </a:pPr>
            <a:r>
              <a:rPr lang="en-US" sz="1300" kern="0" dirty="0">
                <a:ea typeface="ＭＳ Ｐゴシック"/>
              </a:rPr>
              <a:t>Build a structure into </a:t>
            </a:r>
            <a:r>
              <a:rPr lang="en-US" sz="1300" b="1" kern="0" dirty="0">
                <a:ea typeface="ＭＳ Ｐゴシック"/>
              </a:rPr>
              <a:t>monitoring the progress of individual projects and the health of each district’s and the department’s portfolio of projects</a:t>
            </a:r>
          </a:p>
        </p:txBody>
      </p:sp>
      <p:cxnSp>
        <p:nvCxnSpPr>
          <p:cNvPr id="28" name="Straight Connector 27"/>
          <p:cNvCxnSpPr>
            <a:stCxn id="77" idx="3"/>
          </p:cNvCxnSpPr>
          <p:nvPr/>
        </p:nvCxnSpPr>
        <p:spPr bwMode="gray">
          <a:xfrm>
            <a:off x="2230394" y="3687756"/>
            <a:ext cx="730053" cy="180886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sp>
        <p:nvSpPr>
          <p:cNvPr id="31" name="Title Tracker Circle"/>
          <p:cNvSpPr/>
          <p:nvPr/>
        </p:nvSpPr>
        <p:spPr>
          <a:xfrm>
            <a:off x="6050325" y="630092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300" b="1" dirty="0">
                <a:solidFill>
                  <a:prstClr val="white"/>
                </a:solidFill>
                <a:cs typeface="Arial" pitchFamily="34" charset="0"/>
              </a:rPr>
              <a:t>b</a:t>
            </a:r>
          </a:p>
        </p:txBody>
      </p:sp>
      <p:sp>
        <p:nvSpPr>
          <p:cNvPr id="32" name="Title Tracker Circle"/>
          <p:cNvSpPr/>
          <p:nvPr/>
        </p:nvSpPr>
        <p:spPr>
          <a:xfrm>
            <a:off x="6050325" y="297704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300" b="1" dirty="0">
                <a:solidFill>
                  <a:schemeClr val="bg1"/>
                </a:solidFill>
                <a:cs typeface="Arial" pitchFamily="34" charset="0"/>
              </a:rPr>
              <a:t>c</a:t>
            </a:r>
          </a:p>
        </p:txBody>
      </p:sp>
      <p:sp>
        <p:nvSpPr>
          <p:cNvPr id="75" name="TextBox 74"/>
          <p:cNvSpPr txBox="1">
            <a:spLocks/>
          </p:cNvSpPr>
          <p:nvPr/>
        </p:nvSpPr>
        <p:spPr bwMode="gray">
          <a:xfrm>
            <a:off x="355798" y="795224"/>
            <a:ext cx="1709497" cy="1871094"/>
          </a:xfrm>
          <a:prstGeom prst="rect">
            <a:avLst/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square" lIns="34959" tIns="34959" rIns="34959" bIns="3495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20681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9155" indent="-197522" defTabSz="92068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70135" indent="-269349" defTabSz="92068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31744" indent="-159976" defTabSz="92068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71022" indent="-133858" defTabSz="92068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6pPr>
            <a:lvl7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7pPr>
            <a:lvl8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8pPr>
            <a:lvl9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9pPr>
          </a:lstStyle>
          <a:p>
            <a:pPr lvl="1">
              <a:buClr>
                <a:srgbClr val="14385C"/>
              </a:buClr>
              <a:defRPr/>
            </a:pPr>
            <a:endParaRPr lang="en-US" sz="1300" b="1" kern="0" dirty="0">
              <a:ea typeface="ＭＳ Ｐゴシック"/>
            </a:endParaRPr>
          </a:p>
          <a:p>
            <a:pPr lvl="1">
              <a:buClr>
                <a:srgbClr val="14385C"/>
              </a:buClr>
              <a:defRPr/>
            </a:pPr>
            <a:r>
              <a:rPr lang="en-US" sz="1300" b="1" kern="0" dirty="0">
                <a:ea typeface="ＭＳ Ｐゴシック"/>
              </a:rPr>
              <a:t>Document our current project development and delivery process </a:t>
            </a:r>
            <a:r>
              <a:rPr lang="en-US" sz="1300" kern="0" dirty="0">
                <a:ea typeface="ＭＳ Ｐゴシック"/>
              </a:rPr>
              <a:t>and refine it </a:t>
            </a:r>
            <a:r>
              <a:rPr lang="en-US" sz="1300" b="1" kern="0" dirty="0">
                <a:ea typeface="ＭＳ Ｐゴシック"/>
              </a:rPr>
              <a:t>to improve efficiency</a:t>
            </a:r>
            <a:r>
              <a:rPr lang="en-US" sz="1300" kern="0" dirty="0">
                <a:ea typeface="ＭＳ Ｐゴシック"/>
              </a:rPr>
              <a:t> and facilitate improved staff training</a:t>
            </a:r>
          </a:p>
        </p:txBody>
      </p:sp>
      <p:sp>
        <p:nvSpPr>
          <p:cNvPr id="33" name="Title Tracker Circle"/>
          <p:cNvSpPr/>
          <p:nvPr/>
        </p:nvSpPr>
        <p:spPr>
          <a:xfrm>
            <a:off x="190684" y="73011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300" b="1" dirty="0">
                <a:solidFill>
                  <a:schemeClr val="bg1"/>
                </a:solidFill>
                <a:cs typeface="Arial" pitchFamily="34" charset="0"/>
              </a:rPr>
              <a:t>a</a:t>
            </a:r>
          </a:p>
        </p:txBody>
      </p:sp>
      <p:sp>
        <p:nvSpPr>
          <p:cNvPr id="77" name="TextBox 76"/>
          <p:cNvSpPr txBox="1">
            <a:spLocks/>
          </p:cNvSpPr>
          <p:nvPr/>
        </p:nvSpPr>
        <p:spPr bwMode="gray">
          <a:xfrm>
            <a:off x="355797" y="2752209"/>
            <a:ext cx="1874597" cy="1871094"/>
          </a:xfrm>
          <a:prstGeom prst="rect">
            <a:avLst/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vert="horz" wrap="square" lIns="34959" tIns="34959" rIns="34959" bIns="3495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20681" eaLnBrk="1" hangingPunct="1">
              <a:buClr>
                <a:schemeClr val="tx2"/>
              </a:buClr>
              <a:defRPr sz="1568" baseline="0">
                <a:latin typeface="+mn-lt"/>
              </a:defRPr>
            </a:lvl1pPr>
            <a:lvl2pPr marL="199155" indent="-197522" defTabSz="920681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568" baseline="0">
                <a:latin typeface="+mn-lt"/>
              </a:defRPr>
            </a:lvl2pPr>
            <a:lvl3pPr marL="470135" indent="-269349" defTabSz="920681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568" baseline="0">
                <a:latin typeface="+mn-lt"/>
              </a:defRPr>
            </a:lvl3pPr>
            <a:lvl4pPr marL="631744" indent="-159976" defTabSz="920681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568" baseline="0">
                <a:latin typeface="+mn-lt"/>
              </a:defRPr>
            </a:lvl4pPr>
            <a:lvl5pPr marL="771022" indent="-133858" defTabSz="920681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568" baseline="0">
                <a:latin typeface="+mn-lt"/>
              </a:defRPr>
            </a:lvl5pPr>
            <a:lvl6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6pPr>
            <a:lvl7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7pPr>
            <a:lvl8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8pPr>
            <a:lvl9pPr marL="771022" indent="-133858" defTabSz="9206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66" baseline="0">
                <a:latin typeface="+mn-lt"/>
              </a:defRPr>
            </a:lvl9pPr>
          </a:lstStyle>
          <a:p>
            <a:pPr lvl="1">
              <a:buClr>
                <a:srgbClr val="14385C"/>
              </a:buClr>
              <a:defRPr/>
            </a:pPr>
            <a:endParaRPr lang="en-US" sz="1300" kern="0" dirty="0">
              <a:ea typeface="ＭＳ Ｐゴシック"/>
            </a:endParaRPr>
          </a:p>
          <a:p>
            <a:pPr lvl="1">
              <a:buClr>
                <a:srgbClr val="14385C"/>
              </a:buClr>
              <a:defRPr/>
            </a:pPr>
            <a:r>
              <a:rPr lang="en-US" sz="1300" kern="0" dirty="0">
                <a:ea typeface="ＭＳ Ｐゴシック"/>
              </a:rPr>
              <a:t>N</a:t>
            </a:r>
            <a:r>
              <a:rPr lang="en-US" sz="1300" b="1" kern="0" dirty="0">
                <a:ea typeface="ＭＳ Ｐゴシック"/>
              </a:rPr>
              <a:t>ew technology solution to ensure we have accurate data </a:t>
            </a:r>
            <a:r>
              <a:rPr lang="en-US" sz="1300" kern="0" dirty="0">
                <a:ea typeface="ＭＳ Ｐゴシック"/>
              </a:rPr>
              <a:t>to support performance of these 3 processes and to deliver our transportation program</a:t>
            </a:r>
          </a:p>
        </p:txBody>
      </p:sp>
      <p:sp>
        <p:nvSpPr>
          <p:cNvPr id="34" name="Title Tracker Circle"/>
          <p:cNvSpPr/>
          <p:nvPr/>
        </p:nvSpPr>
        <p:spPr>
          <a:xfrm>
            <a:off x="190684" y="2576943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en-US" sz="1300" b="1" dirty="0">
                <a:solidFill>
                  <a:schemeClr val="bg1"/>
                </a:solidFill>
                <a:cs typeface="Arial" pitchFamily="34" charset="0"/>
              </a:rPr>
              <a:t>d</a:t>
            </a:r>
          </a:p>
        </p:txBody>
      </p:sp>
      <p:sp>
        <p:nvSpPr>
          <p:cNvPr id="44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2</a:t>
            </a:r>
          </a:p>
        </p:txBody>
      </p:sp>
      <p:sp>
        <p:nvSpPr>
          <p:cNvPr id="43" name="Rectangle 42"/>
          <p:cNvSpPr/>
          <p:nvPr/>
        </p:nvSpPr>
        <p:spPr>
          <a:xfrm>
            <a:off x="2960434" y="2818988"/>
            <a:ext cx="1001965" cy="646246"/>
          </a:xfrm>
          <a:prstGeom prst="rect">
            <a:avLst/>
          </a:prstGeom>
        </p:spPr>
        <p:txBody>
          <a:bodyPr wrap="square" lIns="91356" tIns="45678" rIns="91356" bIns="45678">
            <a:spAutoFit/>
          </a:bodyPr>
          <a:lstStyle/>
          <a:p>
            <a:pPr marL="1633" lvl="1">
              <a:buClr>
                <a:srgbClr val="14385C"/>
              </a:buClr>
              <a:defRPr/>
            </a:pPr>
            <a:r>
              <a:rPr lang="en-US" b="1" kern="0" dirty="0">
                <a:solidFill>
                  <a:srgbClr val="0A1B2B"/>
                </a:solidFill>
                <a:latin typeface="Franklin Gothic Book"/>
                <a:ea typeface="ＭＳ Ｐゴシック"/>
              </a:rPr>
              <a:t>Project Delivery &amp; Governance</a:t>
            </a:r>
            <a:endParaRPr lang="en-US" kern="0" dirty="0">
              <a:solidFill>
                <a:srgbClr val="0A1B2B"/>
              </a:solidFill>
              <a:latin typeface="Franklin Gothic Book"/>
              <a:ea typeface="ＭＳ Ｐゴシック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571876" y="4046717"/>
            <a:ext cx="1844146" cy="646246"/>
          </a:xfrm>
          <a:prstGeom prst="rect">
            <a:avLst/>
          </a:prstGeom>
        </p:spPr>
        <p:txBody>
          <a:bodyPr wrap="square" lIns="91356" tIns="45678" rIns="91356" bIns="45678">
            <a:spAutoFit/>
          </a:bodyPr>
          <a:lstStyle/>
          <a:p>
            <a:pPr marL="1633" lvl="1" algn="ctr">
              <a:buClr>
                <a:srgbClr val="14385C"/>
              </a:buClr>
              <a:defRPr/>
            </a:pPr>
            <a:r>
              <a:rPr lang="en-US" b="1" kern="0" dirty="0">
                <a:solidFill>
                  <a:srgbClr val="0A1B2B"/>
                </a:solidFill>
                <a:latin typeface="Franklin Gothic Book"/>
                <a:ea typeface="ＭＳ Ｐゴシック"/>
              </a:rPr>
              <a:t>Modernize Portfolio and Project  Management</a:t>
            </a:r>
          </a:p>
          <a:p>
            <a:pPr marL="1633" lvl="1" algn="ctr">
              <a:buClr>
                <a:srgbClr val="14385C"/>
              </a:buClr>
              <a:defRPr/>
            </a:pPr>
            <a:r>
              <a:rPr lang="en-US" b="1" kern="0" dirty="0">
                <a:solidFill>
                  <a:srgbClr val="0A1B2B"/>
                </a:solidFill>
                <a:latin typeface="Franklin Gothic Book"/>
                <a:ea typeface="ＭＳ Ｐゴシック"/>
              </a:rPr>
              <a:t>(</a:t>
            </a:r>
            <a:r>
              <a:rPr lang="en-US" b="1" kern="0" dirty="0" err="1">
                <a:solidFill>
                  <a:srgbClr val="0A1B2B"/>
                </a:solidFill>
                <a:latin typeface="Franklin Gothic Book"/>
                <a:ea typeface="ＭＳ Ｐゴシック"/>
              </a:rPr>
              <a:t>TxDOTCONNECT</a:t>
            </a:r>
            <a:r>
              <a:rPr lang="en-US" b="1" kern="0" dirty="0">
                <a:solidFill>
                  <a:srgbClr val="0A1B2B"/>
                </a:solidFill>
                <a:latin typeface="Franklin Gothic Book"/>
                <a:ea typeface="ＭＳ Ｐゴシック"/>
              </a:rPr>
              <a:t>)</a:t>
            </a:r>
          </a:p>
        </p:txBody>
      </p:sp>
      <p:sp>
        <p:nvSpPr>
          <p:cNvPr id="46" name="Rectangle 45"/>
          <p:cNvSpPr/>
          <p:nvPr/>
        </p:nvSpPr>
        <p:spPr>
          <a:xfrm>
            <a:off x="3742128" y="1138291"/>
            <a:ext cx="1193734" cy="461580"/>
          </a:xfrm>
          <a:prstGeom prst="rect">
            <a:avLst/>
          </a:prstGeom>
        </p:spPr>
        <p:txBody>
          <a:bodyPr wrap="square" lIns="91356" tIns="45678" rIns="91356" bIns="45678">
            <a:spAutoFit/>
          </a:bodyPr>
          <a:lstStyle/>
          <a:p>
            <a:pPr marL="1633" lvl="1">
              <a:buClr>
                <a:srgbClr val="14385C"/>
              </a:buClr>
              <a:defRPr/>
            </a:pPr>
            <a:r>
              <a:rPr lang="en-US" b="1" kern="0" dirty="0">
                <a:solidFill>
                  <a:srgbClr val="0A1B2B"/>
                </a:solidFill>
                <a:latin typeface="Franklin Gothic Book"/>
                <a:ea typeface="ＭＳ Ｐゴシック"/>
              </a:rPr>
              <a:t>Performance Based Planning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905690" y="2818988"/>
            <a:ext cx="909126" cy="646246"/>
          </a:xfrm>
          <a:prstGeom prst="rect">
            <a:avLst/>
          </a:prstGeom>
        </p:spPr>
        <p:txBody>
          <a:bodyPr wrap="square" lIns="91356" tIns="45678" rIns="91356" bIns="45678">
            <a:spAutoFit/>
          </a:bodyPr>
          <a:lstStyle/>
          <a:p>
            <a:pPr marL="1633" lvl="1">
              <a:buClr>
                <a:srgbClr val="14385C"/>
              </a:buClr>
              <a:defRPr/>
            </a:pPr>
            <a:r>
              <a:rPr lang="en-US" b="1" kern="0" dirty="0">
                <a:solidFill>
                  <a:srgbClr val="0A1B2B"/>
                </a:solidFill>
                <a:latin typeface="Franklin Gothic Book"/>
                <a:ea typeface="ＭＳ Ｐゴシック"/>
              </a:rPr>
              <a:t>Quarterly Review Process</a:t>
            </a:r>
          </a:p>
        </p:txBody>
      </p:sp>
    </p:spTree>
    <p:extLst>
      <p:ext uri="{BB962C8B-B14F-4D97-AF65-F5344CB8AC3E}">
        <p14:creationId xmlns:p14="http://schemas.microsoft.com/office/powerpoint/2010/main" val="3923812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5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35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50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59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5" grpId="0"/>
      <p:bldP spid="46" grpId="0"/>
      <p:bldP spid="4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Flow 50"/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3230384" y="1963213"/>
            <a:ext cx="2738928" cy="1194775"/>
            <a:chOff x="3171005" y="883132"/>
            <a:chExt cx="2619469" cy="914401"/>
          </a:xfrm>
        </p:grpSpPr>
        <p:sp>
          <p:nvSpPr>
            <p:cNvPr id="7" name="Freeform 6"/>
            <p:cNvSpPr/>
            <p:nvPr>
              <p:custDataLst>
                <p:tags r:id="rId8"/>
              </p:custDataLst>
            </p:nvPr>
          </p:nvSpPr>
          <p:spPr bwMode="auto">
            <a:xfrm>
              <a:off x="3171005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9" y="0"/>
                  </a:lnTo>
                  <a:lnTo>
                    <a:pt x="1828800" y="457200"/>
                  </a:lnTo>
                  <a:lnTo>
                    <a:pt x="1713889" y="914401"/>
                  </a:lnTo>
                  <a:lnTo>
                    <a:pt x="0" y="914400"/>
                  </a:lnTo>
                  <a:lnTo>
                    <a:pt x="114911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>
              <a:noAutofit/>
            </a:bodyPr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8" name="TextBox 9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386397" y="1156856"/>
              <a:ext cx="2239484" cy="341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Manage</a:t>
              </a:r>
            </a:p>
            <a:p>
              <a:pPr algn="ctr"/>
              <a:r>
                <a:rPr lang="en-US" sz="1300" dirty="0">
                  <a:solidFill>
                    <a:schemeClr val="bg1">
                      <a:lumMod val="95000"/>
                    </a:schemeClr>
                  </a:solidFill>
                </a:rPr>
                <a:t>(Quarterly Review Process, QRP)</a:t>
              </a:r>
            </a:p>
          </p:txBody>
        </p:sp>
      </p:grpSp>
      <p:grpSp>
        <p:nvGrpSpPr>
          <p:cNvPr id="10" name="Flow 90"/>
          <p:cNvGrpSpPr>
            <a:grpSpLocks/>
          </p:cNvGrpSpPr>
          <p:nvPr>
            <p:custDataLst>
              <p:tags r:id="rId2"/>
            </p:custDataLst>
          </p:nvPr>
        </p:nvGrpSpPr>
        <p:grpSpPr>
          <a:xfrm>
            <a:off x="6019816" y="1963213"/>
            <a:ext cx="2738928" cy="1194775"/>
            <a:chOff x="5838774" y="883132"/>
            <a:chExt cx="2619469" cy="914401"/>
          </a:xfrm>
        </p:grpSpPr>
        <p:sp>
          <p:nvSpPr>
            <p:cNvPr id="11" name="Freeform 10"/>
            <p:cNvSpPr/>
            <p:nvPr>
              <p:custDataLst>
                <p:tags r:id="rId6"/>
              </p:custDataLst>
            </p:nvPr>
          </p:nvSpPr>
          <p:spPr bwMode="auto">
            <a:xfrm>
              <a:off x="5838774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8 w 1828800"/>
                <a:gd name="connsiteY1" fmla="*/ 0 h 914401"/>
                <a:gd name="connsiteX2" fmla="*/ 1828800 w 1828800"/>
                <a:gd name="connsiteY2" fmla="*/ 457200 h 914401"/>
                <a:gd name="connsiteX3" fmla="*/ 1713888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8" y="0"/>
                  </a:lnTo>
                  <a:lnTo>
                    <a:pt x="1828800" y="457200"/>
                  </a:lnTo>
                  <a:lnTo>
                    <a:pt x="1713888" y="914401"/>
                  </a:lnTo>
                  <a:lnTo>
                    <a:pt x="0" y="914400"/>
                  </a:lnTo>
                  <a:lnTo>
                    <a:pt x="114911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>
              <a:noAutofit/>
            </a:bodyPr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12" name="TextBox 9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054166" y="1080302"/>
              <a:ext cx="2239484" cy="4946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 smtClean="0">
                  <a:solidFill>
                    <a:schemeClr val="bg1">
                      <a:lumMod val="95000"/>
                    </a:schemeClr>
                  </a:solidFill>
                  <a:latin typeface="Franklin Gothic Book"/>
                </a:rPr>
                <a:t>Deliver</a:t>
              </a:r>
            </a:p>
            <a:p>
              <a:pPr algn="ctr"/>
              <a:r>
                <a:rPr lang="en-US" sz="1300" dirty="0">
                  <a:solidFill>
                    <a:schemeClr val="bg1">
                      <a:lumMod val="95000"/>
                    </a:schemeClr>
                  </a:solidFill>
                  <a:latin typeface="Franklin Gothic Book"/>
                </a:rPr>
                <a:t>(Project Delivery and Governance, PD&amp;G)</a:t>
              </a:r>
            </a:p>
          </p:txBody>
        </p:sp>
      </p:grpSp>
      <p:grpSp>
        <p:nvGrpSpPr>
          <p:cNvPr id="14" name="Flow 66"/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440953" y="1963213"/>
            <a:ext cx="2738928" cy="1194775"/>
            <a:chOff x="503236" y="883132"/>
            <a:chExt cx="2619469" cy="914401"/>
          </a:xfrm>
        </p:grpSpPr>
        <p:sp>
          <p:nvSpPr>
            <p:cNvPr id="15" name="Freeform 14"/>
            <p:cNvSpPr/>
            <p:nvPr>
              <p:custDataLst>
                <p:tags r:id="rId4"/>
              </p:custDataLst>
            </p:nvPr>
          </p:nvSpPr>
          <p:spPr bwMode="auto">
            <a:xfrm>
              <a:off x="503236" y="883132"/>
              <a:ext cx="2619469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1389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90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90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114911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  <a:gd name="connsiteX0" fmla="*/ 0 w 1828800"/>
                <a:gd name="connsiteY0" fmla="*/ 0 h 914401"/>
                <a:gd name="connsiteX1" fmla="*/ 1713889 w 1828800"/>
                <a:gd name="connsiteY1" fmla="*/ 0 h 914401"/>
                <a:gd name="connsiteX2" fmla="*/ 1828800 w 1828800"/>
                <a:gd name="connsiteY2" fmla="*/ 457200 h 914401"/>
                <a:gd name="connsiteX3" fmla="*/ 1713889 w 1828800"/>
                <a:gd name="connsiteY3" fmla="*/ 914401 h 914401"/>
                <a:gd name="connsiteX4" fmla="*/ 0 w 1828800"/>
                <a:gd name="connsiteY4" fmla="*/ 914400 h 914401"/>
                <a:gd name="connsiteX5" fmla="*/ 0 w 1828800"/>
                <a:gd name="connsiteY5" fmla="*/ 457200 h 914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1">
                  <a:moveTo>
                    <a:pt x="0" y="0"/>
                  </a:moveTo>
                  <a:lnTo>
                    <a:pt x="1713889" y="0"/>
                  </a:lnTo>
                  <a:lnTo>
                    <a:pt x="1828800" y="457200"/>
                  </a:lnTo>
                  <a:lnTo>
                    <a:pt x="1713889" y="914401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en-US" sz="1600" b="1" dirty="0">
                <a:solidFill>
                  <a:schemeClr val="bg1">
                    <a:lumMod val="95000"/>
                  </a:schemeClr>
                </a:solidFill>
                <a:latin typeface="Franklin Gothic Book"/>
              </a:endParaRPr>
            </a:p>
          </p:txBody>
        </p:sp>
        <p:sp>
          <p:nvSpPr>
            <p:cNvPr id="16" name="TextBox 9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554036" y="1156856"/>
              <a:ext cx="2404077" cy="341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Plan</a:t>
              </a:r>
            </a:p>
            <a:p>
              <a:pPr algn="ctr"/>
              <a:r>
                <a:rPr lang="en-US" sz="1300" dirty="0">
                  <a:solidFill>
                    <a:schemeClr val="bg1">
                      <a:lumMod val="95000"/>
                    </a:schemeClr>
                  </a:solidFill>
                </a:rPr>
                <a:t>(Performance Based Planning, PBP)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225078" y="647972"/>
            <a:ext cx="8481601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17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4393" lvl="1" indent="-190793" defTabSz="1193817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609608" lvl="2" indent="-349255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819162" lvl="3" indent="-207436" defTabSz="1193817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999757" lvl="4" indent="-173569" defTabSz="1193817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57" indent="-173569" defTabSz="1193817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lvl="1"/>
            <a:r>
              <a:rPr lang="en-US" dirty="0" smtClean="0"/>
              <a:t>These processes </a:t>
            </a:r>
            <a:r>
              <a:rPr lang="en-US" dirty="0"/>
              <a:t>integrate </a:t>
            </a:r>
            <a:r>
              <a:rPr lang="en-US" dirty="0" smtClean="0"/>
              <a:t>within project development and delivery in 3 areas that facilitate successful transportation program management and enable </a:t>
            </a:r>
            <a:r>
              <a:rPr lang="en-US" dirty="0"/>
              <a:t>TxDOT to meet </a:t>
            </a:r>
            <a:r>
              <a:rPr lang="en-US" dirty="0" smtClean="0"/>
              <a:t>our </a:t>
            </a:r>
            <a:br>
              <a:rPr lang="en-US" dirty="0" smtClean="0"/>
            </a:br>
            <a:r>
              <a:rPr lang="en-US" dirty="0" smtClean="0"/>
              <a:t>transportation </a:t>
            </a:r>
            <a:r>
              <a:rPr lang="en-US" dirty="0"/>
              <a:t>goal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6385">
              <a:tabLst/>
            </a:pPr>
            <a:r>
              <a:rPr lang="en-US" dirty="0"/>
              <a:t>Where do new processes fit?</a:t>
            </a:r>
          </a:p>
        </p:txBody>
      </p:sp>
      <p:sp>
        <p:nvSpPr>
          <p:cNvPr id="25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19087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897448" y="691858"/>
            <a:ext cx="7235493" cy="3982722"/>
            <a:chOff x="412916" y="934711"/>
            <a:chExt cx="8127380" cy="3751564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4828132" y="1033921"/>
              <a:ext cx="1908677" cy="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cxnSp>
          <p:nvCxnSpPr>
            <p:cNvPr id="7" name="Straight Connector 6"/>
            <p:cNvCxnSpPr/>
            <p:nvPr/>
          </p:nvCxnSpPr>
          <p:spPr>
            <a:xfrm rot="5400000">
              <a:off x="6493471" y="1033921"/>
              <a:ext cx="198420" cy="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sp>
          <p:nvSpPr>
            <p:cNvPr id="8" name="AutoShape 25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514107" y="949416"/>
              <a:ext cx="697195" cy="144956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91358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kern="0" dirty="0">
                  <a:solidFill>
                    <a:srgbClr val="14385C"/>
                  </a:solidFill>
                  <a:latin typeface="Franklin Gothic Medium" panose="020B0603020102020204" pitchFamily="34" charset="0"/>
                </a:rPr>
                <a:t>4 - 0</a:t>
              </a:r>
              <a:endParaRPr lang="en-US" sz="1000" b="1" kern="0" dirty="0">
                <a:solidFill>
                  <a:srgbClr val="808080"/>
                </a:solidFill>
                <a:latin typeface="Franklin Gothic Medium" panose="020B0603020102020204" pitchFamily="34" charset="0"/>
              </a:endParaRPr>
            </a:p>
          </p:txBody>
        </p:sp>
        <p:sp>
          <p:nvSpPr>
            <p:cNvPr id="9" name="AutoShape 25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12916" y="949416"/>
              <a:ext cx="668977" cy="144956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91358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kern="0" dirty="0">
                  <a:solidFill>
                    <a:srgbClr val="14385C"/>
                  </a:solidFill>
                  <a:latin typeface="Franklin Gothic Medium" panose="020B0603020102020204" pitchFamily="34" charset="0"/>
                </a:rPr>
                <a:t>YEAR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498272" y="1185787"/>
              <a:ext cx="8042024" cy="2704298"/>
              <a:chOff x="567091" y="1549738"/>
              <a:chExt cx="8042024" cy="2704298"/>
            </a:xfrm>
          </p:grpSpPr>
          <p:sp>
            <p:nvSpPr>
              <p:cNvPr id="31" name="Pentagon 30"/>
              <p:cNvSpPr/>
              <p:nvPr/>
            </p:nvSpPr>
            <p:spPr>
              <a:xfrm>
                <a:off x="6583248" y="2384972"/>
                <a:ext cx="2025867" cy="484948"/>
              </a:xfrm>
              <a:prstGeom prst="homePlate">
                <a:avLst>
                  <a:gd name="adj" fmla="val 29597"/>
                </a:avLst>
              </a:prstGeom>
              <a:solidFill>
                <a:sysClr val="window" lastClr="FFFFFF"/>
              </a:solidFill>
              <a:ln w="25400" cap="flat" cmpd="sng" algn="ctr">
                <a:solidFill>
                  <a:srgbClr val="14385C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2" name="Freeform 31"/>
              <p:cNvSpPr>
                <a:spLocks/>
              </p:cNvSpPr>
              <p:nvPr/>
            </p:nvSpPr>
            <p:spPr bwMode="gray">
              <a:xfrm>
                <a:off x="567091" y="1549738"/>
                <a:ext cx="6131295" cy="2186175"/>
              </a:xfrm>
              <a:custGeom>
                <a:avLst/>
                <a:gdLst>
                  <a:gd name="T0" fmla="*/ 328 w 3864"/>
                  <a:gd name="T1" fmla="*/ 0 h 2252"/>
                  <a:gd name="T2" fmla="*/ 2268 w 3864"/>
                  <a:gd name="T3" fmla="*/ 764 h 2252"/>
                  <a:gd name="T4" fmla="*/ 3748 w 3864"/>
                  <a:gd name="T5" fmla="*/ 896 h 2252"/>
                  <a:gd name="T6" fmla="*/ 3864 w 3864"/>
                  <a:gd name="T7" fmla="*/ 1124 h 2252"/>
                  <a:gd name="T8" fmla="*/ 3748 w 3864"/>
                  <a:gd name="T9" fmla="*/ 1364 h 2252"/>
                  <a:gd name="T10" fmla="*/ 2276 w 3864"/>
                  <a:gd name="T11" fmla="*/ 1496 h 2252"/>
                  <a:gd name="T12" fmla="*/ 324 w 3864"/>
                  <a:gd name="T13" fmla="*/ 2252 h 2252"/>
                  <a:gd name="T14" fmla="*/ 328 w 3864"/>
                  <a:gd name="T15" fmla="*/ 0 h 225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864" h="2252">
                    <a:moveTo>
                      <a:pt x="328" y="0"/>
                    </a:moveTo>
                    <a:cubicBezTo>
                      <a:pt x="868" y="276"/>
                      <a:pt x="1868" y="700"/>
                      <a:pt x="2268" y="764"/>
                    </a:cubicBezTo>
                    <a:cubicBezTo>
                      <a:pt x="2668" y="828"/>
                      <a:pt x="3304" y="888"/>
                      <a:pt x="3748" y="896"/>
                    </a:cubicBezTo>
                    <a:cubicBezTo>
                      <a:pt x="3835" y="830"/>
                      <a:pt x="3864" y="1046"/>
                      <a:pt x="3864" y="1124"/>
                    </a:cubicBezTo>
                    <a:cubicBezTo>
                      <a:pt x="3864" y="1202"/>
                      <a:pt x="3840" y="1454"/>
                      <a:pt x="3748" y="1364"/>
                    </a:cubicBezTo>
                    <a:cubicBezTo>
                      <a:pt x="3120" y="1380"/>
                      <a:pt x="2564" y="1460"/>
                      <a:pt x="2276" y="1496"/>
                    </a:cubicBezTo>
                    <a:cubicBezTo>
                      <a:pt x="1988" y="1532"/>
                      <a:pt x="1248" y="1820"/>
                      <a:pt x="324" y="2252"/>
                    </a:cubicBezTo>
                    <a:cubicBezTo>
                      <a:pt x="0" y="1961"/>
                      <a:pt x="5" y="252"/>
                      <a:pt x="328" y="0"/>
                    </a:cubicBezTo>
                    <a:close/>
                  </a:path>
                </a:pathLst>
              </a:custGeom>
              <a:solidFill>
                <a:srgbClr val="F9EFE0">
                  <a:alpha val="94000"/>
                </a:srgbClr>
              </a:solidFill>
              <a:ln w="12700">
                <a:solidFill>
                  <a:srgbClr val="899BAD"/>
                </a:solidFill>
                <a:prstDash val="solid"/>
                <a:round/>
                <a:headEnd/>
                <a:tailEnd/>
              </a:ln>
              <a:effectLst/>
              <a:extLst/>
            </p:spPr>
            <p:txBody>
              <a:bodyPr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" name="Right Arrow 32"/>
              <p:cNvSpPr/>
              <p:nvPr/>
            </p:nvSpPr>
            <p:spPr>
              <a:xfrm>
                <a:off x="2233243" y="2390630"/>
                <a:ext cx="6292285" cy="477595"/>
              </a:xfrm>
              <a:prstGeom prst="rightArrow">
                <a:avLst>
                  <a:gd name="adj1" fmla="val 68428"/>
                  <a:gd name="adj2" fmla="val 50000"/>
                </a:avLst>
              </a:prstGeom>
              <a:solidFill>
                <a:srgbClr val="E5BC7F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prstClr val="white"/>
                  </a:solidFill>
                  <a:latin typeface="Arial"/>
                </a:endParaRPr>
              </a:p>
            </p:txBody>
          </p:sp>
          <p:grpSp>
            <p:nvGrpSpPr>
              <p:cNvPr id="34" name="Group 33"/>
              <p:cNvGrpSpPr/>
              <p:nvPr/>
            </p:nvGrpSpPr>
            <p:grpSpPr>
              <a:xfrm>
                <a:off x="4693920" y="2052795"/>
                <a:ext cx="452972" cy="1106214"/>
                <a:chOff x="4356093" y="2598558"/>
                <a:chExt cx="596752" cy="1655876"/>
              </a:xfrm>
            </p:grpSpPr>
            <p:sp>
              <p:nvSpPr>
                <p:cNvPr id="241" name="AutoShape 69"/>
                <p:cNvSpPr>
                  <a:spLocks noChangeArrowheads="1"/>
                </p:cNvSpPr>
                <p:nvPr/>
              </p:nvSpPr>
              <p:spPr bwMode="gray">
                <a:xfrm>
                  <a:off x="4790765" y="2598558"/>
                  <a:ext cx="162080" cy="1655876"/>
                </a:xfrm>
                <a:prstGeom prst="roundRect">
                  <a:avLst>
                    <a:gd name="adj" fmla="val 0"/>
                  </a:avLst>
                </a:prstGeom>
                <a:solidFill>
                  <a:srgbClr val="14385C"/>
                </a:solidFill>
                <a:ln w="19050">
                  <a:solidFill>
                    <a:srgbClr val="14385C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42" name="Freeform 70"/>
                <p:cNvSpPr>
                  <a:spLocks/>
                </p:cNvSpPr>
                <p:nvPr/>
              </p:nvSpPr>
              <p:spPr bwMode="gray">
                <a:xfrm>
                  <a:off x="4356093" y="2610059"/>
                  <a:ext cx="443876" cy="1633836"/>
                </a:xfrm>
                <a:custGeom>
                  <a:avLst/>
                  <a:gdLst/>
                  <a:ahLst/>
                  <a:cxnLst>
                    <a:cxn ang="0">
                      <a:pos x="0" y="120"/>
                    </a:cxn>
                    <a:cxn ang="0">
                      <a:pos x="0" y="1576"/>
                    </a:cxn>
                    <a:cxn ang="0">
                      <a:pos x="240" y="1704"/>
                    </a:cxn>
                    <a:cxn ang="0">
                      <a:pos x="240" y="0"/>
                    </a:cxn>
                    <a:cxn ang="0">
                      <a:pos x="0" y="120"/>
                    </a:cxn>
                  </a:cxnLst>
                  <a:rect l="0" t="0" r="r" b="b"/>
                  <a:pathLst>
                    <a:path w="241" h="1705">
                      <a:moveTo>
                        <a:pt x="0" y="120"/>
                      </a:moveTo>
                      <a:lnTo>
                        <a:pt x="0" y="1576"/>
                      </a:lnTo>
                      <a:lnTo>
                        <a:pt x="240" y="1704"/>
                      </a:lnTo>
                      <a:lnTo>
                        <a:pt x="240" y="0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noFill/>
                <a:ln w="50800">
                  <a:solidFill>
                    <a:srgbClr val="E5BC7F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43" name="Freeform 71"/>
                <p:cNvSpPr>
                  <a:spLocks/>
                </p:cNvSpPr>
                <p:nvPr/>
              </p:nvSpPr>
              <p:spPr bwMode="gray">
                <a:xfrm>
                  <a:off x="4356093" y="2648383"/>
                  <a:ext cx="443876" cy="115953"/>
                </a:xfrm>
                <a:custGeom>
                  <a:avLst/>
                  <a:gdLst/>
                  <a:ahLst/>
                  <a:cxnLst>
                    <a:cxn ang="0">
                      <a:pos x="0" y="120"/>
                    </a:cxn>
                    <a:cxn ang="0">
                      <a:pos x="240" y="0"/>
                    </a:cxn>
                  </a:cxnLst>
                  <a:rect l="0" t="0" r="r" b="b"/>
                  <a:pathLst>
                    <a:path w="241" h="121">
                      <a:moveTo>
                        <a:pt x="0" y="120"/>
                      </a:moveTo>
                      <a:lnTo>
                        <a:pt x="240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44" name="Freeform 72"/>
                <p:cNvSpPr>
                  <a:spLocks/>
                </p:cNvSpPr>
                <p:nvPr/>
              </p:nvSpPr>
              <p:spPr bwMode="gray">
                <a:xfrm>
                  <a:off x="4356094" y="2694380"/>
                  <a:ext cx="429142" cy="108284"/>
                </a:xfrm>
                <a:custGeom>
                  <a:avLst/>
                  <a:gdLst/>
                  <a:ahLst/>
                  <a:cxnLst>
                    <a:cxn ang="0">
                      <a:pos x="0" y="112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113">
                      <a:moveTo>
                        <a:pt x="0" y="112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45" name="Freeform 73"/>
                <p:cNvSpPr>
                  <a:spLocks/>
                </p:cNvSpPr>
                <p:nvPr/>
              </p:nvSpPr>
              <p:spPr bwMode="gray">
                <a:xfrm>
                  <a:off x="4356094" y="2740380"/>
                  <a:ext cx="429142" cy="100620"/>
                </a:xfrm>
                <a:custGeom>
                  <a:avLst/>
                  <a:gdLst/>
                  <a:ahLst/>
                  <a:cxnLst>
                    <a:cxn ang="0">
                      <a:pos x="0" y="104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105">
                      <a:moveTo>
                        <a:pt x="0" y="104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46" name="Freeform 74"/>
                <p:cNvSpPr>
                  <a:spLocks/>
                </p:cNvSpPr>
                <p:nvPr/>
              </p:nvSpPr>
              <p:spPr bwMode="gray">
                <a:xfrm>
                  <a:off x="4356094" y="2786375"/>
                  <a:ext cx="429142" cy="92950"/>
                </a:xfrm>
                <a:custGeom>
                  <a:avLst/>
                  <a:gdLst/>
                  <a:ahLst/>
                  <a:cxnLst>
                    <a:cxn ang="0">
                      <a:pos x="0" y="96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97">
                      <a:moveTo>
                        <a:pt x="0" y="96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47" name="Freeform 75"/>
                <p:cNvSpPr>
                  <a:spLocks/>
                </p:cNvSpPr>
                <p:nvPr/>
              </p:nvSpPr>
              <p:spPr bwMode="gray">
                <a:xfrm>
                  <a:off x="4356094" y="2832372"/>
                  <a:ext cx="429142" cy="85281"/>
                </a:xfrm>
                <a:custGeom>
                  <a:avLst/>
                  <a:gdLst/>
                  <a:ahLst/>
                  <a:cxnLst>
                    <a:cxn ang="0">
                      <a:pos x="0" y="88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89">
                      <a:moveTo>
                        <a:pt x="0" y="88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48" name="Freeform 76"/>
                <p:cNvSpPr>
                  <a:spLocks/>
                </p:cNvSpPr>
                <p:nvPr/>
              </p:nvSpPr>
              <p:spPr bwMode="gray">
                <a:xfrm>
                  <a:off x="4356093" y="2878372"/>
                  <a:ext cx="443876" cy="77619"/>
                </a:xfrm>
                <a:custGeom>
                  <a:avLst/>
                  <a:gdLst/>
                  <a:ahLst/>
                  <a:cxnLst>
                    <a:cxn ang="0">
                      <a:pos x="0" y="80"/>
                    </a:cxn>
                    <a:cxn ang="0">
                      <a:pos x="240" y="0"/>
                    </a:cxn>
                  </a:cxnLst>
                  <a:rect l="0" t="0" r="r" b="b"/>
                  <a:pathLst>
                    <a:path w="241" h="81">
                      <a:moveTo>
                        <a:pt x="0" y="80"/>
                      </a:moveTo>
                      <a:lnTo>
                        <a:pt x="240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49" name="Freeform 77"/>
                <p:cNvSpPr>
                  <a:spLocks/>
                </p:cNvSpPr>
                <p:nvPr/>
              </p:nvSpPr>
              <p:spPr bwMode="gray">
                <a:xfrm>
                  <a:off x="4356094" y="2924364"/>
                  <a:ext cx="429142" cy="69954"/>
                </a:xfrm>
                <a:custGeom>
                  <a:avLst/>
                  <a:gdLst/>
                  <a:ahLst/>
                  <a:cxnLst>
                    <a:cxn ang="0">
                      <a:pos x="0" y="72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73">
                      <a:moveTo>
                        <a:pt x="0" y="72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50" name="Freeform 78"/>
                <p:cNvSpPr>
                  <a:spLocks/>
                </p:cNvSpPr>
                <p:nvPr/>
              </p:nvSpPr>
              <p:spPr bwMode="gray">
                <a:xfrm>
                  <a:off x="4356094" y="2970359"/>
                  <a:ext cx="429142" cy="62286"/>
                </a:xfrm>
                <a:custGeom>
                  <a:avLst/>
                  <a:gdLst/>
                  <a:ahLst/>
                  <a:cxnLst>
                    <a:cxn ang="0">
                      <a:pos x="0" y="64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65">
                      <a:moveTo>
                        <a:pt x="0" y="64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51" name="Freeform 79"/>
                <p:cNvSpPr>
                  <a:spLocks/>
                </p:cNvSpPr>
                <p:nvPr/>
              </p:nvSpPr>
              <p:spPr bwMode="gray">
                <a:xfrm>
                  <a:off x="4356094" y="3016365"/>
                  <a:ext cx="429142" cy="54621"/>
                </a:xfrm>
                <a:custGeom>
                  <a:avLst/>
                  <a:gdLst/>
                  <a:ahLst/>
                  <a:cxnLst>
                    <a:cxn ang="0">
                      <a:pos x="0" y="56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57">
                      <a:moveTo>
                        <a:pt x="0" y="56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52" name="Freeform 80"/>
                <p:cNvSpPr>
                  <a:spLocks/>
                </p:cNvSpPr>
                <p:nvPr/>
              </p:nvSpPr>
              <p:spPr bwMode="gray">
                <a:xfrm>
                  <a:off x="4356093" y="3062357"/>
                  <a:ext cx="443876" cy="46955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240" y="0"/>
                    </a:cxn>
                  </a:cxnLst>
                  <a:rect l="0" t="0" r="r" b="b"/>
                  <a:pathLst>
                    <a:path w="241" h="49">
                      <a:moveTo>
                        <a:pt x="0" y="48"/>
                      </a:moveTo>
                      <a:lnTo>
                        <a:pt x="240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53" name="Freeform 81"/>
                <p:cNvSpPr>
                  <a:spLocks/>
                </p:cNvSpPr>
                <p:nvPr/>
              </p:nvSpPr>
              <p:spPr bwMode="gray">
                <a:xfrm>
                  <a:off x="4356093" y="3108351"/>
                  <a:ext cx="443876" cy="39286"/>
                </a:xfrm>
                <a:custGeom>
                  <a:avLst/>
                  <a:gdLst/>
                  <a:ahLst/>
                  <a:cxnLst>
                    <a:cxn ang="0">
                      <a:pos x="0" y="40"/>
                    </a:cxn>
                    <a:cxn ang="0">
                      <a:pos x="240" y="0"/>
                    </a:cxn>
                  </a:cxnLst>
                  <a:rect l="0" t="0" r="r" b="b"/>
                  <a:pathLst>
                    <a:path w="241" h="41">
                      <a:moveTo>
                        <a:pt x="0" y="40"/>
                      </a:moveTo>
                      <a:lnTo>
                        <a:pt x="240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54" name="Freeform 82"/>
                <p:cNvSpPr>
                  <a:spLocks/>
                </p:cNvSpPr>
                <p:nvPr/>
              </p:nvSpPr>
              <p:spPr bwMode="gray">
                <a:xfrm>
                  <a:off x="4356093" y="3154346"/>
                  <a:ext cx="443876" cy="31622"/>
                </a:xfrm>
                <a:custGeom>
                  <a:avLst/>
                  <a:gdLst/>
                  <a:ahLst/>
                  <a:cxnLst>
                    <a:cxn ang="0">
                      <a:pos x="0" y="32"/>
                    </a:cxn>
                    <a:cxn ang="0">
                      <a:pos x="240" y="0"/>
                    </a:cxn>
                  </a:cxnLst>
                  <a:rect l="0" t="0" r="r" b="b"/>
                  <a:pathLst>
                    <a:path w="241" h="33">
                      <a:moveTo>
                        <a:pt x="0" y="32"/>
                      </a:moveTo>
                      <a:lnTo>
                        <a:pt x="240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55" name="Freeform 83"/>
                <p:cNvSpPr>
                  <a:spLocks/>
                </p:cNvSpPr>
                <p:nvPr/>
              </p:nvSpPr>
              <p:spPr bwMode="gray">
                <a:xfrm>
                  <a:off x="4356094" y="3200349"/>
                  <a:ext cx="429142" cy="23956"/>
                </a:xfrm>
                <a:custGeom>
                  <a:avLst/>
                  <a:gdLst/>
                  <a:ahLst/>
                  <a:cxnLst>
                    <a:cxn ang="0">
                      <a:pos x="0" y="24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25">
                      <a:moveTo>
                        <a:pt x="0" y="24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56" name="Freeform 84"/>
                <p:cNvSpPr>
                  <a:spLocks/>
                </p:cNvSpPr>
                <p:nvPr/>
              </p:nvSpPr>
              <p:spPr bwMode="gray">
                <a:xfrm>
                  <a:off x="4356094" y="3238672"/>
                  <a:ext cx="429142" cy="31622"/>
                </a:xfrm>
                <a:custGeom>
                  <a:avLst/>
                  <a:gdLst/>
                  <a:ahLst/>
                  <a:cxnLst>
                    <a:cxn ang="0">
                      <a:pos x="0" y="32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33">
                      <a:moveTo>
                        <a:pt x="0" y="32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57" name="Freeform 85"/>
                <p:cNvSpPr>
                  <a:spLocks/>
                </p:cNvSpPr>
                <p:nvPr/>
              </p:nvSpPr>
              <p:spPr bwMode="gray">
                <a:xfrm>
                  <a:off x="4356094" y="3284674"/>
                  <a:ext cx="429142" cy="23956"/>
                </a:xfrm>
                <a:custGeom>
                  <a:avLst/>
                  <a:gdLst/>
                  <a:ahLst/>
                  <a:cxnLst>
                    <a:cxn ang="0">
                      <a:pos x="0" y="24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25">
                      <a:moveTo>
                        <a:pt x="0" y="24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58" name="Freeform 86"/>
                <p:cNvSpPr>
                  <a:spLocks/>
                </p:cNvSpPr>
                <p:nvPr/>
              </p:nvSpPr>
              <p:spPr bwMode="gray">
                <a:xfrm>
                  <a:off x="4356094" y="3330664"/>
                  <a:ext cx="429142" cy="16294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17">
                      <a:moveTo>
                        <a:pt x="0" y="16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59" name="Freeform 87"/>
                <p:cNvSpPr>
                  <a:spLocks/>
                </p:cNvSpPr>
                <p:nvPr/>
              </p:nvSpPr>
              <p:spPr bwMode="gray">
                <a:xfrm>
                  <a:off x="4356094" y="3376663"/>
                  <a:ext cx="429142" cy="8625"/>
                </a:xfrm>
                <a:custGeom>
                  <a:avLst/>
                  <a:gdLst/>
                  <a:ahLst/>
                  <a:cxnLst>
                    <a:cxn ang="0">
                      <a:pos x="0" y="8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9">
                      <a:moveTo>
                        <a:pt x="0" y="8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60" name="Freeform 88"/>
                <p:cNvSpPr>
                  <a:spLocks/>
                </p:cNvSpPr>
                <p:nvPr/>
              </p:nvSpPr>
              <p:spPr bwMode="gray">
                <a:xfrm>
                  <a:off x="4356094" y="3422661"/>
                  <a:ext cx="429142" cy="95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1">
                      <a:moveTo>
                        <a:pt x="0" y="0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61" name="Freeform 89"/>
                <p:cNvSpPr>
                  <a:spLocks/>
                </p:cNvSpPr>
                <p:nvPr/>
              </p:nvSpPr>
              <p:spPr bwMode="gray">
                <a:xfrm>
                  <a:off x="4356093" y="4081948"/>
                  <a:ext cx="443876" cy="11595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40" y="120"/>
                    </a:cxn>
                  </a:cxnLst>
                  <a:rect l="0" t="0" r="r" b="b"/>
                  <a:pathLst>
                    <a:path w="241" h="121">
                      <a:moveTo>
                        <a:pt x="0" y="0"/>
                      </a:moveTo>
                      <a:lnTo>
                        <a:pt x="240" y="12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62" name="Freeform 90"/>
                <p:cNvSpPr>
                  <a:spLocks/>
                </p:cNvSpPr>
                <p:nvPr/>
              </p:nvSpPr>
              <p:spPr bwMode="gray">
                <a:xfrm>
                  <a:off x="4356094" y="4043609"/>
                  <a:ext cx="429142" cy="10828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112"/>
                    </a:cxn>
                  </a:cxnLst>
                  <a:rect l="0" t="0" r="r" b="b"/>
                  <a:pathLst>
                    <a:path w="233" h="113">
                      <a:moveTo>
                        <a:pt x="0" y="0"/>
                      </a:moveTo>
                      <a:lnTo>
                        <a:pt x="232" y="112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63" name="Freeform 91"/>
                <p:cNvSpPr>
                  <a:spLocks/>
                </p:cNvSpPr>
                <p:nvPr/>
              </p:nvSpPr>
              <p:spPr bwMode="gray">
                <a:xfrm>
                  <a:off x="4356094" y="4005283"/>
                  <a:ext cx="429142" cy="10062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104"/>
                    </a:cxn>
                  </a:cxnLst>
                  <a:rect l="0" t="0" r="r" b="b"/>
                  <a:pathLst>
                    <a:path w="233" h="105">
                      <a:moveTo>
                        <a:pt x="0" y="0"/>
                      </a:moveTo>
                      <a:lnTo>
                        <a:pt x="232" y="10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64" name="Freeform 92"/>
                <p:cNvSpPr>
                  <a:spLocks/>
                </p:cNvSpPr>
                <p:nvPr/>
              </p:nvSpPr>
              <p:spPr bwMode="gray">
                <a:xfrm>
                  <a:off x="4356094" y="3966947"/>
                  <a:ext cx="429142" cy="929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96"/>
                    </a:cxn>
                  </a:cxnLst>
                  <a:rect l="0" t="0" r="r" b="b"/>
                  <a:pathLst>
                    <a:path w="233" h="97">
                      <a:moveTo>
                        <a:pt x="0" y="0"/>
                      </a:moveTo>
                      <a:lnTo>
                        <a:pt x="232" y="96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65" name="Freeform 93"/>
                <p:cNvSpPr>
                  <a:spLocks/>
                </p:cNvSpPr>
                <p:nvPr/>
              </p:nvSpPr>
              <p:spPr bwMode="gray">
                <a:xfrm>
                  <a:off x="4356094" y="3928624"/>
                  <a:ext cx="429142" cy="8528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88"/>
                    </a:cxn>
                  </a:cxnLst>
                  <a:rect l="0" t="0" r="r" b="b"/>
                  <a:pathLst>
                    <a:path w="233" h="89">
                      <a:moveTo>
                        <a:pt x="0" y="0"/>
                      </a:moveTo>
                      <a:lnTo>
                        <a:pt x="232" y="88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66" name="Freeform 94"/>
                <p:cNvSpPr>
                  <a:spLocks/>
                </p:cNvSpPr>
                <p:nvPr/>
              </p:nvSpPr>
              <p:spPr bwMode="gray">
                <a:xfrm>
                  <a:off x="4356093" y="3890292"/>
                  <a:ext cx="443876" cy="7761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40" y="80"/>
                    </a:cxn>
                  </a:cxnLst>
                  <a:rect l="0" t="0" r="r" b="b"/>
                  <a:pathLst>
                    <a:path w="241" h="81">
                      <a:moveTo>
                        <a:pt x="0" y="0"/>
                      </a:moveTo>
                      <a:lnTo>
                        <a:pt x="240" y="8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67" name="Freeform 95"/>
                <p:cNvSpPr>
                  <a:spLocks/>
                </p:cNvSpPr>
                <p:nvPr/>
              </p:nvSpPr>
              <p:spPr bwMode="gray">
                <a:xfrm>
                  <a:off x="4356094" y="3851961"/>
                  <a:ext cx="429142" cy="6995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72"/>
                    </a:cxn>
                  </a:cxnLst>
                  <a:rect l="0" t="0" r="r" b="b"/>
                  <a:pathLst>
                    <a:path w="233" h="73">
                      <a:moveTo>
                        <a:pt x="0" y="0"/>
                      </a:moveTo>
                      <a:lnTo>
                        <a:pt x="232" y="72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68" name="Freeform 96"/>
                <p:cNvSpPr>
                  <a:spLocks/>
                </p:cNvSpPr>
                <p:nvPr/>
              </p:nvSpPr>
              <p:spPr bwMode="gray">
                <a:xfrm>
                  <a:off x="4356094" y="3813628"/>
                  <a:ext cx="429142" cy="6228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64"/>
                    </a:cxn>
                  </a:cxnLst>
                  <a:rect l="0" t="0" r="r" b="b"/>
                  <a:pathLst>
                    <a:path w="233" h="65">
                      <a:moveTo>
                        <a:pt x="0" y="0"/>
                      </a:moveTo>
                      <a:lnTo>
                        <a:pt x="232" y="6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69" name="Freeform 97"/>
                <p:cNvSpPr>
                  <a:spLocks/>
                </p:cNvSpPr>
                <p:nvPr/>
              </p:nvSpPr>
              <p:spPr bwMode="gray">
                <a:xfrm>
                  <a:off x="4356094" y="3775296"/>
                  <a:ext cx="429142" cy="5462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56"/>
                    </a:cxn>
                  </a:cxnLst>
                  <a:rect l="0" t="0" r="r" b="b"/>
                  <a:pathLst>
                    <a:path w="233" h="57">
                      <a:moveTo>
                        <a:pt x="0" y="0"/>
                      </a:moveTo>
                      <a:lnTo>
                        <a:pt x="232" y="56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0" name="Freeform 98"/>
                <p:cNvSpPr>
                  <a:spLocks/>
                </p:cNvSpPr>
                <p:nvPr/>
              </p:nvSpPr>
              <p:spPr bwMode="gray">
                <a:xfrm>
                  <a:off x="4356093" y="3736976"/>
                  <a:ext cx="443876" cy="4695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40" y="48"/>
                    </a:cxn>
                  </a:cxnLst>
                  <a:rect l="0" t="0" r="r" b="b"/>
                  <a:pathLst>
                    <a:path w="241" h="49">
                      <a:moveTo>
                        <a:pt x="0" y="0"/>
                      </a:moveTo>
                      <a:lnTo>
                        <a:pt x="240" y="48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1" name="Freeform 99"/>
                <p:cNvSpPr>
                  <a:spLocks/>
                </p:cNvSpPr>
                <p:nvPr/>
              </p:nvSpPr>
              <p:spPr bwMode="gray">
                <a:xfrm>
                  <a:off x="4356093" y="3698638"/>
                  <a:ext cx="443876" cy="3928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40" y="40"/>
                    </a:cxn>
                  </a:cxnLst>
                  <a:rect l="0" t="0" r="r" b="b"/>
                  <a:pathLst>
                    <a:path w="241" h="41">
                      <a:moveTo>
                        <a:pt x="0" y="0"/>
                      </a:moveTo>
                      <a:lnTo>
                        <a:pt x="240" y="4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2" name="Freeform 100"/>
                <p:cNvSpPr>
                  <a:spLocks/>
                </p:cNvSpPr>
                <p:nvPr/>
              </p:nvSpPr>
              <p:spPr bwMode="gray">
                <a:xfrm>
                  <a:off x="4356093" y="3660310"/>
                  <a:ext cx="443876" cy="3162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40" y="32"/>
                    </a:cxn>
                  </a:cxnLst>
                  <a:rect l="0" t="0" r="r" b="b"/>
                  <a:pathLst>
                    <a:path w="241" h="33">
                      <a:moveTo>
                        <a:pt x="0" y="0"/>
                      </a:moveTo>
                      <a:lnTo>
                        <a:pt x="240" y="32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3" name="Freeform 101"/>
                <p:cNvSpPr>
                  <a:spLocks/>
                </p:cNvSpPr>
                <p:nvPr/>
              </p:nvSpPr>
              <p:spPr bwMode="gray">
                <a:xfrm>
                  <a:off x="4356094" y="3621978"/>
                  <a:ext cx="429142" cy="2395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24"/>
                    </a:cxn>
                  </a:cxnLst>
                  <a:rect l="0" t="0" r="r" b="b"/>
                  <a:pathLst>
                    <a:path w="233" h="25">
                      <a:moveTo>
                        <a:pt x="0" y="0"/>
                      </a:moveTo>
                      <a:lnTo>
                        <a:pt x="232" y="2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4" name="Freeform 102"/>
                <p:cNvSpPr>
                  <a:spLocks/>
                </p:cNvSpPr>
                <p:nvPr/>
              </p:nvSpPr>
              <p:spPr bwMode="gray">
                <a:xfrm>
                  <a:off x="4356094" y="3575985"/>
                  <a:ext cx="429142" cy="3162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32"/>
                    </a:cxn>
                  </a:cxnLst>
                  <a:rect l="0" t="0" r="r" b="b"/>
                  <a:pathLst>
                    <a:path w="233" h="33">
                      <a:moveTo>
                        <a:pt x="0" y="0"/>
                      </a:moveTo>
                      <a:lnTo>
                        <a:pt x="232" y="32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5" name="Freeform 103"/>
                <p:cNvSpPr>
                  <a:spLocks/>
                </p:cNvSpPr>
                <p:nvPr/>
              </p:nvSpPr>
              <p:spPr bwMode="gray">
                <a:xfrm>
                  <a:off x="4356094" y="3537650"/>
                  <a:ext cx="429142" cy="2395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24"/>
                    </a:cxn>
                  </a:cxnLst>
                  <a:rect l="0" t="0" r="r" b="b"/>
                  <a:pathLst>
                    <a:path w="233" h="25">
                      <a:moveTo>
                        <a:pt x="0" y="0"/>
                      </a:moveTo>
                      <a:lnTo>
                        <a:pt x="232" y="2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6" name="Freeform 104"/>
                <p:cNvSpPr>
                  <a:spLocks/>
                </p:cNvSpPr>
                <p:nvPr/>
              </p:nvSpPr>
              <p:spPr bwMode="gray">
                <a:xfrm>
                  <a:off x="4356094" y="3499321"/>
                  <a:ext cx="429142" cy="1629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16"/>
                    </a:cxn>
                  </a:cxnLst>
                  <a:rect l="0" t="0" r="r" b="b"/>
                  <a:pathLst>
                    <a:path w="233" h="17">
                      <a:moveTo>
                        <a:pt x="0" y="0"/>
                      </a:moveTo>
                      <a:lnTo>
                        <a:pt x="232" y="16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7" name="Freeform 105"/>
                <p:cNvSpPr>
                  <a:spLocks/>
                </p:cNvSpPr>
                <p:nvPr/>
              </p:nvSpPr>
              <p:spPr bwMode="gray">
                <a:xfrm>
                  <a:off x="4356094" y="3460988"/>
                  <a:ext cx="429142" cy="86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8"/>
                    </a:cxn>
                  </a:cxnLst>
                  <a:rect l="0" t="0" r="r" b="b"/>
                  <a:pathLst>
                    <a:path w="233" h="9">
                      <a:moveTo>
                        <a:pt x="0" y="0"/>
                      </a:moveTo>
                      <a:lnTo>
                        <a:pt x="232" y="8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8" name="Freeform 106"/>
                <p:cNvSpPr>
                  <a:spLocks/>
                </p:cNvSpPr>
                <p:nvPr/>
              </p:nvSpPr>
              <p:spPr bwMode="gray">
                <a:xfrm>
                  <a:off x="4444501" y="2702044"/>
                  <a:ext cx="1839" cy="144218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504"/>
                    </a:cxn>
                  </a:cxnLst>
                  <a:rect l="0" t="0" r="r" b="b"/>
                  <a:pathLst>
                    <a:path w="1" h="1505">
                      <a:moveTo>
                        <a:pt x="0" y="0"/>
                      </a:moveTo>
                      <a:lnTo>
                        <a:pt x="0" y="150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79" name="Freeform 107"/>
                <p:cNvSpPr>
                  <a:spLocks/>
                </p:cNvSpPr>
                <p:nvPr/>
              </p:nvSpPr>
              <p:spPr bwMode="gray">
                <a:xfrm>
                  <a:off x="4532906" y="2679046"/>
                  <a:ext cx="1839" cy="148817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552"/>
                    </a:cxn>
                  </a:cxnLst>
                  <a:rect l="0" t="0" r="r" b="b"/>
                  <a:pathLst>
                    <a:path w="1" h="1553">
                      <a:moveTo>
                        <a:pt x="0" y="0"/>
                      </a:moveTo>
                      <a:lnTo>
                        <a:pt x="0" y="1552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0" name="Freeform 108"/>
                <p:cNvSpPr>
                  <a:spLocks/>
                </p:cNvSpPr>
                <p:nvPr/>
              </p:nvSpPr>
              <p:spPr bwMode="gray">
                <a:xfrm>
                  <a:off x="4621315" y="2648382"/>
                  <a:ext cx="1839" cy="154183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608"/>
                    </a:cxn>
                  </a:cxnLst>
                  <a:rect l="0" t="0" r="r" b="b"/>
                  <a:pathLst>
                    <a:path w="1" h="1609">
                      <a:moveTo>
                        <a:pt x="0" y="0"/>
                      </a:moveTo>
                      <a:lnTo>
                        <a:pt x="0" y="1608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281" name="Freeform 109"/>
                <p:cNvSpPr>
                  <a:spLocks/>
                </p:cNvSpPr>
                <p:nvPr/>
              </p:nvSpPr>
              <p:spPr bwMode="gray">
                <a:xfrm>
                  <a:off x="4694995" y="2633056"/>
                  <a:ext cx="1839" cy="159549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664"/>
                    </a:cxn>
                  </a:cxnLst>
                  <a:rect l="0" t="0" r="r" b="b"/>
                  <a:pathLst>
                    <a:path w="1" h="1665">
                      <a:moveTo>
                        <a:pt x="0" y="0"/>
                      </a:moveTo>
                      <a:lnTo>
                        <a:pt x="0" y="166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sp>
            <p:nvSpPr>
              <p:cNvPr id="35" name="AutoShape 69"/>
              <p:cNvSpPr>
                <a:spLocks noChangeArrowheads="1"/>
              </p:cNvSpPr>
              <p:nvPr/>
            </p:nvSpPr>
            <p:spPr bwMode="gray">
              <a:xfrm>
                <a:off x="2822717" y="1706484"/>
                <a:ext cx="302683" cy="1828700"/>
              </a:xfrm>
              <a:prstGeom prst="roundRect">
                <a:avLst>
                  <a:gd name="adj" fmla="val 0"/>
                </a:avLst>
              </a:prstGeom>
              <a:solidFill>
                <a:srgbClr val="14385C"/>
              </a:solidFill>
              <a:ln w="19050">
                <a:solidFill>
                  <a:srgbClr val="14385C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" name="Freeform 35"/>
              <p:cNvSpPr>
                <a:spLocks/>
              </p:cNvSpPr>
              <p:nvPr/>
            </p:nvSpPr>
            <p:spPr bwMode="gray">
              <a:xfrm>
                <a:off x="2375714" y="1719185"/>
                <a:ext cx="456476" cy="1804358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0" y="1576"/>
                  </a:cxn>
                  <a:cxn ang="0">
                    <a:pos x="240" y="1704"/>
                  </a:cxn>
                  <a:cxn ang="0">
                    <a:pos x="240" y="0"/>
                  </a:cxn>
                  <a:cxn ang="0">
                    <a:pos x="0" y="120"/>
                  </a:cxn>
                </a:cxnLst>
                <a:rect l="0" t="0" r="r" b="b"/>
                <a:pathLst>
                  <a:path w="241" h="1705">
                    <a:moveTo>
                      <a:pt x="0" y="120"/>
                    </a:moveTo>
                    <a:lnTo>
                      <a:pt x="0" y="1576"/>
                    </a:lnTo>
                    <a:lnTo>
                      <a:pt x="240" y="1704"/>
                    </a:lnTo>
                    <a:lnTo>
                      <a:pt x="240" y="0"/>
                    </a:lnTo>
                    <a:lnTo>
                      <a:pt x="0" y="120"/>
                    </a:lnTo>
                    <a:close/>
                  </a:path>
                </a:pathLst>
              </a:custGeom>
              <a:noFill/>
              <a:ln w="50800">
                <a:solidFill>
                  <a:srgbClr val="E5BC7F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7" name="Freeform 36"/>
              <p:cNvSpPr>
                <a:spLocks/>
              </p:cNvSpPr>
              <p:nvPr/>
            </p:nvSpPr>
            <p:spPr bwMode="gray">
              <a:xfrm>
                <a:off x="2375714" y="1761517"/>
                <a:ext cx="456476" cy="128051"/>
              </a:xfrm>
              <a:custGeom>
                <a:avLst/>
                <a:gdLst/>
                <a:ahLst/>
                <a:cxnLst>
                  <a:cxn ang="0">
                    <a:pos x="0" y="120"/>
                  </a:cxn>
                  <a:cxn ang="0">
                    <a:pos x="240" y="0"/>
                  </a:cxn>
                </a:cxnLst>
                <a:rect l="0" t="0" r="r" b="b"/>
                <a:pathLst>
                  <a:path w="241" h="121">
                    <a:moveTo>
                      <a:pt x="0" y="120"/>
                    </a:moveTo>
                    <a:lnTo>
                      <a:pt x="240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" name="Freeform 37"/>
              <p:cNvSpPr>
                <a:spLocks/>
              </p:cNvSpPr>
              <p:nvPr/>
            </p:nvSpPr>
            <p:spPr bwMode="gray">
              <a:xfrm>
                <a:off x="2375714" y="1812313"/>
                <a:ext cx="441323" cy="119586"/>
              </a:xfrm>
              <a:custGeom>
                <a:avLst/>
                <a:gdLst/>
                <a:ahLst/>
                <a:cxnLst>
                  <a:cxn ang="0">
                    <a:pos x="0" y="112"/>
                  </a:cxn>
                  <a:cxn ang="0">
                    <a:pos x="232" y="0"/>
                  </a:cxn>
                </a:cxnLst>
                <a:rect l="0" t="0" r="r" b="b"/>
                <a:pathLst>
                  <a:path w="233" h="113">
                    <a:moveTo>
                      <a:pt x="0" y="112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" name="Freeform 38"/>
              <p:cNvSpPr>
                <a:spLocks/>
              </p:cNvSpPr>
              <p:nvPr/>
            </p:nvSpPr>
            <p:spPr bwMode="gray">
              <a:xfrm>
                <a:off x="2375714" y="1863109"/>
                <a:ext cx="441323" cy="111118"/>
              </a:xfrm>
              <a:custGeom>
                <a:avLst/>
                <a:gdLst/>
                <a:ahLst/>
                <a:cxnLst>
                  <a:cxn ang="0">
                    <a:pos x="0" y="104"/>
                  </a:cxn>
                  <a:cxn ang="0">
                    <a:pos x="232" y="0"/>
                  </a:cxn>
                </a:cxnLst>
                <a:rect l="0" t="0" r="r" b="b"/>
                <a:pathLst>
                  <a:path w="233" h="105">
                    <a:moveTo>
                      <a:pt x="0" y="104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0" name="Freeform 39"/>
              <p:cNvSpPr>
                <a:spLocks/>
              </p:cNvSpPr>
              <p:nvPr/>
            </p:nvSpPr>
            <p:spPr bwMode="gray">
              <a:xfrm>
                <a:off x="2375714" y="1913904"/>
                <a:ext cx="441323" cy="102654"/>
              </a:xfrm>
              <a:custGeom>
                <a:avLst/>
                <a:gdLst/>
                <a:ahLst/>
                <a:cxnLst>
                  <a:cxn ang="0">
                    <a:pos x="0" y="96"/>
                  </a:cxn>
                  <a:cxn ang="0">
                    <a:pos x="232" y="0"/>
                  </a:cxn>
                </a:cxnLst>
                <a:rect l="0" t="0" r="r" b="b"/>
                <a:pathLst>
                  <a:path w="233" h="97">
                    <a:moveTo>
                      <a:pt x="0" y="96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1" name="Freeform 40"/>
              <p:cNvSpPr>
                <a:spLocks/>
              </p:cNvSpPr>
              <p:nvPr/>
            </p:nvSpPr>
            <p:spPr bwMode="gray">
              <a:xfrm>
                <a:off x="2375714" y="1964701"/>
                <a:ext cx="441323" cy="94185"/>
              </a:xfrm>
              <a:custGeom>
                <a:avLst/>
                <a:gdLst/>
                <a:ahLst/>
                <a:cxnLst>
                  <a:cxn ang="0">
                    <a:pos x="0" y="88"/>
                  </a:cxn>
                  <a:cxn ang="0">
                    <a:pos x="232" y="0"/>
                  </a:cxn>
                </a:cxnLst>
                <a:rect l="0" t="0" r="r" b="b"/>
                <a:pathLst>
                  <a:path w="233" h="89">
                    <a:moveTo>
                      <a:pt x="0" y="88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 bwMode="gray">
              <a:xfrm>
                <a:off x="2375714" y="2015501"/>
                <a:ext cx="456476" cy="85721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240" y="0"/>
                  </a:cxn>
                </a:cxnLst>
                <a:rect l="0" t="0" r="r" b="b"/>
                <a:pathLst>
                  <a:path w="241" h="81">
                    <a:moveTo>
                      <a:pt x="0" y="80"/>
                    </a:moveTo>
                    <a:lnTo>
                      <a:pt x="240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3" name="Freeform 42"/>
              <p:cNvSpPr>
                <a:spLocks/>
              </p:cNvSpPr>
              <p:nvPr/>
            </p:nvSpPr>
            <p:spPr bwMode="gray">
              <a:xfrm>
                <a:off x="2375714" y="2066297"/>
                <a:ext cx="441323" cy="77253"/>
              </a:xfrm>
              <a:custGeom>
                <a:avLst/>
                <a:gdLst/>
                <a:ahLst/>
                <a:cxnLst>
                  <a:cxn ang="0">
                    <a:pos x="0" y="72"/>
                  </a:cxn>
                  <a:cxn ang="0">
                    <a:pos x="232" y="0"/>
                  </a:cxn>
                </a:cxnLst>
                <a:rect l="0" t="0" r="r" b="b"/>
                <a:pathLst>
                  <a:path w="233" h="73">
                    <a:moveTo>
                      <a:pt x="0" y="72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4" name="Freeform 43"/>
              <p:cNvSpPr>
                <a:spLocks/>
              </p:cNvSpPr>
              <p:nvPr/>
            </p:nvSpPr>
            <p:spPr bwMode="gray">
              <a:xfrm>
                <a:off x="2375714" y="2117097"/>
                <a:ext cx="441323" cy="68790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32" y="0"/>
                  </a:cxn>
                </a:cxnLst>
                <a:rect l="0" t="0" r="r" b="b"/>
                <a:pathLst>
                  <a:path w="233" h="65">
                    <a:moveTo>
                      <a:pt x="0" y="64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" name="Freeform 44"/>
              <p:cNvSpPr>
                <a:spLocks/>
              </p:cNvSpPr>
              <p:nvPr/>
            </p:nvSpPr>
            <p:spPr bwMode="gray">
              <a:xfrm>
                <a:off x="2375714" y="2167891"/>
                <a:ext cx="441323" cy="60322"/>
              </a:xfrm>
              <a:custGeom>
                <a:avLst/>
                <a:gdLst/>
                <a:ahLst/>
                <a:cxnLst>
                  <a:cxn ang="0">
                    <a:pos x="0" y="56"/>
                  </a:cxn>
                  <a:cxn ang="0">
                    <a:pos x="232" y="0"/>
                  </a:cxn>
                </a:cxnLst>
                <a:rect l="0" t="0" r="r" b="b"/>
                <a:pathLst>
                  <a:path w="233" h="57">
                    <a:moveTo>
                      <a:pt x="0" y="56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" name="Freeform 45"/>
              <p:cNvSpPr>
                <a:spLocks/>
              </p:cNvSpPr>
              <p:nvPr/>
            </p:nvSpPr>
            <p:spPr bwMode="gray">
              <a:xfrm>
                <a:off x="2375714" y="2218689"/>
                <a:ext cx="456476" cy="51857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240" y="0"/>
                  </a:cxn>
                </a:cxnLst>
                <a:rect l="0" t="0" r="r" b="b"/>
                <a:pathLst>
                  <a:path w="241" h="49">
                    <a:moveTo>
                      <a:pt x="0" y="48"/>
                    </a:moveTo>
                    <a:lnTo>
                      <a:pt x="240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Freeform 46"/>
              <p:cNvSpPr>
                <a:spLocks/>
              </p:cNvSpPr>
              <p:nvPr/>
            </p:nvSpPr>
            <p:spPr bwMode="gray">
              <a:xfrm>
                <a:off x="2375714" y="2269485"/>
                <a:ext cx="456476" cy="43393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240" y="0"/>
                  </a:cxn>
                </a:cxnLst>
                <a:rect l="0" t="0" r="r" b="b"/>
                <a:pathLst>
                  <a:path w="241" h="41">
                    <a:moveTo>
                      <a:pt x="0" y="40"/>
                    </a:moveTo>
                    <a:lnTo>
                      <a:pt x="240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" name="Freeform 47"/>
              <p:cNvSpPr>
                <a:spLocks/>
              </p:cNvSpPr>
              <p:nvPr/>
            </p:nvSpPr>
            <p:spPr bwMode="gray">
              <a:xfrm>
                <a:off x="2375714" y="2320282"/>
                <a:ext cx="456476" cy="34921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40" y="0"/>
                  </a:cxn>
                </a:cxnLst>
                <a:rect l="0" t="0" r="r" b="b"/>
                <a:pathLst>
                  <a:path w="241" h="33">
                    <a:moveTo>
                      <a:pt x="0" y="32"/>
                    </a:moveTo>
                    <a:lnTo>
                      <a:pt x="240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Freeform 48"/>
              <p:cNvSpPr>
                <a:spLocks/>
              </p:cNvSpPr>
              <p:nvPr/>
            </p:nvSpPr>
            <p:spPr bwMode="gray">
              <a:xfrm>
                <a:off x="2375714" y="2371079"/>
                <a:ext cx="441323" cy="26460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232" y="0"/>
                  </a:cxn>
                </a:cxnLst>
                <a:rect l="0" t="0" r="r" b="b"/>
                <a:pathLst>
                  <a:path w="233" h="25">
                    <a:moveTo>
                      <a:pt x="0" y="24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Freeform 49"/>
              <p:cNvSpPr>
                <a:spLocks/>
              </p:cNvSpPr>
              <p:nvPr/>
            </p:nvSpPr>
            <p:spPr bwMode="gray">
              <a:xfrm>
                <a:off x="2375714" y="2413414"/>
                <a:ext cx="441323" cy="34921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232" y="0"/>
                  </a:cxn>
                </a:cxnLst>
                <a:rect l="0" t="0" r="r" b="b"/>
                <a:pathLst>
                  <a:path w="233" h="33">
                    <a:moveTo>
                      <a:pt x="0" y="32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Freeform 50"/>
              <p:cNvSpPr>
                <a:spLocks/>
              </p:cNvSpPr>
              <p:nvPr/>
            </p:nvSpPr>
            <p:spPr bwMode="gray">
              <a:xfrm>
                <a:off x="2375714" y="2464209"/>
                <a:ext cx="441323" cy="26460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232" y="0"/>
                  </a:cxn>
                </a:cxnLst>
                <a:rect l="0" t="0" r="r" b="b"/>
                <a:pathLst>
                  <a:path w="233" h="25">
                    <a:moveTo>
                      <a:pt x="0" y="24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Freeform 51"/>
              <p:cNvSpPr>
                <a:spLocks/>
              </p:cNvSpPr>
              <p:nvPr/>
            </p:nvSpPr>
            <p:spPr bwMode="gray">
              <a:xfrm>
                <a:off x="2375714" y="2515004"/>
                <a:ext cx="441323" cy="17992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232" y="0"/>
                  </a:cxn>
                </a:cxnLst>
                <a:rect l="0" t="0" r="r" b="b"/>
                <a:pathLst>
                  <a:path w="233" h="17">
                    <a:moveTo>
                      <a:pt x="0" y="16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Freeform 52"/>
              <p:cNvSpPr>
                <a:spLocks/>
              </p:cNvSpPr>
              <p:nvPr/>
            </p:nvSpPr>
            <p:spPr bwMode="gray">
              <a:xfrm>
                <a:off x="2375714" y="2565804"/>
                <a:ext cx="441323" cy="9525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232" y="0"/>
                  </a:cxn>
                </a:cxnLst>
                <a:rect l="0" t="0" r="r" b="b"/>
                <a:pathLst>
                  <a:path w="233" h="9">
                    <a:moveTo>
                      <a:pt x="0" y="8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gray">
              <a:xfrm>
                <a:off x="2375714" y="2616599"/>
                <a:ext cx="441323" cy="105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0"/>
                  </a:cxn>
                </a:cxnLst>
                <a:rect l="0" t="0" r="r" b="b"/>
                <a:pathLst>
                  <a:path w="233" h="1">
                    <a:moveTo>
                      <a:pt x="0" y="0"/>
                    </a:moveTo>
                    <a:lnTo>
                      <a:pt x="232" y="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gray">
              <a:xfrm>
                <a:off x="2375714" y="3344692"/>
                <a:ext cx="456476" cy="12805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0" y="120"/>
                  </a:cxn>
                </a:cxnLst>
                <a:rect l="0" t="0" r="r" b="b"/>
                <a:pathLst>
                  <a:path w="241" h="121">
                    <a:moveTo>
                      <a:pt x="0" y="0"/>
                    </a:moveTo>
                    <a:lnTo>
                      <a:pt x="240" y="12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gray">
              <a:xfrm>
                <a:off x="2375714" y="3302362"/>
                <a:ext cx="441323" cy="11958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112"/>
                  </a:cxn>
                </a:cxnLst>
                <a:rect l="0" t="0" r="r" b="b"/>
                <a:pathLst>
                  <a:path w="233" h="113">
                    <a:moveTo>
                      <a:pt x="0" y="0"/>
                    </a:moveTo>
                    <a:lnTo>
                      <a:pt x="232" y="112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Freeform 56"/>
              <p:cNvSpPr>
                <a:spLocks/>
              </p:cNvSpPr>
              <p:nvPr/>
            </p:nvSpPr>
            <p:spPr bwMode="gray">
              <a:xfrm>
                <a:off x="2375714" y="3260034"/>
                <a:ext cx="441323" cy="11111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104"/>
                  </a:cxn>
                </a:cxnLst>
                <a:rect l="0" t="0" r="r" b="b"/>
                <a:pathLst>
                  <a:path w="233" h="105">
                    <a:moveTo>
                      <a:pt x="0" y="0"/>
                    </a:moveTo>
                    <a:lnTo>
                      <a:pt x="232" y="104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Freeform 57"/>
              <p:cNvSpPr>
                <a:spLocks/>
              </p:cNvSpPr>
              <p:nvPr/>
            </p:nvSpPr>
            <p:spPr bwMode="gray">
              <a:xfrm>
                <a:off x="2375714" y="3217701"/>
                <a:ext cx="441323" cy="10265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96"/>
                  </a:cxn>
                </a:cxnLst>
                <a:rect l="0" t="0" r="r" b="b"/>
                <a:pathLst>
                  <a:path w="233" h="97">
                    <a:moveTo>
                      <a:pt x="0" y="0"/>
                    </a:moveTo>
                    <a:lnTo>
                      <a:pt x="232" y="96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Freeform 58"/>
              <p:cNvSpPr>
                <a:spLocks/>
              </p:cNvSpPr>
              <p:nvPr/>
            </p:nvSpPr>
            <p:spPr bwMode="gray">
              <a:xfrm>
                <a:off x="2375714" y="3175369"/>
                <a:ext cx="441323" cy="9418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88"/>
                  </a:cxn>
                </a:cxnLst>
                <a:rect l="0" t="0" r="r" b="b"/>
                <a:pathLst>
                  <a:path w="233" h="89">
                    <a:moveTo>
                      <a:pt x="0" y="0"/>
                    </a:moveTo>
                    <a:lnTo>
                      <a:pt x="232" y="88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 bwMode="gray">
              <a:xfrm>
                <a:off x="2375714" y="3133040"/>
                <a:ext cx="456476" cy="8572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0" y="80"/>
                  </a:cxn>
                </a:cxnLst>
                <a:rect l="0" t="0" r="r" b="b"/>
                <a:pathLst>
                  <a:path w="241" h="81">
                    <a:moveTo>
                      <a:pt x="0" y="0"/>
                    </a:moveTo>
                    <a:lnTo>
                      <a:pt x="240" y="8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Freeform 60"/>
              <p:cNvSpPr>
                <a:spLocks/>
              </p:cNvSpPr>
              <p:nvPr/>
            </p:nvSpPr>
            <p:spPr bwMode="gray">
              <a:xfrm>
                <a:off x="2375714" y="3090709"/>
                <a:ext cx="441323" cy="7725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72"/>
                  </a:cxn>
                </a:cxnLst>
                <a:rect l="0" t="0" r="r" b="b"/>
                <a:pathLst>
                  <a:path w="233" h="73">
                    <a:moveTo>
                      <a:pt x="0" y="0"/>
                    </a:moveTo>
                    <a:lnTo>
                      <a:pt x="232" y="72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Freeform 61"/>
              <p:cNvSpPr>
                <a:spLocks/>
              </p:cNvSpPr>
              <p:nvPr/>
            </p:nvSpPr>
            <p:spPr bwMode="gray">
              <a:xfrm>
                <a:off x="2375714" y="3048379"/>
                <a:ext cx="441323" cy="687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64"/>
                  </a:cxn>
                </a:cxnLst>
                <a:rect l="0" t="0" r="r" b="b"/>
                <a:pathLst>
                  <a:path w="233" h="65">
                    <a:moveTo>
                      <a:pt x="0" y="0"/>
                    </a:moveTo>
                    <a:lnTo>
                      <a:pt x="232" y="64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Freeform 62"/>
              <p:cNvSpPr>
                <a:spLocks/>
              </p:cNvSpPr>
              <p:nvPr/>
            </p:nvSpPr>
            <p:spPr bwMode="gray">
              <a:xfrm>
                <a:off x="2375714" y="3006043"/>
                <a:ext cx="441323" cy="6032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56"/>
                  </a:cxn>
                </a:cxnLst>
                <a:rect l="0" t="0" r="r" b="b"/>
                <a:pathLst>
                  <a:path w="233" h="57">
                    <a:moveTo>
                      <a:pt x="0" y="0"/>
                    </a:moveTo>
                    <a:lnTo>
                      <a:pt x="232" y="56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4" name="Freeform 63"/>
              <p:cNvSpPr>
                <a:spLocks/>
              </p:cNvSpPr>
              <p:nvPr/>
            </p:nvSpPr>
            <p:spPr bwMode="gray">
              <a:xfrm>
                <a:off x="2375714" y="2963714"/>
                <a:ext cx="456476" cy="5185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0" y="48"/>
                  </a:cxn>
                </a:cxnLst>
                <a:rect l="0" t="0" r="r" b="b"/>
                <a:pathLst>
                  <a:path w="241" h="49">
                    <a:moveTo>
                      <a:pt x="0" y="0"/>
                    </a:moveTo>
                    <a:lnTo>
                      <a:pt x="240" y="48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Freeform 64"/>
              <p:cNvSpPr>
                <a:spLocks/>
              </p:cNvSpPr>
              <p:nvPr/>
            </p:nvSpPr>
            <p:spPr bwMode="gray">
              <a:xfrm>
                <a:off x="2375714" y="2921383"/>
                <a:ext cx="456476" cy="4339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0" y="40"/>
                  </a:cxn>
                </a:cxnLst>
                <a:rect l="0" t="0" r="r" b="b"/>
                <a:pathLst>
                  <a:path w="241" h="41">
                    <a:moveTo>
                      <a:pt x="0" y="0"/>
                    </a:moveTo>
                    <a:lnTo>
                      <a:pt x="240" y="40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gray">
              <a:xfrm>
                <a:off x="2375714" y="2879056"/>
                <a:ext cx="456476" cy="3492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0" y="32"/>
                  </a:cxn>
                </a:cxnLst>
                <a:rect l="0" t="0" r="r" b="b"/>
                <a:pathLst>
                  <a:path w="241" h="33">
                    <a:moveTo>
                      <a:pt x="0" y="0"/>
                    </a:moveTo>
                    <a:lnTo>
                      <a:pt x="240" y="32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7" name="Freeform 66"/>
              <p:cNvSpPr>
                <a:spLocks/>
              </p:cNvSpPr>
              <p:nvPr/>
            </p:nvSpPr>
            <p:spPr bwMode="gray">
              <a:xfrm>
                <a:off x="2375714" y="2836719"/>
                <a:ext cx="441323" cy="264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24"/>
                  </a:cxn>
                </a:cxnLst>
                <a:rect l="0" t="0" r="r" b="b"/>
                <a:pathLst>
                  <a:path w="233" h="25">
                    <a:moveTo>
                      <a:pt x="0" y="0"/>
                    </a:moveTo>
                    <a:lnTo>
                      <a:pt x="232" y="24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8" name="Freeform 67"/>
              <p:cNvSpPr>
                <a:spLocks/>
              </p:cNvSpPr>
              <p:nvPr/>
            </p:nvSpPr>
            <p:spPr bwMode="gray">
              <a:xfrm>
                <a:off x="2375714" y="2785923"/>
                <a:ext cx="441323" cy="3492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32"/>
                  </a:cxn>
                </a:cxnLst>
                <a:rect l="0" t="0" r="r" b="b"/>
                <a:pathLst>
                  <a:path w="233" h="33">
                    <a:moveTo>
                      <a:pt x="0" y="0"/>
                    </a:moveTo>
                    <a:lnTo>
                      <a:pt x="232" y="32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gray">
              <a:xfrm>
                <a:off x="2375714" y="2743596"/>
                <a:ext cx="441323" cy="264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24"/>
                  </a:cxn>
                </a:cxnLst>
                <a:rect l="0" t="0" r="r" b="b"/>
                <a:pathLst>
                  <a:path w="233" h="25">
                    <a:moveTo>
                      <a:pt x="0" y="0"/>
                    </a:moveTo>
                    <a:lnTo>
                      <a:pt x="232" y="24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0" name="Freeform 69"/>
              <p:cNvSpPr>
                <a:spLocks/>
              </p:cNvSpPr>
              <p:nvPr/>
            </p:nvSpPr>
            <p:spPr bwMode="gray">
              <a:xfrm>
                <a:off x="2375714" y="2701264"/>
                <a:ext cx="441323" cy="1799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16"/>
                  </a:cxn>
                </a:cxnLst>
                <a:rect l="0" t="0" r="r" b="b"/>
                <a:pathLst>
                  <a:path w="233" h="17">
                    <a:moveTo>
                      <a:pt x="0" y="0"/>
                    </a:moveTo>
                    <a:lnTo>
                      <a:pt x="232" y="16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gray">
              <a:xfrm>
                <a:off x="2375714" y="2658932"/>
                <a:ext cx="441323" cy="95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2" y="8"/>
                  </a:cxn>
                </a:cxnLst>
                <a:rect l="0" t="0" r="r" b="b"/>
                <a:pathLst>
                  <a:path w="233" h="9">
                    <a:moveTo>
                      <a:pt x="0" y="0"/>
                    </a:moveTo>
                    <a:lnTo>
                      <a:pt x="232" y="8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2" name="Freeform 71"/>
              <p:cNvSpPr>
                <a:spLocks/>
              </p:cNvSpPr>
              <p:nvPr/>
            </p:nvSpPr>
            <p:spPr bwMode="gray">
              <a:xfrm>
                <a:off x="2466625" y="1820779"/>
                <a:ext cx="1891" cy="159270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504"/>
                  </a:cxn>
                </a:cxnLst>
                <a:rect l="0" t="0" r="r" b="b"/>
                <a:pathLst>
                  <a:path w="1" h="1505">
                    <a:moveTo>
                      <a:pt x="0" y="0"/>
                    </a:moveTo>
                    <a:lnTo>
                      <a:pt x="0" y="1504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3" name="Freeform 72"/>
              <p:cNvSpPr>
                <a:spLocks/>
              </p:cNvSpPr>
              <p:nvPr/>
            </p:nvSpPr>
            <p:spPr bwMode="gray">
              <a:xfrm>
                <a:off x="2557545" y="1795381"/>
                <a:ext cx="1891" cy="164350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552"/>
                  </a:cxn>
                </a:cxnLst>
                <a:rect l="0" t="0" r="r" b="b"/>
                <a:pathLst>
                  <a:path w="1" h="1553">
                    <a:moveTo>
                      <a:pt x="0" y="0"/>
                    </a:moveTo>
                    <a:lnTo>
                      <a:pt x="0" y="1552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4" name="Freeform 73"/>
              <p:cNvSpPr>
                <a:spLocks/>
              </p:cNvSpPr>
              <p:nvPr/>
            </p:nvSpPr>
            <p:spPr bwMode="gray">
              <a:xfrm>
                <a:off x="2648459" y="1761517"/>
                <a:ext cx="1891" cy="170276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608"/>
                  </a:cxn>
                </a:cxnLst>
                <a:rect l="0" t="0" r="r" b="b"/>
                <a:pathLst>
                  <a:path w="1" h="1609">
                    <a:moveTo>
                      <a:pt x="0" y="0"/>
                    </a:moveTo>
                    <a:lnTo>
                      <a:pt x="0" y="1608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5" name="Freeform 74"/>
              <p:cNvSpPr>
                <a:spLocks/>
              </p:cNvSpPr>
              <p:nvPr/>
            </p:nvSpPr>
            <p:spPr bwMode="gray">
              <a:xfrm>
                <a:off x="2724224" y="1744581"/>
                <a:ext cx="1891" cy="176202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664"/>
                  </a:cxn>
                </a:cxnLst>
                <a:rect l="0" t="0" r="r" b="b"/>
                <a:pathLst>
                  <a:path w="1" h="1665">
                    <a:moveTo>
                      <a:pt x="0" y="0"/>
                    </a:moveTo>
                    <a:lnTo>
                      <a:pt x="0" y="1664"/>
                    </a:lnTo>
                  </a:path>
                </a:pathLst>
              </a:custGeom>
              <a:noFill/>
              <a:ln w="12700">
                <a:solidFill>
                  <a:srgbClr val="E5BC7F"/>
                </a:solidFill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>
                <a:noAutofit/>
              </a:bodyPr>
              <a:lstStyle/>
              <a:p>
                <a:pPr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i="1" kern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6" name="Oval 75"/>
              <p:cNvSpPr/>
              <p:nvPr/>
            </p:nvSpPr>
            <p:spPr bwMode="gray">
              <a:xfrm>
                <a:off x="1050907" y="3021601"/>
                <a:ext cx="274321" cy="27432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77" name="Oval 76"/>
              <p:cNvSpPr/>
              <p:nvPr/>
            </p:nvSpPr>
            <p:spPr bwMode="gray">
              <a:xfrm>
                <a:off x="1226405" y="2778393"/>
                <a:ext cx="182880" cy="18288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78" name="Oval 77"/>
              <p:cNvSpPr/>
              <p:nvPr/>
            </p:nvSpPr>
            <p:spPr bwMode="gray">
              <a:xfrm>
                <a:off x="1592211" y="2771881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79" name="Oval 78"/>
              <p:cNvSpPr/>
              <p:nvPr/>
            </p:nvSpPr>
            <p:spPr bwMode="gray">
              <a:xfrm>
                <a:off x="1119724" y="3387111"/>
                <a:ext cx="293707" cy="27432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80" name="Oval 79"/>
              <p:cNvSpPr/>
              <p:nvPr/>
            </p:nvSpPr>
            <p:spPr bwMode="gray">
              <a:xfrm>
                <a:off x="1844916" y="2565716"/>
                <a:ext cx="182880" cy="18288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81" name="Oval 80"/>
              <p:cNvSpPr/>
              <p:nvPr/>
            </p:nvSpPr>
            <p:spPr bwMode="gray">
              <a:xfrm>
                <a:off x="1935979" y="2699155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82" name="Oval 81"/>
              <p:cNvSpPr/>
              <p:nvPr/>
            </p:nvSpPr>
            <p:spPr bwMode="gray">
              <a:xfrm>
                <a:off x="1716518" y="2710143"/>
                <a:ext cx="182880" cy="18288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83" name="Oval 82"/>
              <p:cNvSpPr/>
              <p:nvPr/>
            </p:nvSpPr>
            <p:spPr bwMode="gray">
              <a:xfrm>
                <a:off x="1912750" y="2946958"/>
                <a:ext cx="309419" cy="27432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84" name="Oval 83"/>
              <p:cNvSpPr/>
              <p:nvPr/>
            </p:nvSpPr>
            <p:spPr bwMode="gray">
              <a:xfrm>
                <a:off x="1685110" y="2922067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85" name="Oval 84"/>
              <p:cNvSpPr/>
              <p:nvPr/>
            </p:nvSpPr>
            <p:spPr bwMode="gray">
              <a:xfrm>
                <a:off x="1719670" y="3017382"/>
                <a:ext cx="182880" cy="18288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86" name="Oval 85"/>
              <p:cNvSpPr/>
              <p:nvPr/>
            </p:nvSpPr>
            <p:spPr bwMode="gray">
              <a:xfrm>
                <a:off x="1614188" y="3057383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87" name="Oval 86"/>
              <p:cNvSpPr/>
              <p:nvPr/>
            </p:nvSpPr>
            <p:spPr bwMode="gray">
              <a:xfrm>
                <a:off x="1621171" y="3210922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88" name="Oval 87"/>
              <p:cNvSpPr/>
              <p:nvPr/>
            </p:nvSpPr>
            <p:spPr bwMode="gray">
              <a:xfrm>
                <a:off x="2142522" y="2487276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89" name="Oval 88"/>
              <p:cNvSpPr/>
              <p:nvPr/>
            </p:nvSpPr>
            <p:spPr bwMode="gray">
              <a:xfrm>
                <a:off x="1287418" y="2983328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90" name="Oval 89"/>
              <p:cNvSpPr/>
              <p:nvPr/>
            </p:nvSpPr>
            <p:spPr bwMode="gray">
              <a:xfrm>
                <a:off x="1413429" y="3173231"/>
                <a:ext cx="182880" cy="18288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91" name="Oval 90"/>
              <p:cNvSpPr/>
              <p:nvPr/>
            </p:nvSpPr>
            <p:spPr bwMode="gray">
              <a:xfrm>
                <a:off x="1515432" y="2861663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92" name="Oval 91"/>
              <p:cNvSpPr/>
              <p:nvPr/>
            </p:nvSpPr>
            <p:spPr bwMode="gray">
              <a:xfrm>
                <a:off x="1497624" y="3026173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93" name="Oval 92"/>
              <p:cNvSpPr/>
              <p:nvPr/>
            </p:nvSpPr>
            <p:spPr bwMode="gray">
              <a:xfrm>
                <a:off x="1845694" y="2869833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94" name="Oval 93"/>
              <p:cNvSpPr/>
              <p:nvPr/>
            </p:nvSpPr>
            <p:spPr bwMode="gray">
              <a:xfrm>
                <a:off x="2096802" y="2844399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95" name="Oval 94"/>
              <p:cNvSpPr/>
              <p:nvPr/>
            </p:nvSpPr>
            <p:spPr bwMode="gray">
              <a:xfrm>
                <a:off x="1230635" y="2663693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96" name="Oval 95"/>
              <p:cNvSpPr/>
              <p:nvPr/>
            </p:nvSpPr>
            <p:spPr bwMode="gray">
              <a:xfrm>
                <a:off x="1451904" y="2750557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97" name="Oval 96"/>
              <p:cNvSpPr/>
              <p:nvPr/>
            </p:nvSpPr>
            <p:spPr bwMode="gray">
              <a:xfrm>
                <a:off x="1397350" y="2871542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98" name="Oval 97"/>
              <p:cNvSpPr/>
              <p:nvPr/>
            </p:nvSpPr>
            <p:spPr bwMode="gray">
              <a:xfrm>
                <a:off x="1469712" y="2263765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99" name="Oval 98"/>
              <p:cNvSpPr/>
              <p:nvPr/>
            </p:nvSpPr>
            <p:spPr bwMode="gray">
              <a:xfrm>
                <a:off x="2085010" y="2716583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grpSp>
            <p:nvGrpSpPr>
              <p:cNvPr id="100" name="Group 99"/>
              <p:cNvGrpSpPr/>
              <p:nvPr/>
            </p:nvGrpSpPr>
            <p:grpSpPr>
              <a:xfrm>
                <a:off x="3151312" y="2198051"/>
                <a:ext cx="1444414" cy="836386"/>
                <a:chOff x="3126328" y="2815990"/>
                <a:chExt cx="1404547" cy="1251974"/>
              </a:xfrm>
              <a:solidFill>
                <a:srgbClr val="14385C"/>
              </a:solidFill>
            </p:grpSpPr>
            <p:sp>
              <p:nvSpPr>
                <p:cNvPr id="198" name="Oval 197"/>
                <p:cNvSpPr/>
                <p:nvPr/>
              </p:nvSpPr>
              <p:spPr bwMode="gray">
                <a:xfrm>
                  <a:off x="4194491" y="3231197"/>
                  <a:ext cx="304437" cy="410624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199" name="Oval 198"/>
                <p:cNvSpPr/>
                <p:nvPr/>
              </p:nvSpPr>
              <p:spPr bwMode="gray">
                <a:xfrm>
                  <a:off x="3904619" y="3471118"/>
                  <a:ext cx="142560" cy="207797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00" name="Oval 199"/>
                <p:cNvSpPr/>
                <p:nvPr/>
              </p:nvSpPr>
              <p:spPr bwMode="gray">
                <a:xfrm>
                  <a:off x="3420853" y="3221011"/>
                  <a:ext cx="166556" cy="22149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01" name="Oval 200"/>
                <p:cNvSpPr/>
                <p:nvPr/>
              </p:nvSpPr>
              <p:spPr bwMode="gray">
                <a:xfrm>
                  <a:off x="3735975" y="3509627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02" name="Oval 201"/>
                <p:cNvSpPr/>
                <p:nvPr/>
              </p:nvSpPr>
              <p:spPr bwMode="gray">
                <a:xfrm>
                  <a:off x="4029136" y="3700029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03" name="Oval 202"/>
                <p:cNvSpPr/>
                <p:nvPr/>
              </p:nvSpPr>
              <p:spPr bwMode="gray">
                <a:xfrm>
                  <a:off x="3464217" y="3494714"/>
                  <a:ext cx="177832" cy="205313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04" name="Oval 203"/>
                <p:cNvSpPr/>
                <p:nvPr/>
              </p:nvSpPr>
              <p:spPr bwMode="gray">
                <a:xfrm>
                  <a:off x="3126328" y="3401916"/>
                  <a:ext cx="177832" cy="205313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05" name="Oval 204"/>
                <p:cNvSpPr/>
                <p:nvPr/>
              </p:nvSpPr>
              <p:spPr bwMode="gray">
                <a:xfrm>
                  <a:off x="3733526" y="3208232"/>
                  <a:ext cx="216898" cy="279291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06" name="Oval 205"/>
                <p:cNvSpPr/>
                <p:nvPr/>
              </p:nvSpPr>
              <p:spPr bwMode="gray">
                <a:xfrm>
                  <a:off x="3347695" y="3931209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07" name="Oval 206"/>
                <p:cNvSpPr/>
                <p:nvPr/>
              </p:nvSpPr>
              <p:spPr bwMode="gray">
                <a:xfrm>
                  <a:off x="3431615" y="3779123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08" name="Oval 207"/>
                <p:cNvSpPr/>
                <p:nvPr/>
              </p:nvSpPr>
              <p:spPr bwMode="gray">
                <a:xfrm>
                  <a:off x="3143763" y="3814758"/>
                  <a:ext cx="149323" cy="199145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09" name="Oval 208"/>
                <p:cNvSpPr/>
                <p:nvPr/>
              </p:nvSpPr>
              <p:spPr bwMode="gray">
                <a:xfrm>
                  <a:off x="3588849" y="3666439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10" name="Oval 209"/>
                <p:cNvSpPr/>
                <p:nvPr/>
              </p:nvSpPr>
              <p:spPr bwMode="gray">
                <a:xfrm flipV="1">
                  <a:off x="4265599" y="3810948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11" name="Oval 210"/>
                <p:cNvSpPr/>
                <p:nvPr/>
              </p:nvSpPr>
              <p:spPr bwMode="gray">
                <a:xfrm>
                  <a:off x="3888992" y="3771239"/>
                  <a:ext cx="177832" cy="205313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12" name="Oval 211"/>
                <p:cNvSpPr/>
                <p:nvPr/>
              </p:nvSpPr>
              <p:spPr bwMode="gray">
                <a:xfrm>
                  <a:off x="3646910" y="3810947"/>
                  <a:ext cx="139753" cy="192425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13" name="Oval 212"/>
                <p:cNvSpPr/>
                <p:nvPr/>
              </p:nvSpPr>
              <p:spPr bwMode="gray">
                <a:xfrm>
                  <a:off x="3231428" y="3965308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14" name="Oval 213"/>
                <p:cNvSpPr/>
                <p:nvPr/>
              </p:nvSpPr>
              <p:spPr bwMode="gray">
                <a:xfrm>
                  <a:off x="3215323" y="3814529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15" name="Oval 214"/>
                <p:cNvSpPr/>
                <p:nvPr/>
              </p:nvSpPr>
              <p:spPr bwMode="gray">
                <a:xfrm flipV="1">
                  <a:off x="3251980" y="3676121"/>
                  <a:ext cx="88916" cy="10119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16" name="Oval 215"/>
                <p:cNvSpPr/>
                <p:nvPr/>
              </p:nvSpPr>
              <p:spPr bwMode="gray">
                <a:xfrm>
                  <a:off x="3339090" y="3802316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17" name="Oval 216"/>
                <p:cNvSpPr/>
                <p:nvPr/>
              </p:nvSpPr>
              <p:spPr bwMode="gray">
                <a:xfrm>
                  <a:off x="3546505" y="3838461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18" name="Oval 217"/>
                <p:cNvSpPr/>
                <p:nvPr/>
              </p:nvSpPr>
              <p:spPr bwMode="gray">
                <a:xfrm>
                  <a:off x="3800219" y="3775458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19" name="Oval 218"/>
                <p:cNvSpPr/>
                <p:nvPr/>
              </p:nvSpPr>
              <p:spPr bwMode="gray">
                <a:xfrm>
                  <a:off x="3311050" y="3341172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20" name="Oval 219"/>
                <p:cNvSpPr/>
                <p:nvPr/>
              </p:nvSpPr>
              <p:spPr bwMode="gray">
                <a:xfrm>
                  <a:off x="4194491" y="3565185"/>
                  <a:ext cx="71108" cy="122051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21" name="Oval 220"/>
                <p:cNvSpPr/>
                <p:nvPr/>
              </p:nvSpPr>
              <p:spPr bwMode="gray">
                <a:xfrm>
                  <a:off x="4353043" y="3675259"/>
                  <a:ext cx="177832" cy="205313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22" name="Oval 221"/>
                <p:cNvSpPr/>
                <p:nvPr/>
              </p:nvSpPr>
              <p:spPr bwMode="gray">
                <a:xfrm>
                  <a:off x="3569705" y="3394730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23" name="Oval 222"/>
                <p:cNvSpPr/>
                <p:nvPr/>
              </p:nvSpPr>
              <p:spPr bwMode="gray">
                <a:xfrm>
                  <a:off x="3664327" y="3521220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24" name="Oval 223"/>
                <p:cNvSpPr/>
                <p:nvPr/>
              </p:nvSpPr>
              <p:spPr bwMode="gray">
                <a:xfrm>
                  <a:off x="3402697" y="3451415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25" name="Oval 224"/>
                <p:cNvSpPr/>
                <p:nvPr/>
              </p:nvSpPr>
              <p:spPr bwMode="gray">
                <a:xfrm>
                  <a:off x="3330468" y="3616569"/>
                  <a:ext cx="90385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26" name="Oval 225"/>
                <p:cNvSpPr/>
                <p:nvPr/>
              </p:nvSpPr>
              <p:spPr bwMode="gray">
                <a:xfrm>
                  <a:off x="4040984" y="3254242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27" name="Oval 226"/>
                <p:cNvSpPr/>
                <p:nvPr/>
              </p:nvSpPr>
              <p:spPr bwMode="gray">
                <a:xfrm>
                  <a:off x="3423419" y="3294207"/>
                  <a:ext cx="56285" cy="48253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28" name="Oval 227"/>
                <p:cNvSpPr/>
                <p:nvPr/>
              </p:nvSpPr>
              <p:spPr bwMode="gray">
                <a:xfrm>
                  <a:off x="3664328" y="3703161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29" name="Oval 228"/>
                <p:cNvSpPr/>
                <p:nvPr/>
              </p:nvSpPr>
              <p:spPr bwMode="gray">
                <a:xfrm>
                  <a:off x="3450121" y="2815990"/>
                  <a:ext cx="152332" cy="258677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30" name="Oval 229"/>
                <p:cNvSpPr/>
                <p:nvPr/>
              </p:nvSpPr>
              <p:spPr bwMode="gray">
                <a:xfrm>
                  <a:off x="3138601" y="2894419"/>
                  <a:ext cx="154484" cy="200377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31" name="Oval 230"/>
                <p:cNvSpPr/>
                <p:nvPr/>
              </p:nvSpPr>
              <p:spPr bwMode="gray">
                <a:xfrm>
                  <a:off x="3602453" y="3019668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32" name="Oval 231"/>
                <p:cNvSpPr/>
                <p:nvPr/>
              </p:nvSpPr>
              <p:spPr bwMode="gray">
                <a:xfrm>
                  <a:off x="3347904" y="2986374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33" name="Oval 232"/>
                <p:cNvSpPr/>
                <p:nvPr/>
              </p:nvSpPr>
              <p:spPr bwMode="gray">
                <a:xfrm>
                  <a:off x="3501874" y="3127305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34" name="Oval 233"/>
                <p:cNvSpPr/>
                <p:nvPr/>
              </p:nvSpPr>
              <p:spPr bwMode="gray">
                <a:xfrm>
                  <a:off x="3710190" y="3106473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35" name="Oval 234"/>
                <p:cNvSpPr/>
                <p:nvPr/>
              </p:nvSpPr>
              <p:spPr bwMode="gray">
                <a:xfrm>
                  <a:off x="4105575" y="3051229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36" name="Oval 235"/>
                <p:cNvSpPr/>
                <p:nvPr/>
              </p:nvSpPr>
              <p:spPr bwMode="gray">
                <a:xfrm>
                  <a:off x="4002720" y="3058677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37" name="Oval 236"/>
                <p:cNvSpPr/>
                <p:nvPr/>
              </p:nvSpPr>
              <p:spPr bwMode="gray">
                <a:xfrm>
                  <a:off x="3845557" y="3103157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38" name="Oval 237"/>
                <p:cNvSpPr/>
                <p:nvPr/>
              </p:nvSpPr>
              <p:spPr bwMode="gray">
                <a:xfrm>
                  <a:off x="3163063" y="3114599"/>
                  <a:ext cx="137869" cy="194029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39" name="Oval 238"/>
                <p:cNvSpPr/>
                <p:nvPr/>
              </p:nvSpPr>
              <p:spPr bwMode="gray">
                <a:xfrm>
                  <a:off x="4282617" y="3102556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  <p:sp>
              <p:nvSpPr>
                <p:cNvPr id="240" name="Oval 239"/>
                <p:cNvSpPr/>
                <p:nvPr/>
              </p:nvSpPr>
              <p:spPr bwMode="gray">
                <a:xfrm>
                  <a:off x="3300932" y="3076547"/>
                  <a:ext cx="88916" cy="1026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tIns="81612" bIns="81612" rtlCol="0" anchor="ctr" anchorCtr="0">
                  <a:noAutofit/>
                </a:bodyPr>
                <a:lstStyle/>
                <a:p>
                  <a:pPr algn="ctr"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kern="0" dirty="0">
                    <a:solidFill>
                      <a:srgbClr val="000000"/>
                    </a:solidFill>
                    <a:latin typeface="Arial"/>
                    <a:cs typeface="Calibri" pitchFamily="34" charset="0"/>
                  </a:endParaRPr>
                </a:p>
              </p:txBody>
            </p:sp>
          </p:grpSp>
          <p:sp>
            <p:nvSpPr>
              <p:cNvPr id="101" name="Oval 100"/>
              <p:cNvSpPr/>
              <p:nvPr/>
            </p:nvSpPr>
            <p:spPr bwMode="gray">
              <a:xfrm>
                <a:off x="2130730" y="2184042"/>
                <a:ext cx="182880" cy="18288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02" name="Oval 101"/>
              <p:cNvSpPr/>
              <p:nvPr/>
            </p:nvSpPr>
            <p:spPr bwMode="gray">
              <a:xfrm>
                <a:off x="1980636" y="2485391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03" name="Oval 102"/>
              <p:cNvSpPr/>
              <p:nvPr/>
            </p:nvSpPr>
            <p:spPr bwMode="gray">
              <a:xfrm>
                <a:off x="1132473" y="2457227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04" name="Oval 103"/>
              <p:cNvSpPr/>
              <p:nvPr/>
            </p:nvSpPr>
            <p:spPr bwMode="gray">
              <a:xfrm>
                <a:off x="1596829" y="3369039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05" name="Oval 104"/>
              <p:cNvSpPr/>
              <p:nvPr/>
            </p:nvSpPr>
            <p:spPr bwMode="gray">
              <a:xfrm>
                <a:off x="1771729" y="3239607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06" name="Oval 105"/>
              <p:cNvSpPr/>
              <p:nvPr/>
            </p:nvSpPr>
            <p:spPr bwMode="gray">
              <a:xfrm>
                <a:off x="1903635" y="3228790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07" name="Oval 106"/>
              <p:cNvSpPr/>
              <p:nvPr/>
            </p:nvSpPr>
            <p:spPr bwMode="gray">
              <a:xfrm>
                <a:off x="1138053" y="2919247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08" name="Oval 107"/>
              <p:cNvSpPr/>
              <p:nvPr/>
            </p:nvSpPr>
            <p:spPr bwMode="gray">
              <a:xfrm>
                <a:off x="1611741" y="2288054"/>
                <a:ext cx="182880" cy="18288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09" name="Oval 108"/>
              <p:cNvSpPr/>
              <p:nvPr/>
            </p:nvSpPr>
            <p:spPr bwMode="gray">
              <a:xfrm>
                <a:off x="1119724" y="2077234"/>
                <a:ext cx="304855" cy="27432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10" name="Oval 109"/>
              <p:cNvSpPr/>
              <p:nvPr/>
            </p:nvSpPr>
            <p:spPr bwMode="gray">
              <a:xfrm>
                <a:off x="2138262" y="2005277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11" name="Oval 110"/>
              <p:cNvSpPr/>
              <p:nvPr/>
            </p:nvSpPr>
            <p:spPr bwMode="gray">
              <a:xfrm>
                <a:off x="1910623" y="1980387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12" name="Oval 111"/>
              <p:cNvSpPr/>
              <p:nvPr/>
            </p:nvSpPr>
            <p:spPr bwMode="gray">
              <a:xfrm>
                <a:off x="1642549" y="2115702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13" name="Oval 112"/>
              <p:cNvSpPr/>
              <p:nvPr/>
            </p:nvSpPr>
            <p:spPr bwMode="gray">
              <a:xfrm>
                <a:off x="1786661" y="2226303"/>
                <a:ext cx="51702" cy="45719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14" name="Oval 113"/>
              <p:cNvSpPr/>
              <p:nvPr/>
            </p:nvSpPr>
            <p:spPr bwMode="gray">
              <a:xfrm flipH="1">
                <a:off x="1970269" y="2121929"/>
                <a:ext cx="45719" cy="56338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15" name="Oval 114"/>
              <p:cNvSpPr/>
              <p:nvPr/>
            </p:nvSpPr>
            <p:spPr bwMode="gray">
              <a:xfrm>
                <a:off x="1451904" y="1911303"/>
                <a:ext cx="182880" cy="18288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16" name="Oval 115"/>
              <p:cNvSpPr/>
              <p:nvPr/>
            </p:nvSpPr>
            <p:spPr bwMode="gray">
              <a:xfrm>
                <a:off x="1740941" y="1919979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17" name="Oval 116"/>
              <p:cNvSpPr/>
              <p:nvPr/>
            </p:nvSpPr>
            <p:spPr bwMode="gray">
              <a:xfrm>
                <a:off x="2033217" y="1919979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18" name="Oval 117"/>
              <p:cNvSpPr/>
              <p:nvPr/>
            </p:nvSpPr>
            <p:spPr bwMode="gray">
              <a:xfrm>
                <a:off x="1363565" y="1977566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19" name="Oval 118"/>
              <p:cNvSpPr/>
              <p:nvPr/>
            </p:nvSpPr>
            <p:spPr bwMode="gray">
              <a:xfrm>
                <a:off x="1488790" y="2117875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20" name="Oval 119"/>
              <p:cNvSpPr/>
              <p:nvPr/>
            </p:nvSpPr>
            <p:spPr bwMode="gray">
              <a:xfrm>
                <a:off x="1736936" y="2011681"/>
                <a:ext cx="182880" cy="18288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21" name="Oval 120"/>
              <p:cNvSpPr/>
              <p:nvPr/>
            </p:nvSpPr>
            <p:spPr bwMode="gray">
              <a:xfrm>
                <a:off x="1840441" y="2236993"/>
                <a:ext cx="182880" cy="18288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22" name="Oval 121"/>
              <p:cNvSpPr/>
              <p:nvPr/>
            </p:nvSpPr>
            <p:spPr bwMode="gray">
              <a:xfrm>
                <a:off x="1560958" y="1836958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23" name="Oval 122"/>
              <p:cNvSpPr/>
              <p:nvPr/>
            </p:nvSpPr>
            <p:spPr bwMode="gray">
              <a:xfrm>
                <a:off x="1372396" y="1759167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24" name="Oval 123"/>
              <p:cNvSpPr/>
              <p:nvPr/>
            </p:nvSpPr>
            <p:spPr bwMode="gray">
              <a:xfrm>
                <a:off x="1411595" y="2443879"/>
                <a:ext cx="304923" cy="27432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25" name="Oval 124"/>
              <p:cNvSpPr/>
              <p:nvPr/>
            </p:nvSpPr>
            <p:spPr bwMode="gray">
              <a:xfrm>
                <a:off x="1241698" y="2387686"/>
                <a:ext cx="182880" cy="18288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26" name="Oval 125"/>
              <p:cNvSpPr/>
              <p:nvPr/>
            </p:nvSpPr>
            <p:spPr bwMode="gray">
              <a:xfrm>
                <a:off x="1726009" y="2570339"/>
                <a:ext cx="91440" cy="91440"/>
              </a:xfrm>
              <a:prstGeom prst="ellipse">
                <a:avLst/>
              </a:prstGeom>
              <a:solidFill>
                <a:srgbClr val="7030A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27" name="TextBox 126"/>
              <p:cNvSpPr txBox="1">
                <a:spLocks/>
              </p:cNvSpPr>
              <p:nvPr/>
            </p:nvSpPr>
            <p:spPr>
              <a:xfrm>
                <a:off x="908178" y="2006693"/>
                <a:ext cx="1097387" cy="2557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73472" tIns="73472" rIns="73472" bIns="73472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76901" eaLnBrk="1" hangingPunct="1">
                  <a:buClr>
                    <a:schemeClr val="tx2"/>
                  </a:buClr>
                  <a:defRPr sz="1493" baseline="0">
                    <a:latin typeface="+mn-lt"/>
                  </a:defRPr>
                </a:lvl1pPr>
                <a:lvl2pPr marL="189685" indent="-188130" defTabSz="876901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93" baseline="0">
                    <a:latin typeface="+mn-lt"/>
                  </a:defRPr>
                </a:lvl2pPr>
                <a:lvl3pPr marL="447780" indent="-256541" defTabSz="876901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93" baseline="0">
                    <a:latin typeface="+mn-lt"/>
                  </a:defRPr>
                </a:lvl3pPr>
                <a:lvl4pPr marL="601704" indent="-152369" defTabSz="876901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93" baseline="0">
                    <a:latin typeface="+mn-lt"/>
                  </a:defRPr>
                </a:lvl4pPr>
                <a:lvl5pPr marL="734359" indent="-127493" defTabSz="876901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93" baseline="0">
                    <a:latin typeface="+mn-lt"/>
                  </a:defRPr>
                </a:lvl5pPr>
                <a:lvl6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6pPr>
                <a:lvl7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7pPr>
                <a:lvl8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8pPr>
                <a:lvl9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9pPr>
              </a:lstStyle>
              <a:p>
                <a:pPr defTabSz="876117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32A53"/>
                  </a:buClr>
                  <a:defRPr/>
                </a:pPr>
                <a:r>
                  <a:rPr lang="en-US" sz="1600" kern="0" dirty="0">
                    <a:solidFill>
                      <a:schemeClr val="tx2"/>
                    </a:solidFill>
                    <a:latin typeface="Franklin Gothic Medium" panose="020B0603020102020204" pitchFamily="34" charset="0"/>
                  </a:rPr>
                  <a:t>Safety</a:t>
                </a:r>
              </a:p>
            </p:txBody>
          </p:sp>
          <p:sp>
            <p:nvSpPr>
              <p:cNvPr id="128" name="TextBox 127"/>
              <p:cNvSpPr txBox="1">
                <a:spLocks/>
              </p:cNvSpPr>
              <p:nvPr/>
            </p:nvSpPr>
            <p:spPr>
              <a:xfrm>
                <a:off x="923237" y="2306241"/>
                <a:ext cx="1337947" cy="2557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46649" tIns="73472" rIns="46649" bIns="73472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76901" eaLnBrk="1" hangingPunct="1">
                  <a:buClr>
                    <a:schemeClr val="tx2"/>
                  </a:buClr>
                  <a:defRPr sz="1493" baseline="0">
                    <a:latin typeface="+mn-lt"/>
                  </a:defRPr>
                </a:lvl1pPr>
                <a:lvl2pPr marL="189685" indent="-188130" defTabSz="876901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93" baseline="0">
                    <a:latin typeface="+mn-lt"/>
                  </a:defRPr>
                </a:lvl2pPr>
                <a:lvl3pPr marL="447780" indent="-256541" defTabSz="876901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93" baseline="0">
                    <a:latin typeface="+mn-lt"/>
                  </a:defRPr>
                </a:lvl3pPr>
                <a:lvl4pPr marL="601704" indent="-152369" defTabSz="876901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93" baseline="0">
                    <a:latin typeface="+mn-lt"/>
                  </a:defRPr>
                </a:lvl4pPr>
                <a:lvl5pPr marL="734359" indent="-127493" defTabSz="876901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93" baseline="0">
                    <a:latin typeface="+mn-lt"/>
                  </a:defRPr>
                </a:lvl5pPr>
                <a:lvl6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6pPr>
                <a:lvl7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7pPr>
                <a:lvl8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8pPr>
                <a:lvl9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9pPr>
              </a:lstStyle>
              <a:p>
                <a:pPr defTabSz="876117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32A53"/>
                  </a:buClr>
                  <a:defRPr/>
                </a:pPr>
                <a:r>
                  <a:rPr lang="en-US" sz="1600" kern="0" dirty="0">
                    <a:solidFill>
                      <a:schemeClr val="tx2"/>
                    </a:solidFill>
                    <a:latin typeface="Franklin Gothic Medium" panose="020B0603020102020204" pitchFamily="34" charset="0"/>
                  </a:rPr>
                  <a:t>Preservation</a:t>
                </a:r>
              </a:p>
            </p:txBody>
          </p:sp>
          <p:sp>
            <p:nvSpPr>
              <p:cNvPr id="129" name="TextBox 128"/>
              <p:cNvSpPr txBox="1">
                <a:spLocks/>
              </p:cNvSpPr>
              <p:nvPr/>
            </p:nvSpPr>
            <p:spPr>
              <a:xfrm>
                <a:off x="910897" y="2646671"/>
                <a:ext cx="1323065" cy="2557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73472" tIns="73472" rIns="73472" bIns="73472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76901" eaLnBrk="1" hangingPunct="1">
                  <a:buClr>
                    <a:schemeClr val="tx2"/>
                  </a:buClr>
                  <a:defRPr sz="1493" baseline="0">
                    <a:latin typeface="+mn-lt"/>
                  </a:defRPr>
                </a:lvl1pPr>
                <a:lvl2pPr marL="189685" indent="-188130" defTabSz="876901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93" baseline="0">
                    <a:latin typeface="+mn-lt"/>
                  </a:defRPr>
                </a:lvl2pPr>
                <a:lvl3pPr marL="447780" indent="-256541" defTabSz="876901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93" baseline="0">
                    <a:latin typeface="+mn-lt"/>
                  </a:defRPr>
                </a:lvl3pPr>
                <a:lvl4pPr marL="601704" indent="-152369" defTabSz="876901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93" baseline="0">
                    <a:latin typeface="+mn-lt"/>
                  </a:defRPr>
                </a:lvl4pPr>
                <a:lvl5pPr marL="734359" indent="-127493" defTabSz="876901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93" baseline="0">
                    <a:latin typeface="+mn-lt"/>
                  </a:defRPr>
                </a:lvl5pPr>
                <a:lvl6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6pPr>
                <a:lvl7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7pPr>
                <a:lvl8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8pPr>
                <a:lvl9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9pPr>
              </a:lstStyle>
              <a:p>
                <a:pPr defTabSz="876117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32A53"/>
                  </a:buClr>
                  <a:defRPr/>
                </a:pPr>
                <a:r>
                  <a:rPr lang="en-US" sz="1600" kern="0" dirty="0">
                    <a:solidFill>
                      <a:schemeClr val="tx2"/>
                    </a:solidFill>
                    <a:latin typeface="Franklin Gothic Medium" panose="020B0603020102020204" pitchFamily="34" charset="0"/>
                  </a:rPr>
                  <a:t>Congestion</a:t>
                </a:r>
                <a:r>
                  <a:rPr lang="en-US" sz="1000" kern="0" dirty="0">
                    <a:solidFill>
                      <a:srgbClr val="000000"/>
                    </a:solidFill>
                    <a:latin typeface="Arial"/>
                  </a:rPr>
                  <a:t> </a:t>
                </a:r>
              </a:p>
            </p:txBody>
          </p:sp>
          <p:sp>
            <p:nvSpPr>
              <p:cNvPr id="130" name="TextBox 129"/>
              <p:cNvSpPr txBox="1">
                <a:spLocks/>
              </p:cNvSpPr>
              <p:nvPr/>
            </p:nvSpPr>
            <p:spPr>
              <a:xfrm>
                <a:off x="910897" y="2989751"/>
                <a:ext cx="1402712" cy="2557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73472" tIns="73472" rIns="73472" bIns="73472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76901" eaLnBrk="1" hangingPunct="1">
                  <a:buClr>
                    <a:schemeClr val="tx2"/>
                  </a:buClr>
                  <a:defRPr sz="1493" baseline="0">
                    <a:latin typeface="+mn-lt"/>
                  </a:defRPr>
                </a:lvl1pPr>
                <a:lvl2pPr marL="189685" indent="-188130" defTabSz="876901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93" baseline="0">
                    <a:latin typeface="+mn-lt"/>
                  </a:defRPr>
                </a:lvl2pPr>
                <a:lvl3pPr marL="447780" indent="-256541" defTabSz="876901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93" baseline="0">
                    <a:latin typeface="+mn-lt"/>
                  </a:defRPr>
                </a:lvl3pPr>
                <a:lvl4pPr marL="601704" indent="-152369" defTabSz="876901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93" baseline="0">
                    <a:latin typeface="+mn-lt"/>
                  </a:defRPr>
                </a:lvl4pPr>
                <a:lvl5pPr marL="734359" indent="-127493" defTabSz="876901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93" baseline="0">
                    <a:latin typeface="+mn-lt"/>
                  </a:defRPr>
                </a:lvl5pPr>
                <a:lvl6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6pPr>
                <a:lvl7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7pPr>
                <a:lvl8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8pPr>
                <a:lvl9pPr marL="734359" indent="-127493" defTabSz="876901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587" baseline="0">
                    <a:latin typeface="+mn-lt"/>
                  </a:defRPr>
                </a:lvl9pPr>
              </a:lstStyle>
              <a:p>
                <a:pPr defTabSz="876117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132A53"/>
                  </a:buClr>
                  <a:defRPr/>
                </a:pPr>
                <a:r>
                  <a:rPr lang="en-US" sz="1600" kern="0" dirty="0">
                    <a:solidFill>
                      <a:schemeClr val="tx2"/>
                    </a:solidFill>
                    <a:latin typeface="Franklin Gothic Medium" panose="020B0603020102020204" pitchFamily="34" charset="0"/>
                  </a:rPr>
                  <a:t>Connectivity</a:t>
                </a:r>
              </a:p>
            </p:txBody>
          </p:sp>
          <p:sp>
            <p:nvSpPr>
              <p:cNvPr id="131" name="AutoShape 250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6887594" y="2460686"/>
                <a:ext cx="1541535" cy="28991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b">
                <a:sp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kern="0" dirty="0">
                    <a:solidFill>
                      <a:srgbClr val="14385C"/>
                    </a:solidFill>
                    <a:latin typeface="Franklin Gothic Medium" panose="020B0603020102020204" pitchFamily="34" charset="0"/>
                  </a:rPr>
                  <a:t>Construction and maintenance</a:t>
                </a:r>
                <a:endParaRPr lang="en-US" sz="1000" b="1" kern="0" dirty="0">
                  <a:solidFill>
                    <a:srgbClr val="808080"/>
                  </a:solidFill>
                  <a:latin typeface="Franklin Gothic Medium" panose="020B0603020102020204" pitchFamily="34" charset="0"/>
                </a:endParaRPr>
              </a:p>
            </p:txBody>
          </p:sp>
          <p:sp>
            <p:nvSpPr>
              <p:cNvPr id="132" name="Oval 131"/>
              <p:cNvSpPr/>
              <p:nvPr/>
            </p:nvSpPr>
            <p:spPr bwMode="gray">
              <a:xfrm>
                <a:off x="5368542" y="2759471"/>
                <a:ext cx="137847" cy="119571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33" name="Oval 132"/>
              <p:cNvSpPr/>
              <p:nvPr/>
            </p:nvSpPr>
            <p:spPr bwMode="gray">
              <a:xfrm>
                <a:off x="5882681" y="2474366"/>
                <a:ext cx="236672" cy="187413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34" name="Oval 133"/>
              <p:cNvSpPr/>
              <p:nvPr/>
            </p:nvSpPr>
            <p:spPr bwMode="gray">
              <a:xfrm>
                <a:off x="5786296" y="2559214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35" name="Oval 134"/>
              <p:cNvSpPr/>
              <p:nvPr/>
            </p:nvSpPr>
            <p:spPr bwMode="gray">
              <a:xfrm>
                <a:off x="6281086" y="2757892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36" name="Oval 135"/>
              <p:cNvSpPr/>
              <p:nvPr/>
            </p:nvSpPr>
            <p:spPr bwMode="gray">
              <a:xfrm>
                <a:off x="6246383" y="2685699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37" name="Oval 136"/>
              <p:cNvSpPr/>
              <p:nvPr/>
            </p:nvSpPr>
            <p:spPr bwMode="gray">
              <a:xfrm>
                <a:off x="6343978" y="2699239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38" name="Oval 137"/>
              <p:cNvSpPr/>
              <p:nvPr/>
            </p:nvSpPr>
            <p:spPr bwMode="gray">
              <a:xfrm>
                <a:off x="5882681" y="2678782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39" name="Oval 138"/>
              <p:cNvSpPr/>
              <p:nvPr/>
            </p:nvSpPr>
            <p:spPr bwMode="gray">
              <a:xfrm flipH="1" flipV="1">
                <a:off x="5277101" y="2695548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40" name="Oval 139"/>
              <p:cNvSpPr/>
              <p:nvPr/>
            </p:nvSpPr>
            <p:spPr bwMode="gray">
              <a:xfrm>
                <a:off x="6083260" y="2628095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41" name="Oval 140"/>
              <p:cNvSpPr/>
              <p:nvPr/>
            </p:nvSpPr>
            <p:spPr bwMode="gray">
              <a:xfrm flipH="1" flipV="1">
                <a:off x="5277101" y="2542075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42" name="Oval 141"/>
              <p:cNvSpPr/>
              <p:nvPr/>
            </p:nvSpPr>
            <p:spPr bwMode="gray">
              <a:xfrm>
                <a:off x="6168744" y="2724937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43" name="Oval 142"/>
              <p:cNvSpPr/>
              <p:nvPr/>
            </p:nvSpPr>
            <p:spPr bwMode="gray">
              <a:xfrm>
                <a:off x="5431191" y="2419380"/>
                <a:ext cx="148757" cy="122501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44" name="Oval 143"/>
              <p:cNvSpPr/>
              <p:nvPr/>
            </p:nvSpPr>
            <p:spPr bwMode="gray">
              <a:xfrm>
                <a:off x="5680166" y="2613441"/>
                <a:ext cx="176379" cy="131057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45" name="Oval 144"/>
              <p:cNvSpPr/>
              <p:nvPr/>
            </p:nvSpPr>
            <p:spPr bwMode="gray">
              <a:xfrm>
                <a:off x="6174700" y="2454824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46" name="Oval 145"/>
              <p:cNvSpPr/>
              <p:nvPr/>
            </p:nvSpPr>
            <p:spPr bwMode="gray">
              <a:xfrm>
                <a:off x="6280121" y="2492095"/>
                <a:ext cx="140335" cy="139729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47" name="Oval 146"/>
              <p:cNvSpPr/>
              <p:nvPr/>
            </p:nvSpPr>
            <p:spPr bwMode="gray">
              <a:xfrm>
                <a:off x="5385471" y="2630554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48" name="Oval 147"/>
              <p:cNvSpPr/>
              <p:nvPr/>
            </p:nvSpPr>
            <p:spPr bwMode="gray">
              <a:xfrm>
                <a:off x="5582926" y="2719663"/>
                <a:ext cx="145017" cy="115115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49" name="Oval 148"/>
              <p:cNvSpPr/>
              <p:nvPr/>
            </p:nvSpPr>
            <p:spPr bwMode="gray">
              <a:xfrm>
                <a:off x="5582224" y="2628095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sp>
            <p:nvSpPr>
              <p:cNvPr id="150" name="Oval 149"/>
              <p:cNvSpPr/>
              <p:nvPr/>
            </p:nvSpPr>
            <p:spPr bwMode="gray">
              <a:xfrm flipH="1">
                <a:off x="5680166" y="2479127"/>
                <a:ext cx="91440" cy="6858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tIns="81612" bIns="81612" rtlCol="0" anchor="ctr" anchorCtr="0">
                <a:noAutofit/>
              </a:bodyPr>
              <a:lstStyle/>
              <a:p>
                <a:pPr algn="ctr" defTabSz="913582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000000"/>
                  </a:solidFill>
                  <a:latin typeface="Arial"/>
                  <a:cs typeface="Calibri" pitchFamily="34" charset="0"/>
                </a:endParaRPr>
              </a:p>
            </p:txBody>
          </p:sp>
          <p:grpSp>
            <p:nvGrpSpPr>
              <p:cNvPr id="151" name="Group 150"/>
              <p:cNvGrpSpPr/>
              <p:nvPr/>
            </p:nvGrpSpPr>
            <p:grpSpPr>
              <a:xfrm>
                <a:off x="6529803" y="2253340"/>
                <a:ext cx="295246" cy="778973"/>
                <a:chOff x="4356093" y="2598558"/>
                <a:chExt cx="596752" cy="1655876"/>
              </a:xfrm>
            </p:grpSpPr>
            <p:sp>
              <p:nvSpPr>
                <p:cNvPr id="157" name="AutoShape 69"/>
                <p:cNvSpPr>
                  <a:spLocks noChangeArrowheads="1"/>
                </p:cNvSpPr>
                <p:nvPr/>
              </p:nvSpPr>
              <p:spPr bwMode="gray">
                <a:xfrm>
                  <a:off x="4790765" y="2598558"/>
                  <a:ext cx="162080" cy="1655876"/>
                </a:xfrm>
                <a:prstGeom prst="roundRect">
                  <a:avLst>
                    <a:gd name="adj" fmla="val 0"/>
                  </a:avLst>
                </a:prstGeom>
                <a:solidFill>
                  <a:srgbClr val="14385C"/>
                </a:solidFill>
                <a:ln w="19050">
                  <a:solidFill>
                    <a:srgbClr val="14385C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58" name="Freeform 70"/>
                <p:cNvSpPr>
                  <a:spLocks/>
                </p:cNvSpPr>
                <p:nvPr/>
              </p:nvSpPr>
              <p:spPr bwMode="gray">
                <a:xfrm>
                  <a:off x="4356093" y="2610059"/>
                  <a:ext cx="443876" cy="1633836"/>
                </a:xfrm>
                <a:custGeom>
                  <a:avLst/>
                  <a:gdLst/>
                  <a:ahLst/>
                  <a:cxnLst>
                    <a:cxn ang="0">
                      <a:pos x="0" y="120"/>
                    </a:cxn>
                    <a:cxn ang="0">
                      <a:pos x="0" y="1576"/>
                    </a:cxn>
                    <a:cxn ang="0">
                      <a:pos x="240" y="1704"/>
                    </a:cxn>
                    <a:cxn ang="0">
                      <a:pos x="240" y="0"/>
                    </a:cxn>
                    <a:cxn ang="0">
                      <a:pos x="0" y="120"/>
                    </a:cxn>
                  </a:cxnLst>
                  <a:rect l="0" t="0" r="r" b="b"/>
                  <a:pathLst>
                    <a:path w="241" h="1705">
                      <a:moveTo>
                        <a:pt x="0" y="120"/>
                      </a:moveTo>
                      <a:lnTo>
                        <a:pt x="0" y="1576"/>
                      </a:lnTo>
                      <a:lnTo>
                        <a:pt x="240" y="1704"/>
                      </a:lnTo>
                      <a:lnTo>
                        <a:pt x="240" y="0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noFill/>
                <a:ln w="50800">
                  <a:solidFill>
                    <a:srgbClr val="E5BC7F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59" name="Freeform 71"/>
                <p:cNvSpPr>
                  <a:spLocks/>
                </p:cNvSpPr>
                <p:nvPr/>
              </p:nvSpPr>
              <p:spPr bwMode="gray">
                <a:xfrm>
                  <a:off x="4356093" y="2648383"/>
                  <a:ext cx="443876" cy="115953"/>
                </a:xfrm>
                <a:custGeom>
                  <a:avLst/>
                  <a:gdLst/>
                  <a:ahLst/>
                  <a:cxnLst>
                    <a:cxn ang="0">
                      <a:pos x="0" y="120"/>
                    </a:cxn>
                    <a:cxn ang="0">
                      <a:pos x="240" y="0"/>
                    </a:cxn>
                  </a:cxnLst>
                  <a:rect l="0" t="0" r="r" b="b"/>
                  <a:pathLst>
                    <a:path w="241" h="121">
                      <a:moveTo>
                        <a:pt x="0" y="120"/>
                      </a:moveTo>
                      <a:lnTo>
                        <a:pt x="240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0" name="Freeform 72"/>
                <p:cNvSpPr>
                  <a:spLocks/>
                </p:cNvSpPr>
                <p:nvPr/>
              </p:nvSpPr>
              <p:spPr bwMode="gray">
                <a:xfrm>
                  <a:off x="4356094" y="2694380"/>
                  <a:ext cx="429142" cy="108284"/>
                </a:xfrm>
                <a:custGeom>
                  <a:avLst/>
                  <a:gdLst/>
                  <a:ahLst/>
                  <a:cxnLst>
                    <a:cxn ang="0">
                      <a:pos x="0" y="112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113">
                      <a:moveTo>
                        <a:pt x="0" y="112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1" name="Freeform 73"/>
                <p:cNvSpPr>
                  <a:spLocks/>
                </p:cNvSpPr>
                <p:nvPr/>
              </p:nvSpPr>
              <p:spPr bwMode="gray">
                <a:xfrm>
                  <a:off x="4356094" y="2740380"/>
                  <a:ext cx="429142" cy="100620"/>
                </a:xfrm>
                <a:custGeom>
                  <a:avLst/>
                  <a:gdLst/>
                  <a:ahLst/>
                  <a:cxnLst>
                    <a:cxn ang="0">
                      <a:pos x="0" y="104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105">
                      <a:moveTo>
                        <a:pt x="0" y="104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2" name="Freeform 74"/>
                <p:cNvSpPr>
                  <a:spLocks/>
                </p:cNvSpPr>
                <p:nvPr/>
              </p:nvSpPr>
              <p:spPr bwMode="gray">
                <a:xfrm>
                  <a:off x="4356094" y="2786375"/>
                  <a:ext cx="429142" cy="92950"/>
                </a:xfrm>
                <a:custGeom>
                  <a:avLst/>
                  <a:gdLst/>
                  <a:ahLst/>
                  <a:cxnLst>
                    <a:cxn ang="0">
                      <a:pos x="0" y="96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97">
                      <a:moveTo>
                        <a:pt x="0" y="96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3" name="Freeform 75"/>
                <p:cNvSpPr>
                  <a:spLocks/>
                </p:cNvSpPr>
                <p:nvPr/>
              </p:nvSpPr>
              <p:spPr bwMode="gray">
                <a:xfrm>
                  <a:off x="4356094" y="2832372"/>
                  <a:ext cx="429142" cy="85281"/>
                </a:xfrm>
                <a:custGeom>
                  <a:avLst/>
                  <a:gdLst/>
                  <a:ahLst/>
                  <a:cxnLst>
                    <a:cxn ang="0">
                      <a:pos x="0" y="88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89">
                      <a:moveTo>
                        <a:pt x="0" y="88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4" name="Freeform 76"/>
                <p:cNvSpPr>
                  <a:spLocks/>
                </p:cNvSpPr>
                <p:nvPr/>
              </p:nvSpPr>
              <p:spPr bwMode="gray">
                <a:xfrm>
                  <a:off x="4356093" y="2878372"/>
                  <a:ext cx="443876" cy="77619"/>
                </a:xfrm>
                <a:custGeom>
                  <a:avLst/>
                  <a:gdLst/>
                  <a:ahLst/>
                  <a:cxnLst>
                    <a:cxn ang="0">
                      <a:pos x="0" y="80"/>
                    </a:cxn>
                    <a:cxn ang="0">
                      <a:pos x="240" y="0"/>
                    </a:cxn>
                  </a:cxnLst>
                  <a:rect l="0" t="0" r="r" b="b"/>
                  <a:pathLst>
                    <a:path w="241" h="81">
                      <a:moveTo>
                        <a:pt x="0" y="80"/>
                      </a:moveTo>
                      <a:lnTo>
                        <a:pt x="240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5" name="Freeform 77"/>
                <p:cNvSpPr>
                  <a:spLocks/>
                </p:cNvSpPr>
                <p:nvPr/>
              </p:nvSpPr>
              <p:spPr bwMode="gray">
                <a:xfrm>
                  <a:off x="4356094" y="2924364"/>
                  <a:ext cx="429142" cy="69954"/>
                </a:xfrm>
                <a:custGeom>
                  <a:avLst/>
                  <a:gdLst/>
                  <a:ahLst/>
                  <a:cxnLst>
                    <a:cxn ang="0">
                      <a:pos x="0" y="72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73">
                      <a:moveTo>
                        <a:pt x="0" y="72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6" name="Freeform 78"/>
                <p:cNvSpPr>
                  <a:spLocks/>
                </p:cNvSpPr>
                <p:nvPr/>
              </p:nvSpPr>
              <p:spPr bwMode="gray">
                <a:xfrm>
                  <a:off x="4356094" y="2970359"/>
                  <a:ext cx="429142" cy="62286"/>
                </a:xfrm>
                <a:custGeom>
                  <a:avLst/>
                  <a:gdLst/>
                  <a:ahLst/>
                  <a:cxnLst>
                    <a:cxn ang="0">
                      <a:pos x="0" y="64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65">
                      <a:moveTo>
                        <a:pt x="0" y="64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7" name="Freeform 79"/>
                <p:cNvSpPr>
                  <a:spLocks/>
                </p:cNvSpPr>
                <p:nvPr/>
              </p:nvSpPr>
              <p:spPr bwMode="gray">
                <a:xfrm>
                  <a:off x="4356094" y="3016365"/>
                  <a:ext cx="429142" cy="54621"/>
                </a:xfrm>
                <a:custGeom>
                  <a:avLst/>
                  <a:gdLst/>
                  <a:ahLst/>
                  <a:cxnLst>
                    <a:cxn ang="0">
                      <a:pos x="0" y="56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57">
                      <a:moveTo>
                        <a:pt x="0" y="56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8" name="Freeform 80"/>
                <p:cNvSpPr>
                  <a:spLocks/>
                </p:cNvSpPr>
                <p:nvPr/>
              </p:nvSpPr>
              <p:spPr bwMode="gray">
                <a:xfrm>
                  <a:off x="4356093" y="3062357"/>
                  <a:ext cx="443876" cy="46955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240" y="0"/>
                    </a:cxn>
                  </a:cxnLst>
                  <a:rect l="0" t="0" r="r" b="b"/>
                  <a:pathLst>
                    <a:path w="241" h="49">
                      <a:moveTo>
                        <a:pt x="0" y="48"/>
                      </a:moveTo>
                      <a:lnTo>
                        <a:pt x="240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69" name="Freeform 81"/>
                <p:cNvSpPr>
                  <a:spLocks/>
                </p:cNvSpPr>
                <p:nvPr/>
              </p:nvSpPr>
              <p:spPr bwMode="gray">
                <a:xfrm>
                  <a:off x="4356093" y="3108351"/>
                  <a:ext cx="443876" cy="39286"/>
                </a:xfrm>
                <a:custGeom>
                  <a:avLst/>
                  <a:gdLst/>
                  <a:ahLst/>
                  <a:cxnLst>
                    <a:cxn ang="0">
                      <a:pos x="0" y="40"/>
                    </a:cxn>
                    <a:cxn ang="0">
                      <a:pos x="240" y="0"/>
                    </a:cxn>
                  </a:cxnLst>
                  <a:rect l="0" t="0" r="r" b="b"/>
                  <a:pathLst>
                    <a:path w="241" h="41">
                      <a:moveTo>
                        <a:pt x="0" y="40"/>
                      </a:moveTo>
                      <a:lnTo>
                        <a:pt x="240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70" name="Freeform 82"/>
                <p:cNvSpPr>
                  <a:spLocks/>
                </p:cNvSpPr>
                <p:nvPr/>
              </p:nvSpPr>
              <p:spPr bwMode="gray">
                <a:xfrm>
                  <a:off x="4356093" y="3154346"/>
                  <a:ext cx="443876" cy="31622"/>
                </a:xfrm>
                <a:custGeom>
                  <a:avLst/>
                  <a:gdLst/>
                  <a:ahLst/>
                  <a:cxnLst>
                    <a:cxn ang="0">
                      <a:pos x="0" y="32"/>
                    </a:cxn>
                    <a:cxn ang="0">
                      <a:pos x="240" y="0"/>
                    </a:cxn>
                  </a:cxnLst>
                  <a:rect l="0" t="0" r="r" b="b"/>
                  <a:pathLst>
                    <a:path w="241" h="33">
                      <a:moveTo>
                        <a:pt x="0" y="32"/>
                      </a:moveTo>
                      <a:lnTo>
                        <a:pt x="240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71" name="Freeform 83"/>
                <p:cNvSpPr>
                  <a:spLocks/>
                </p:cNvSpPr>
                <p:nvPr/>
              </p:nvSpPr>
              <p:spPr bwMode="gray">
                <a:xfrm>
                  <a:off x="4356094" y="3200349"/>
                  <a:ext cx="429142" cy="23956"/>
                </a:xfrm>
                <a:custGeom>
                  <a:avLst/>
                  <a:gdLst/>
                  <a:ahLst/>
                  <a:cxnLst>
                    <a:cxn ang="0">
                      <a:pos x="0" y="24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25">
                      <a:moveTo>
                        <a:pt x="0" y="24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72" name="Freeform 84"/>
                <p:cNvSpPr>
                  <a:spLocks/>
                </p:cNvSpPr>
                <p:nvPr/>
              </p:nvSpPr>
              <p:spPr bwMode="gray">
                <a:xfrm>
                  <a:off x="4356094" y="3238672"/>
                  <a:ext cx="429142" cy="31622"/>
                </a:xfrm>
                <a:custGeom>
                  <a:avLst/>
                  <a:gdLst/>
                  <a:ahLst/>
                  <a:cxnLst>
                    <a:cxn ang="0">
                      <a:pos x="0" y="32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33">
                      <a:moveTo>
                        <a:pt x="0" y="32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73" name="Freeform 85"/>
                <p:cNvSpPr>
                  <a:spLocks/>
                </p:cNvSpPr>
                <p:nvPr/>
              </p:nvSpPr>
              <p:spPr bwMode="gray">
                <a:xfrm>
                  <a:off x="4356094" y="3284674"/>
                  <a:ext cx="429142" cy="23956"/>
                </a:xfrm>
                <a:custGeom>
                  <a:avLst/>
                  <a:gdLst/>
                  <a:ahLst/>
                  <a:cxnLst>
                    <a:cxn ang="0">
                      <a:pos x="0" y="24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25">
                      <a:moveTo>
                        <a:pt x="0" y="24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74" name="Freeform 86"/>
                <p:cNvSpPr>
                  <a:spLocks/>
                </p:cNvSpPr>
                <p:nvPr/>
              </p:nvSpPr>
              <p:spPr bwMode="gray">
                <a:xfrm>
                  <a:off x="4356094" y="3330664"/>
                  <a:ext cx="429142" cy="16294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17">
                      <a:moveTo>
                        <a:pt x="0" y="16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75" name="Freeform 87"/>
                <p:cNvSpPr>
                  <a:spLocks/>
                </p:cNvSpPr>
                <p:nvPr/>
              </p:nvSpPr>
              <p:spPr bwMode="gray">
                <a:xfrm>
                  <a:off x="4356094" y="3376663"/>
                  <a:ext cx="429142" cy="8625"/>
                </a:xfrm>
                <a:custGeom>
                  <a:avLst/>
                  <a:gdLst/>
                  <a:ahLst/>
                  <a:cxnLst>
                    <a:cxn ang="0">
                      <a:pos x="0" y="8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9">
                      <a:moveTo>
                        <a:pt x="0" y="8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76" name="Freeform 88"/>
                <p:cNvSpPr>
                  <a:spLocks/>
                </p:cNvSpPr>
                <p:nvPr/>
              </p:nvSpPr>
              <p:spPr bwMode="gray">
                <a:xfrm>
                  <a:off x="4356094" y="3422661"/>
                  <a:ext cx="429142" cy="95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0"/>
                    </a:cxn>
                  </a:cxnLst>
                  <a:rect l="0" t="0" r="r" b="b"/>
                  <a:pathLst>
                    <a:path w="233" h="1">
                      <a:moveTo>
                        <a:pt x="0" y="0"/>
                      </a:moveTo>
                      <a:lnTo>
                        <a:pt x="232" y="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77" name="Freeform 89"/>
                <p:cNvSpPr>
                  <a:spLocks/>
                </p:cNvSpPr>
                <p:nvPr/>
              </p:nvSpPr>
              <p:spPr bwMode="gray">
                <a:xfrm>
                  <a:off x="4356093" y="4081948"/>
                  <a:ext cx="443876" cy="11595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40" y="120"/>
                    </a:cxn>
                  </a:cxnLst>
                  <a:rect l="0" t="0" r="r" b="b"/>
                  <a:pathLst>
                    <a:path w="241" h="121">
                      <a:moveTo>
                        <a:pt x="0" y="0"/>
                      </a:moveTo>
                      <a:lnTo>
                        <a:pt x="240" y="12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78" name="Freeform 90"/>
                <p:cNvSpPr>
                  <a:spLocks/>
                </p:cNvSpPr>
                <p:nvPr/>
              </p:nvSpPr>
              <p:spPr bwMode="gray">
                <a:xfrm>
                  <a:off x="4356094" y="4043609"/>
                  <a:ext cx="429142" cy="10828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112"/>
                    </a:cxn>
                  </a:cxnLst>
                  <a:rect l="0" t="0" r="r" b="b"/>
                  <a:pathLst>
                    <a:path w="233" h="113">
                      <a:moveTo>
                        <a:pt x="0" y="0"/>
                      </a:moveTo>
                      <a:lnTo>
                        <a:pt x="232" y="112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79" name="Freeform 91"/>
                <p:cNvSpPr>
                  <a:spLocks/>
                </p:cNvSpPr>
                <p:nvPr/>
              </p:nvSpPr>
              <p:spPr bwMode="gray">
                <a:xfrm>
                  <a:off x="4356094" y="4005283"/>
                  <a:ext cx="429142" cy="10062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104"/>
                    </a:cxn>
                  </a:cxnLst>
                  <a:rect l="0" t="0" r="r" b="b"/>
                  <a:pathLst>
                    <a:path w="233" h="105">
                      <a:moveTo>
                        <a:pt x="0" y="0"/>
                      </a:moveTo>
                      <a:lnTo>
                        <a:pt x="232" y="10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80" name="Freeform 92"/>
                <p:cNvSpPr>
                  <a:spLocks/>
                </p:cNvSpPr>
                <p:nvPr/>
              </p:nvSpPr>
              <p:spPr bwMode="gray">
                <a:xfrm>
                  <a:off x="4356094" y="3966947"/>
                  <a:ext cx="429142" cy="929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96"/>
                    </a:cxn>
                  </a:cxnLst>
                  <a:rect l="0" t="0" r="r" b="b"/>
                  <a:pathLst>
                    <a:path w="233" h="97">
                      <a:moveTo>
                        <a:pt x="0" y="0"/>
                      </a:moveTo>
                      <a:lnTo>
                        <a:pt x="232" y="96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81" name="Freeform 93"/>
                <p:cNvSpPr>
                  <a:spLocks/>
                </p:cNvSpPr>
                <p:nvPr/>
              </p:nvSpPr>
              <p:spPr bwMode="gray">
                <a:xfrm>
                  <a:off x="4356094" y="3928624"/>
                  <a:ext cx="429142" cy="8528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88"/>
                    </a:cxn>
                  </a:cxnLst>
                  <a:rect l="0" t="0" r="r" b="b"/>
                  <a:pathLst>
                    <a:path w="233" h="89">
                      <a:moveTo>
                        <a:pt x="0" y="0"/>
                      </a:moveTo>
                      <a:lnTo>
                        <a:pt x="232" y="88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82" name="Freeform 94"/>
                <p:cNvSpPr>
                  <a:spLocks/>
                </p:cNvSpPr>
                <p:nvPr/>
              </p:nvSpPr>
              <p:spPr bwMode="gray">
                <a:xfrm>
                  <a:off x="4356093" y="3890292"/>
                  <a:ext cx="443876" cy="7761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40" y="80"/>
                    </a:cxn>
                  </a:cxnLst>
                  <a:rect l="0" t="0" r="r" b="b"/>
                  <a:pathLst>
                    <a:path w="241" h="81">
                      <a:moveTo>
                        <a:pt x="0" y="0"/>
                      </a:moveTo>
                      <a:lnTo>
                        <a:pt x="240" y="8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83" name="Freeform 95"/>
                <p:cNvSpPr>
                  <a:spLocks/>
                </p:cNvSpPr>
                <p:nvPr/>
              </p:nvSpPr>
              <p:spPr bwMode="gray">
                <a:xfrm>
                  <a:off x="4356094" y="3851961"/>
                  <a:ext cx="429142" cy="6995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72"/>
                    </a:cxn>
                  </a:cxnLst>
                  <a:rect l="0" t="0" r="r" b="b"/>
                  <a:pathLst>
                    <a:path w="233" h="73">
                      <a:moveTo>
                        <a:pt x="0" y="0"/>
                      </a:moveTo>
                      <a:lnTo>
                        <a:pt x="232" y="72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84" name="Freeform 96"/>
                <p:cNvSpPr>
                  <a:spLocks/>
                </p:cNvSpPr>
                <p:nvPr/>
              </p:nvSpPr>
              <p:spPr bwMode="gray">
                <a:xfrm>
                  <a:off x="4356094" y="3813628"/>
                  <a:ext cx="429142" cy="6228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64"/>
                    </a:cxn>
                  </a:cxnLst>
                  <a:rect l="0" t="0" r="r" b="b"/>
                  <a:pathLst>
                    <a:path w="233" h="65">
                      <a:moveTo>
                        <a:pt x="0" y="0"/>
                      </a:moveTo>
                      <a:lnTo>
                        <a:pt x="232" y="6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85" name="Freeform 97"/>
                <p:cNvSpPr>
                  <a:spLocks/>
                </p:cNvSpPr>
                <p:nvPr/>
              </p:nvSpPr>
              <p:spPr bwMode="gray">
                <a:xfrm>
                  <a:off x="4356094" y="3775296"/>
                  <a:ext cx="429142" cy="5462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56"/>
                    </a:cxn>
                  </a:cxnLst>
                  <a:rect l="0" t="0" r="r" b="b"/>
                  <a:pathLst>
                    <a:path w="233" h="57">
                      <a:moveTo>
                        <a:pt x="0" y="0"/>
                      </a:moveTo>
                      <a:lnTo>
                        <a:pt x="232" y="56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86" name="Freeform 98"/>
                <p:cNvSpPr>
                  <a:spLocks/>
                </p:cNvSpPr>
                <p:nvPr/>
              </p:nvSpPr>
              <p:spPr bwMode="gray">
                <a:xfrm>
                  <a:off x="4356093" y="3736976"/>
                  <a:ext cx="443876" cy="4695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40" y="48"/>
                    </a:cxn>
                  </a:cxnLst>
                  <a:rect l="0" t="0" r="r" b="b"/>
                  <a:pathLst>
                    <a:path w="241" h="49">
                      <a:moveTo>
                        <a:pt x="0" y="0"/>
                      </a:moveTo>
                      <a:lnTo>
                        <a:pt x="240" y="48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87" name="Freeform 99"/>
                <p:cNvSpPr>
                  <a:spLocks/>
                </p:cNvSpPr>
                <p:nvPr/>
              </p:nvSpPr>
              <p:spPr bwMode="gray">
                <a:xfrm>
                  <a:off x="4356093" y="3698638"/>
                  <a:ext cx="443876" cy="3928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40" y="40"/>
                    </a:cxn>
                  </a:cxnLst>
                  <a:rect l="0" t="0" r="r" b="b"/>
                  <a:pathLst>
                    <a:path w="241" h="41">
                      <a:moveTo>
                        <a:pt x="0" y="0"/>
                      </a:moveTo>
                      <a:lnTo>
                        <a:pt x="240" y="40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88" name="Freeform 100"/>
                <p:cNvSpPr>
                  <a:spLocks/>
                </p:cNvSpPr>
                <p:nvPr/>
              </p:nvSpPr>
              <p:spPr bwMode="gray">
                <a:xfrm>
                  <a:off x="4356093" y="3660310"/>
                  <a:ext cx="443876" cy="3162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40" y="32"/>
                    </a:cxn>
                  </a:cxnLst>
                  <a:rect l="0" t="0" r="r" b="b"/>
                  <a:pathLst>
                    <a:path w="241" h="33">
                      <a:moveTo>
                        <a:pt x="0" y="0"/>
                      </a:moveTo>
                      <a:lnTo>
                        <a:pt x="240" y="32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89" name="Freeform 101"/>
                <p:cNvSpPr>
                  <a:spLocks/>
                </p:cNvSpPr>
                <p:nvPr/>
              </p:nvSpPr>
              <p:spPr bwMode="gray">
                <a:xfrm>
                  <a:off x="4356094" y="3621978"/>
                  <a:ext cx="429142" cy="2395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24"/>
                    </a:cxn>
                  </a:cxnLst>
                  <a:rect l="0" t="0" r="r" b="b"/>
                  <a:pathLst>
                    <a:path w="233" h="25">
                      <a:moveTo>
                        <a:pt x="0" y="0"/>
                      </a:moveTo>
                      <a:lnTo>
                        <a:pt x="232" y="2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90" name="Freeform 102"/>
                <p:cNvSpPr>
                  <a:spLocks/>
                </p:cNvSpPr>
                <p:nvPr/>
              </p:nvSpPr>
              <p:spPr bwMode="gray">
                <a:xfrm>
                  <a:off x="4356094" y="3575985"/>
                  <a:ext cx="429142" cy="3162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32"/>
                    </a:cxn>
                  </a:cxnLst>
                  <a:rect l="0" t="0" r="r" b="b"/>
                  <a:pathLst>
                    <a:path w="233" h="33">
                      <a:moveTo>
                        <a:pt x="0" y="0"/>
                      </a:moveTo>
                      <a:lnTo>
                        <a:pt x="232" y="32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91" name="Freeform 103"/>
                <p:cNvSpPr>
                  <a:spLocks/>
                </p:cNvSpPr>
                <p:nvPr/>
              </p:nvSpPr>
              <p:spPr bwMode="gray">
                <a:xfrm>
                  <a:off x="4356094" y="3537650"/>
                  <a:ext cx="429142" cy="2395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24"/>
                    </a:cxn>
                  </a:cxnLst>
                  <a:rect l="0" t="0" r="r" b="b"/>
                  <a:pathLst>
                    <a:path w="233" h="25">
                      <a:moveTo>
                        <a:pt x="0" y="0"/>
                      </a:moveTo>
                      <a:lnTo>
                        <a:pt x="232" y="2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92" name="Freeform 104"/>
                <p:cNvSpPr>
                  <a:spLocks/>
                </p:cNvSpPr>
                <p:nvPr/>
              </p:nvSpPr>
              <p:spPr bwMode="gray">
                <a:xfrm>
                  <a:off x="4356094" y="3499321"/>
                  <a:ext cx="429142" cy="1629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16"/>
                    </a:cxn>
                  </a:cxnLst>
                  <a:rect l="0" t="0" r="r" b="b"/>
                  <a:pathLst>
                    <a:path w="233" h="17">
                      <a:moveTo>
                        <a:pt x="0" y="0"/>
                      </a:moveTo>
                      <a:lnTo>
                        <a:pt x="232" y="16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93" name="Freeform 105"/>
                <p:cNvSpPr>
                  <a:spLocks/>
                </p:cNvSpPr>
                <p:nvPr/>
              </p:nvSpPr>
              <p:spPr bwMode="gray">
                <a:xfrm>
                  <a:off x="4356094" y="3460988"/>
                  <a:ext cx="429142" cy="86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2" y="8"/>
                    </a:cxn>
                  </a:cxnLst>
                  <a:rect l="0" t="0" r="r" b="b"/>
                  <a:pathLst>
                    <a:path w="233" h="9">
                      <a:moveTo>
                        <a:pt x="0" y="0"/>
                      </a:moveTo>
                      <a:lnTo>
                        <a:pt x="232" y="8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94" name="Freeform 106"/>
                <p:cNvSpPr>
                  <a:spLocks/>
                </p:cNvSpPr>
                <p:nvPr/>
              </p:nvSpPr>
              <p:spPr bwMode="gray">
                <a:xfrm>
                  <a:off x="4444501" y="2702044"/>
                  <a:ext cx="1839" cy="144218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504"/>
                    </a:cxn>
                  </a:cxnLst>
                  <a:rect l="0" t="0" r="r" b="b"/>
                  <a:pathLst>
                    <a:path w="1" h="1505">
                      <a:moveTo>
                        <a:pt x="0" y="0"/>
                      </a:moveTo>
                      <a:lnTo>
                        <a:pt x="0" y="150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95" name="Freeform 107"/>
                <p:cNvSpPr>
                  <a:spLocks/>
                </p:cNvSpPr>
                <p:nvPr/>
              </p:nvSpPr>
              <p:spPr bwMode="gray">
                <a:xfrm>
                  <a:off x="4532906" y="2679046"/>
                  <a:ext cx="1839" cy="148817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552"/>
                    </a:cxn>
                  </a:cxnLst>
                  <a:rect l="0" t="0" r="r" b="b"/>
                  <a:pathLst>
                    <a:path w="1" h="1553">
                      <a:moveTo>
                        <a:pt x="0" y="0"/>
                      </a:moveTo>
                      <a:lnTo>
                        <a:pt x="0" y="1552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96" name="Freeform 108"/>
                <p:cNvSpPr>
                  <a:spLocks/>
                </p:cNvSpPr>
                <p:nvPr/>
              </p:nvSpPr>
              <p:spPr bwMode="gray">
                <a:xfrm>
                  <a:off x="4621315" y="2648382"/>
                  <a:ext cx="1839" cy="154183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608"/>
                    </a:cxn>
                  </a:cxnLst>
                  <a:rect l="0" t="0" r="r" b="b"/>
                  <a:pathLst>
                    <a:path w="1" h="1609">
                      <a:moveTo>
                        <a:pt x="0" y="0"/>
                      </a:moveTo>
                      <a:lnTo>
                        <a:pt x="0" y="1608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97" name="Freeform 109"/>
                <p:cNvSpPr>
                  <a:spLocks/>
                </p:cNvSpPr>
                <p:nvPr/>
              </p:nvSpPr>
              <p:spPr bwMode="gray">
                <a:xfrm>
                  <a:off x="4694995" y="2633056"/>
                  <a:ext cx="1839" cy="159549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664"/>
                    </a:cxn>
                  </a:cxnLst>
                  <a:rect l="0" t="0" r="r" b="b"/>
                  <a:pathLst>
                    <a:path w="1" h="1665">
                      <a:moveTo>
                        <a:pt x="0" y="0"/>
                      </a:moveTo>
                      <a:lnTo>
                        <a:pt x="0" y="1664"/>
                      </a:lnTo>
                    </a:path>
                  </a:pathLst>
                </a:custGeom>
                <a:noFill/>
                <a:ln w="12700">
                  <a:solidFill>
                    <a:srgbClr val="E5BC7F"/>
                  </a:solidFill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anchor="ctr">
                  <a:noAutofit/>
                </a:bodyPr>
                <a:lstStyle/>
                <a:p>
                  <a:pPr defTabSz="91358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00" b="1" i="1" kern="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sp>
            <p:nvSpPr>
              <p:cNvPr id="152" name="Freeform 151"/>
              <p:cNvSpPr/>
              <p:nvPr/>
            </p:nvSpPr>
            <p:spPr>
              <a:xfrm rot="16200000" flipV="1">
                <a:off x="1649440" y="3388598"/>
                <a:ext cx="427685" cy="339869"/>
              </a:xfrm>
              <a:custGeom>
                <a:avLst/>
                <a:gdLst>
                  <a:gd name="connsiteX0" fmla="*/ 0 w 831897"/>
                  <a:gd name="connsiteY0" fmla="*/ 0 h 0"/>
                  <a:gd name="connsiteX1" fmla="*/ 831897 w 831897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1897">
                    <a:moveTo>
                      <a:pt x="0" y="0"/>
                    </a:moveTo>
                    <a:lnTo>
                      <a:pt x="831897" y="0"/>
                    </a:lnTo>
                  </a:path>
                </a:pathLst>
              </a:custGeom>
              <a:noFill/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tailEnd type="oval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68518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3" name="Freeform 152"/>
              <p:cNvSpPr/>
              <p:nvPr/>
            </p:nvSpPr>
            <p:spPr>
              <a:xfrm rot="16200000" flipV="1">
                <a:off x="3674199" y="2976131"/>
                <a:ext cx="577694" cy="440646"/>
              </a:xfrm>
              <a:custGeom>
                <a:avLst/>
                <a:gdLst>
                  <a:gd name="connsiteX0" fmla="*/ 0 w 831897"/>
                  <a:gd name="connsiteY0" fmla="*/ 0 h 0"/>
                  <a:gd name="connsiteX1" fmla="*/ 831897 w 831897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1897">
                    <a:moveTo>
                      <a:pt x="0" y="0"/>
                    </a:moveTo>
                    <a:lnTo>
                      <a:pt x="831897" y="0"/>
                    </a:lnTo>
                  </a:path>
                </a:pathLst>
              </a:custGeom>
              <a:noFill/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tailEnd type="oval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68518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4" name="Freeform 153"/>
              <p:cNvSpPr/>
              <p:nvPr/>
            </p:nvSpPr>
            <p:spPr>
              <a:xfrm rot="16200000" flipV="1">
                <a:off x="5671884" y="2847810"/>
                <a:ext cx="409838" cy="316383"/>
              </a:xfrm>
              <a:custGeom>
                <a:avLst/>
                <a:gdLst>
                  <a:gd name="connsiteX0" fmla="*/ 0 w 831897"/>
                  <a:gd name="connsiteY0" fmla="*/ 0 h 0"/>
                  <a:gd name="connsiteX1" fmla="*/ 831897 w 831897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31897">
                    <a:moveTo>
                      <a:pt x="0" y="0"/>
                    </a:moveTo>
                    <a:lnTo>
                      <a:pt x="831897" y="0"/>
                    </a:lnTo>
                  </a:path>
                </a:pathLst>
              </a:custGeom>
              <a:noFill/>
              <a:ln w="12700" cap="flat" cmpd="sng" algn="ctr">
                <a:solidFill>
                  <a:sysClr val="window" lastClr="FFFFFF">
                    <a:lumMod val="50000"/>
                  </a:sysClr>
                </a:solidFill>
                <a:prstDash val="solid"/>
                <a:round/>
                <a:tailEnd type="oval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68518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5" name="Rectangle 29"/>
              <p:cNvSpPr txBox="1">
                <a:spLocks/>
              </p:cNvSpPr>
              <p:nvPr/>
            </p:nvSpPr>
            <p:spPr>
              <a:xfrm>
                <a:off x="3330872" y="3479243"/>
                <a:ext cx="1542505" cy="774793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72009" tIns="72009" rIns="72009" bIns="72009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39470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203219" lvl="1" indent="-201553" defTabSz="93947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79730" lvl="2" indent="-274846" defTabSz="93947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44637" lvl="3" indent="-163241" defTabSz="93947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86757" lvl="4" indent="-136590" defTabSz="93947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786757" indent="-136590" defTabSz="93947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86757" indent="-136590" defTabSz="93947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86757" indent="-136590" defTabSz="93947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86757" indent="-136590" defTabSz="93947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indent="-201788" defTabSz="703973" fontAlgn="auto">
                  <a:spcBef>
                    <a:spcPct val="20000"/>
                  </a:spcBef>
                  <a:spcAft>
                    <a:spcPts val="0"/>
                  </a:spcAft>
                  <a:buClr>
                    <a:srgbClr val="132A53"/>
                  </a:buClr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latin typeface="Franklin Gothic Medium" panose="020B0603020102020204" pitchFamily="34" charset="0"/>
                  </a:rPr>
                  <a:t>Projects advance in the funnel as they meet development milestones</a:t>
                </a:r>
              </a:p>
            </p:txBody>
          </p:sp>
          <p:sp>
            <p:nvSpPr>
              <p:cNvPr id="156" name="Rectangle 29"/>
              <p:cNvSpPr txBox="1">
                <a:spLocks/>
              </p:cNvSpPr>
              <p:nvPr/>
            </p:nvSpPr>
            <p:spPr>
              <a:xfrm>
                <a:off x="5317940" y="3204647"/>
                <a:ext cx="1709306" cy="774793"/>
              </a:xfrm>
              <a:prstGeom prst="rect">
                <a:avLst/>
              </a:prstGeom>
              <a:solidFill>
                <a:sysClr val="window" lastClr="FFFFFF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square" lIns="72009" tIns="72009" rIns="72009" bIns="72009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39470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203219" lvl="1" indent="-201553" defTabSz="93947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79730" lvl="2" indent="-274846" defTabSz="93947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44637" lvl="3" indent="-163241" defTabSz="93947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86757" lvl="4" indent="-136590" defTabSz="93947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786757" indent="-136590" defTabSz="93947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86757" indent="-136590" defTabSz="93947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86757" indent="-136590" defTabSz="93947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86757" indent="-136590" defTabSz="93947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indent="-201788" defTabSz="703973" fontAlgn="auto">
                  <a:spcBef>
                    <a:spcPct val="20000"/>
                  </a:spcBef>
                  <a:spcAft>
                    <a:spcPts val="0"/>
                  </a:spcAft>
                  <a:buClr>
                    <a:srgbClr val="132A53"/>
                  </a:buClr>
                  <a:defRPr/>
                </a:pPr>
                <a:r>
                  <a:rPr lang="en-US" sz="1100" kern="0" dirty="0">
                    <a:solidFill>
                      <a:srgbClr val="000000"/>
                    </a:solidFill>
                    <a:latin typeface="Franklin Gothic Medium" panose="020B0603020102020204" pitchFamily="34" charset="0"/>
                  </a:rPr>
                  <a:t>Projects that reach the end of the funnel are ready to let and construct </a:t>
                </a:r>
              </a:p>
            </p:txBody>
          </p:sp>
        </p:grpSp>
        <p:cxnSp>
          <p:nvCxnSpPr>
            <p:cNvPr id="11" name="Straight Connector 10"/>
            <p:cNvCxnSpPr/>
            <p:nvPr/>
          </p:nvCxnSpPr>
          <p:spPr>
            <a:xfrm>
              <a:off x="6567144" y="1033921"/>
              <a:ext cx="1883449" cy="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cxnSp>
          <p:nvCxnSpPr>
            <p:cNvPr id="12" name="Straight Connector 11"/>
            <p:cNvCxnSpPr/>
            <p:nvPr/>
          </p:nvCxnSpPr>
          <p:spPr>
            <a:xfrm rot="5400000">
              <a:off x="8351383" y="1033921"/>
              <a:ext cx="198420" cy="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cxnSp>
          <p:nvCxnSpPr>
            <p:cNvPr id="13" name="Straight Connector 12"/>
            <p:cNvCxnSpPr/>
            <p:nvPr/>
          </p:nvCxnSpPr>
          <p:spPr>
            <a:xfrm rot="5400000">
              <a:off x="4728922" y="1033921"/>
              <a:ext cx="198420" cy="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sp>
          <p:nvSpPr>
            <p:cNvPr id="14" name="AutoShape 25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7247582" y="949416"/>
              <a:ext cx="697195" cy="144956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91358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kern="0" dirty="0">
                  <a:solidFill>
                    <a:srgbClr val="14385C"/>
                  </a:solidFill>
                  <a:latin typeface="Franklin Gothic Medium" panose="020B0603020102020204" pitchFamily="34" charset="0"/>
                </a:rPr>
                <a:t>Construct</a:t>
              </a:r>
              <a:endParaRPr lang="en-US" sz="1000" b="1" kern="0" dirty="0">
                <a:solidFill>
                  <a:srgbClr val="808080"/>
                </a:solidFill>
                <a:latin typeface="Franklin Gothic Medium" panose="020B0603020102020204" pitchFamily="34" charset="0"/>
              </a:endParaRPr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2716902" y="1033921"/>
              <a:ext cx="2111230" cy="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sp>
          <p:nvSpPr>
            <p:cNvPr id="16" name="AutoShape 25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402877" y="949416"/>
              <a:ext cx="697195" cy="144956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91358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kern="0" dirty="0">
                  <a:solidFill>
                    <a:srgbClr val="14385C"/>
                  </a:solidFill>
                  <a:latin typeface="Franklin Gothic Medium" panose="020B0603020102020204" pitchFamily="34" charset="0"/>
                </a:rPr>
                <a:t>10 - 5</a:t>
              </a:r>
              <a:endParaRPr lang="en-US" sz="1000" b="1" kern="0" dirty="0">
                <a:solidFill>
                  <a:srgbClr val="808080"/>
                </a:solidFill>
                <a:latin typeface="Franklin Gothic Medium" panose="020B0603020102020204" pitchFamily="34" charset="0"/>
              </a:endParaRPr>
            </a:p>
          </p:txBody>
        </p:sp>
        <p:sp>
          <p:nvSpPr>
            <p:cNvPr id="17" name="AutoShape 25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282016" y="1140362"/>
              <a:ext cx="1295929" cy="289914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square" lIns="0" tIns="0" rIns="0" bIns="0" anchor="b">
              <a:spAutoFit/>
            </a:bodyPr>
            <a:lstStyle/>
            <a:p>
              <a:pPr defTabSz="91358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kern="0" dirty="0">
                  <a:solidFill>
                    <a:srgbClr val="14385C"/>
                  </a:solidFill>
                  <a:latin typeface="Franklin Gothic Medium" panose="020B0603020102020204" pitchFamily="34" charset="0"/>
                </a:rPr>
                <a:t>Preliminary design &amp; environmental</a:t>
              </a:r>
              <a:endParaRPr lang="en-US" sz="1000" b="1" kern="0" dirty="0">
                <a:solidFill>
                  <a:srgbClr val="808080"/>
                </a:solidFill>
                <a:latin typeface="Franklin Gothic Medium" panose="020B0603020102020204" pitchFamily="34" charset="0"/>
              </a:endParaRPr>
            </a:p>
          </p:txBody>
        </p:sp>
        <p:sp>
          <p:nvSpPr>
            <p:cNvPr id="18" name="AutoShape 25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367344" y="1146465"/>
              <a:ext cx="1091306" cy="289914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wrap="square" lIns="0" tIns="0" rIns="0" bIns="0" anchor="b">
              <a:spAutoFit/>
            </a:bodyPr>
            <a:lstStyle/>
            <a:p>
              <a:pPr defTabSz="91358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kern="0" dirty="0">
                  <a:solidFill>
                    <a:srgbClr val="14385C"/>
                  </a:solidFill>
                  <a:latin typeface="Franklin Gothic Medium" panose="020B0603020102020204" pitchFamily="34" charset="0"/>
                </a:rPr>
                <a:t>Final design &amp; ROW acquisition</a:t>
              </a:r>
              <a:endParaRPr lang="en-US" sz="1000" b="1" kern="0" dirty="0">
                <a:solidFill>
                  <a:srgbClr val="808080"/>
                </a:solidFill>
                <a:latin typeface="Franklin Gothic Medium" panose="020B0603020102020204" pitchFamily="34" charset="0"/>
              </a:endParaRPr>
            </a:p>
          </p:txBody>
        </p:sp>
        <p:cxnSp>
          <p:nvCxnSpPr>
            <p:cNvPr id="19" name="Straight Connector 18"/>
            <p:cNvCxnSpPr/>
            <p:nvPr/>
          </p:nvCxnSpPr>
          <p:spPr>
            <a:xfrm rot="5400000">
              <a:off x="2625014" y="1033921"/>
              <a:ext cx="198420" cy="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cxnSp>
          <p:nvCxnSpPr>
            <p:cNvPr id="20" name="Straight Connector 19"/>
            <p:cNvCxnSpPr>
              <a:cxnSpLocks/>
            </p:cNvCxnSpPr>
            <p:nvPr/>
          </p:nvCxnSpPr>
          <p:spPr>
            <a:xfrm>
              <a:off x="1050904" y="1033921"/>
              <a:ext cx="1687274" cy="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sp>
          <p:nvSpPr>
            <p:cNvPr id="21" name="AutoShape 25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312924" y="949416"/>
              <a:ext cx="697195" cy="144956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91358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kern="0" dirty="0">
                  <a:solidFill>
                    <a:srgbClr val="14385C"/>
                  </a:solidFill>
                  <a:latin typeface="Franklin Gothic Medium" panose="020B0603020102020204" pitchFamily="34" charset="0"/>
                </a:rPr>
                <a:t>10+</a:t>
              </a:r>
              <a:endParaRPr lang="en-US" sz="1000" b="1" kern="0" dirty="0">
                <a:solidFill>
                  <a:srgbClr val="808080"/>
                </a:solidFill>
                <a:latin typeface="Franklin Gothic Medium" panose="020B0603020102020204" pitchFamily="34" charset="0"/>
              </a:endParaRPr>
            </a:p>
          </p:txBody>
        </p:sp>
        <p:sp>
          <p:nvSpPr>
            <p:cNvPr id="23" name="AutoShape 25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991527" y="4541319"/>
              <a:ext cx="2925911" cy="144956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91358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kern="0" dirty="0">
                  <a:solidFill>
                    <a:srgbClr val="14385C"/>
                  </a:solidFill>
                  <a:latin typeface="Franklin Gothic Medium" panose="020B0603020102020204" pitchFamily="34" charset="0"/>
                </a:rPr>
                <a:t>Performance Based Planning Activities</a:t>
              </a:r>
              <a:endParaRPr lang="en-US" sz="1000" b="1" kern="0" dirty="0">
                <a:solidFill>
                  <a:srgbClr val="808080"/>
                </a:solidFill>
                <a:latin typeface="Franklin Gothic Medium" panose="020B0603020102020204" pitchFamily="34" charset="0"/>
              </a:endParaRPr>
            </a:p>
          </p:txBody>
        </p:sp>
        <p:cxnSp>
          <p:nvCxnSpPr>
            <p:cNvPr id="24" name="Straight Connector 23"/>
            <p:cNvCxnSpPr/>
            <p:nvPr/>
          </p:nvCxnSpPr>
          <p:spPr>
            <a:xfrm rot="5400000">
              <a:off x="681036" y="4541319"/>
              <a:ext cx="198420" cy="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cxnSp>
          <p:nvCxnSpPr>
            <p:cNvPr id="26" name="Straight Connector 25"/>
            <p:cNvCxnSpPr/>
            <p:nvPr/>
          </p:nvCxnSpPr>
          <p:spPr>
            <a:xfrm>
              <a:off x="2905239" y="4195487"/>
              <a:ext cx="0" cy="21806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cxnSp>
          <p:nvCxnSpPr>
            <p:cNvPr id="27" name="Straight Connector 26"/>
            <p:cNvCxnSpPr>
              <a:cxnSpLocks/>
            </p:cNvCxnSpPr>
            <p:nvPr/>
          </p:nvCxnSpPr>
          <p:spPr>
            <a:xfrm>
              <a:off x="2905239" y="4304517"/>
              <a:ext cx="3810896" cy="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sp>
          <p:nvSpPr>
            <p:cNvPr id="28" name="AutoShape 25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194989" y="4134699"/>
              <a:ext cx="2898476" cy="144956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91358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kern="0" dirty="0">
                  <a:solidFill>
                    <a:srgbClr val="14385C"/>
                  </a:solidFill>
                  <a:latin typeface="Franklin Gothic Medium" panose="020B0603020102020204" pitchFamily="34" charset="0"/>
                </a:rPr>
                <a:t>10-year transportation program</a:t>
              </a:r>
              <a:endParaRPr lang="en-US" sz="1000" b="1" kern="0" dirty="0">
                <a:solidFill>
                  <a:srgbClr val="808080"/>
                </a:solidFill>
                <a:latin typeface="Franklin Gothic Medium" panose="020B0603020102020204" pitchFamily="34" charset="0"/>
              </a:endParaRPr>
            </a:p>
          </p:txBody>
        </p:sp>
        <p:cxnSp>
          <p:nvCxnSpPr>
            <p:cNvPr id="29" name="Straight Connector 28"/>
            <p:cNvCxnSpPr/>
            <p:nvPr/>
          </p:nvCxnSpPr>
          <p:spPr>
            <a:xfrm rot="5400000">
              <a:off x="6616925" y="4294697"/>
              <a:ext cx="198420" cy="0"/>
            </a:xfrm>
            <a:prstGeom prst="line">
              <a:avLst/>
            </a:prstGeom>
            <a:noFill/>
            <a:ln w="19050" cap="flat" cmpd="sng" algn="ctr">
              <a:solidFill>
                <a:srgbClr val="925700"/>
              </a:solidFill>
              <a:prstDash val="solid"/>
            </a:ln>
            <a:effectLst/>
          </p:spPr>
        </p:cxnSp>
        <p:sp>
          <p:nvSpPr>
            <p:cNvPr id="30" name="AutoShape 25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253984" y="4313359"/>
              <a:ext cx="2898476" cy="144956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91358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kern="0" dirty="0">
                  <a:solidFill>
                    <a:srgbClr val="14385C"/>
                  </a:solidFill>
                  <a:latin typeface="Franklin Gothic Medium" panose="020B0603020102020204" pitchFamily="34" charset="0"/>
                </a:rPr>
                <a:t>Quarterly Review Process Activities</a:t>
              </a:r>
              <a:endParaRPr lang="en-US" sz="1000" b="1" kern="0" dirty="0">
                <a:solidFill>
                  <a:srgbClr val="808080"/>
                </a:solidFill>
                <a:latin typeface="Franklin Gothic Medium" panose="020B06030201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4" y="100996"/>
            <a:ext cx="872484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6385">
              <a:tabLst/>
            </a:pPr>
            <a:r>
              <a:rPr lang="en-US" dirty="0"/>
              <a:t>Where do new processes fit?</a:t>
            </a:r>
          </a:p>
        </p:txBody>
      </p:sp>
      <p:sp>
        <p:nvSpPr>
          <p:cNvPr id="25" name="Marvin Title Tracker Circle"/>
          <p:cNvSpPr/>
          <p:nvPr/>
        </p:nvSpPr>
        <p:spPr>
          <a:xfrm>
            <a:off x="149298" y="88297"/>
            <a:ext cx="330073" cy="33007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Franklin Gothic Demi" panose="020B0703020102020204" pitchFamily="34" charset="0"/>
              </a:rPr>
              <a:t>2</a:t>
            </a:r>
          </a:p>
        </p:txBody>
      </p:sp>
      <p:sp>
        <p:nvSpPr>
          <p:cNvPr id="282" name="Rectangle 29"/>
          <p:cNvSpPr txBox="1">
            <a:spLocks/>
          </p:cNvSpPr>
          <p:nvPr/>
        </p:nvSpPr>
        <p:spPr>
          <a:xfrm>
            <a:off x="966964" y="3318006"/>
            <a:ext cx="2100150" cy="870461"/>
          </a:xfrm>
          <a:prstGeom prst="rect">
            <a:avLst/>
          </a:prstGeom>
          <a:solidFill>
            <a:sysClr val="window" lastClr="FFFFFF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1940" tIns="71940" rIns="71940" bIns="7194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3947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203219" lvl="1" indent="-201553" defTabSz="93947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79730" lvl="2" indent="-274846" defTabSz="93947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44637" lvl="3" indent="-163241" defTabSz="93947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86757" lvl="4" indent="-136590" defTabSz="93947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86757" indent="-136590" defTabSz="93947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86757" indent="-136590" defTabSz="93947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86757" indent="-136590" defTabSz="93947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86757" indent="-136590" defTabSz="93947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201788" defTabSz="703973" fontAlgn="auto">
              <a:spcBef>
                <a:spcPct val="20000"/>
              </a:spcBef>
              <a:spcAft>
                <a:spcPts val="0"/>
              </a:spcAft>
              <a:buClr>
                <a:srgbClr val="132A53"/>
              </a:buClr>
              <a:defRPr/>
            </a:pPr>
            <a:r>
              <a:rPr lang="en-US" sz="1100" kern="0" dirty="0">
                <a:solidFill>
                  <a:srgbClr val="000000"/>
                </a:solidFill>
                <a:latin typeface="Franklin Gothic Medium" panose="020B0603020102020204" pitchFamily="34" charset="0"/>
              </a:rPr>
              <a:t>Projects are developed with the goal of improving one or more of the four transportation strategic objectives</a:t>
            </a:r>
          </a:p>
        </p:txBody>
      </p:sp>
      <p:cxnSp>
        <p:nvCxnSpPr>
          <p:cNvPr id="283" name="Straight Connector 282"/>
          <p:cNvCxnSpPr>
            <a:cxnSpLocks/>
          </p:cNvCxnSpPr>
          <p:nvPr/>
        </p:nvCxnSpPr>
        <p:spPr>
          <a:xfrm>
            <a:off x="1224454" y="4513267"/>
            <a:ext cx="6981014" cy="0"/>
          </a:xfrm>
          <a:prstGeom prst="line">
            <a:avLst/>
          </a:prstGeom>
          <a:noFill/>
          <a:ln w="19050" cap="flat" cmpd="sng" algn="ctr">
            <a:solidFill>
              <a:srgbClr val="925700"/>
            </a:solidFill>
            <a:prstDash val="solid"/>
          </a:ln>
          <a:effectLst/>
        </p:spPr>
      </p:cxnSp>
      <p:cxnSp>
        <p:nvCxnSpPr>
          <p:cNvPr id="285" name="Straight Connector 284"/>
          <p:cNvCxnSpPr/>
          <p:nvPr/>
        </p:nvCxnSpPr>
        <p:spPr>
          <a:xfrm rot="5400000">
            <a:off x="8100145" y="4520692"/>
            <a:ext cx="210646" cy="0"/>
          </a:xfrm>
          <a:prstGeom prst="line">
            <a:avLst/>
          </a:prstGeom>
          <a:noFill/>
          <a:ln w="19050" cap="flat" cmpd="sng" algn="ctr">
            <a:solidFill>
              <a:srgbClr val="9257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091604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MTBTACCENT" val="Accent2"/>
  <p:tag name="THINKCELLUNDODONOTDELETE" val="0"/>
  <p:tag name="ISNEWSLIDENUMBER" val="False"/>
  <p:tag name="PREVIOUSNAME" val="C:\Users\Hashim Alawami\Downloads\TxDOT\Latest training\Final\Overview of project development and delivery_vFINAL-noPrel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1MMOoSQ2KKsoWrUaNaS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_YmOHPRNmC66dxwR4wf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dhE1hKS42dbKQszEK6o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eDqvC4SjK1RwEZxxx62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ns7g8iRgKp91HVCq42o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NL3yjrTtODRU.SJA25u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4n9ZfYRWyw8cwcV9CZa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wV4g1bReCBtBAWMYFK8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1nQGvWRtqU9yc23QCZ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fBCgqtQRihlLHXS7wWn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4oJoAJTzOvpgPrI9PlT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_YmOHPRNmC66dxwR4wf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_YmOHPRNmC66dxwR4wf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_YmOHPRNmC66dxwR4wf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_YmOHPRNmC66dxwR4wf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_YmOHPRNmC66dxwR4wf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_YmOHPRNmC66dxwR4wf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BFBzh_rkqzLoeJsYIX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1MMOoSQ2KKsoWrUaNaS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1MMOoSQ2KKsoWrUaNaS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Vzg.3eQM.RYQjY3GuAg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_YmOHPRNmC66dxwR4wf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o1RdUMRfi90emaFPqJh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AqpcJ3S3.w5d_frM3NV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XaOf2gRMmfonmSfbKn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yNTIJjSMKNj3dZaxSCG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aCDPUDQJaGwI8mKtRpb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eR8_hWTlSYehmVdOOqv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qZrsF.RWO8n1YRXOGlS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.Z7f.hT9qAJ1QG4VtdY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lVA_k2G0qvz4a.1eow_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1_ct3hEkWuxDM2ph5Mb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pRWNpjIkK_Eail16ri5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577713549406134"/>
  <p:tag name="TOP" val="94.67945"/>
  <p:tag name="LEFT" val="348.1089"/>
  <p:tag name="HEIGHT" val="29.08126"/>
  <p:tag name="WIDTH" val="337.4872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1MMOoSQ2KKsoWrUaNaS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n1OorgRg64Im5JMMufd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Flyg0uQiqOev6Ee4Btl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OfQ53RFuJOANOilJjc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5_OcxXS7edDp0.8XgFj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.Mj_T4S_iti4kARIdpf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99ysWjRjKC0A9Y0iFs0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WUO3aAQ3mU7LEgAPcQF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Cc5.h9Ra6eLZ49itw9r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ZOoNopQ1S7X5Q.jOo2C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lCXgbGSCuplUsTV85m3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lVA_k2G0qvz4a.1eow_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1_ct3hEkWuxDM2ph5Mb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pRWNpjIkK_Eail16ri5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o2Pg8o0Ua8x8sQwssd3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o2Pg8o0Ua8x8sQwssd3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o2Pg8o0Ua8x8sQwssd3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o2Pg8o0Ua8x8sQwssd3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__tB9L8kWYPaXOJGhqX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5QTvpgTUicTOvQrL_dn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zeB3cskGeoYXbuZ58_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5QTvpgTUicTOvQrL_dn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EWsYAORU61r3IHC3AQt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1MMOoSQ2KKsoWrUaNaS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um9eAzRYCyQ9zUGjHbH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C7a4_1RLqh3Dy_5.zFN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H5IBAGTyCTr7NDRQqW_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kxexe1QpWgT2wdFy6yl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lTuBHkSLqmYPCo1zTEb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wMiGYRTya48RT21kncz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ATMJF7QeC891DTYLcJU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dY7iuKTJWRatrRPV39v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G6qZPJQxK7UbVi.DAP_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p5TWS8QHiM3Zsbuy4Wo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lVA_k2G0qvz4a.1eow_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1_ct3hEkWuxDM2ph5Mb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pRWNpjIkK_Eail16ri5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o2Pg8o0Ua8x8sQwssd3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o2Pg8o0Ua8x8sQwssd3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o2Pg8o0Ua8x8sQwssd3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o2Pg8o0Ua8x8sQwssd3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pRhOSxEkerI1y05OeBc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__tB9L8kWYPaXOJGhqX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iOQwXb9Eahy7VEzN7hP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lrT0i.R0KkVCRYOfX5x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IKlm3uISZEWyA77OI5CsC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5QTvpgTUicTOvQrL_dn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zeB3cskGeoYXbuZ58_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5QTvpgTUicTOvQrL_dn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EWsYAORU61r3IHC3AQt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1MMOoSQ2KKsoWrUaNaS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rfiV5tTHahFkZQv8xNs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_YmOHPRNmC66dxwR4wf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nmjjt0SZGWPTRJYkvRY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BiCdAHRGaE.aPpRozuK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hQPXEXT6GCH3LorO4v0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HZvmVtTaeqPmpOfvU3i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Hug.DyQEunHgVNQm5ni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W99rbDF0eiRVnrbDYNy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1pqB6Ay0GWFDCyagl7H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MKoiQbEaZD.ks9bT05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y1j21bE.lLfrlGpxYs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OucwKXTEWuWDksIflu1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OucwKXTEWuWDksIflu1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W99rbDF0eiRVnrbDYNy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1pqB6Ay0GWFDCyagl7H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MKoiQbEaZD.ks9bT05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y1j21bE.lLfrlGpxYs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OucwKXTEWuWDksIflu1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OucwKXTEWuWDksIflu1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iOQwXb9Eahy7VEzN7hP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lrT0i.R0KkVCRYOfX5x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1pqB6Ay0GWFDCyagl7H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MKoiQbEaZD.ks9bT05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y1j21bE.lLfrlGpxYs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OucwKXTEWuWDksIflu1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OucwKXTEWuWDksIflu1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W99rbDF0eiRVnrbDYNy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W99rbDF0eiRVnrbDYNy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1pqB6Ay0GWFDCyagl7H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MKoiQbEaZD.ks9bT05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y1j21bE.lLfrlGpxYs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OucwKXTEWuWDksIflu1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OucwKXTEWuWDksIflu1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W99rbDF0eiRVnrbDYNy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1pqB6Ay0GWFDCyagl7H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MKoiQbEaZD.ks9bT05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y1j21bE.lLfrlGpxYs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OucwKXTEWuWDksIflu1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OucwKXTEWuWDksIflu1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cWTszhRkOI42LcIzBEx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5QTvpgTUicTOvQrL_d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10.xml><?xml version="1.0" encoding="utf-8"?>
<a:theme xmlns:a="http://schemas.openxmlformats.org/drawingml/2006/main" name="8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11.xml><?xml version="1.0" encoding="utf-8"?>
<a:theme xmlns:a="http://schemas.openxmlformats.org/drawingml/2006/main" name="9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12.xml><?xml version="1.0" encoding="utf-8"?>
<a:theme xmlns:a="http://schemas.openxmlformats.org/drawingml/2006/main" name="10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13.xml><?xml version="1.0" encoding="utf-8"?>
<a:theme xmlns:a="http://schemas.openxmlformats.org/drawingml/2006/main" name="11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14.xml><?xml version="1.0" encoding="utf-8"?>
<a:theme xmlns:a="http://schemas.openxmlformats.org/drawingml/2006/main" name="12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15.xml><?xml version="1.0" encoding="utf-8"?>
<a:theme xmlns:a="http://schemas.openxmlformats.org/drawingml/2006/main" name="13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CF_TXH057 v1.potx" id="{C7B25912-820A-4CC7-9F26-5296FC6452BC}" vid="{10674697-C81D-49B7-BE8C-6D4AA08EE58D}"/>
    </a:ext>
  </a:extLst>
</a:theme>
</file>

<file path=ppt/theme/theme1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DOT_CF_TXH045 v1">
  <a:themeElements>
    <a:clrScheme name="Current">
      <a:dk1>
        <a:srgbClr val="000000"/>
      </a:dk1>
      <a:lt1>
        <a:srgbClr val="FFFFFF"/>
      </a:lt1>
      <a:dk2>
        <a:srgbClr val="14385C"/>
      </a:dk2>
      <a:lt2>
        <a:srgbClr val="FFFFFF"/>
      </a:lt2>
      <a:accent1>
        <a:srgbClr val="E2E7EB"/>
      </a:accent1>
      <a:accent2>
        <a:srgbClr val="899BAD"/>
      </a:accent2>
      <a:accent3>
        <a:srgbClr val="0A1B2B"/>
      </a:accent3>
      <a:accent4>
        <a:srgbClr val="14385C"/>
      </a:accent4>
      <a:accent5>
        <a:srgbClr val="CC7A00"/>
      </a:accent5>
      <a:accent6>
        <a:srgbClr val="808080"/>
      </a:accent6>
      <a:hlink>
        <a:srgbClr val="0A1B2B"/>
      </a:hlink>
      <a:folHlink>
        <a:srgbClr val="14385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4385C"/>
        </a:dk2>
        <a:lt2>
          <a:srgbClr val="FFFFFF"/>
        </a:lt2>
        <a:accent1>
          <a:srgbClr val="E2E7EB"/>
        </a:accent1>
        <a:accent2>
          <a:srgbClr val="899BAD"/>
        </a:accent2>
        <a:accent3>
          <a:srgbClr val="0A1B2B"/>
        </a:accent3>
        <a:accent4>
          <a:srgbClr val="14385C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14385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4.xml><?xml version="1.0" encoding="utf-8"?>
<a:theme xmlns:a="http://schemas.openxmlformats.org/drawingml/2006/main" name="2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5.xml><?xml version="1.0" encoding="utf-8"?>
<a:theme xmlns:a="http://schemas.openxmlformats.org/drawingml/2006/main" name="3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6.xml><?xml version="1.0" encoding="utf-8"?>
<a:theme xmlns:a="http://schemas.openxmlformats.org/drawingml/2006/main" name="4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7.xml><?xml version="1.0" encoding="utf-8"?>
<a:theme xmlns:a="http://schemas.openxmlformats.org/drawingml/2006/main" name="5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8.xml><?xml version="1.0" encoding="utf-8"?>
<a:theme xmlns:a="http://schemas.openxmlformats.org/drawingml/2006/main" name="6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ppt/theme/theme9.xml><?xml version="1.0" encoding="utf-8"?>
<a:theme xmlns:a="http://schemas.openxmlformats.org/drawingml/2006/main" name="7_CF_TXH057">
  <a:themeElements>
    <a:clrScheme name="CURRENT">
      <a:dk1>
        <a:srgbClr val="000000"/>
      </a:dk1>
      <a:lt1>
        <a:srgbClr val="FFFFFF"/>
      </a:lt1>
      <a:dk2>
        <a:srgbClr val="0A1B2B"/>
      </a:dk2>
      <a:lt2>
        <a:srgbClr val="FFFFFF"/>
      </a:lt2>
      <a:accent1>
        <a:srgbClr val="899BAD"/>
      </a:accent1>
      <a:accent2>
        <a:srgbClr val="14385C"/>
      </a:accent2>
      <a:accent3>
        <a:srgbClr val="0A1B2B"/>
      </a:accent3>
      <a:accent4>
        <a:srgbClr val="925700"/>
      </a:accent4>
      <a:accent5>
        <a:srgbClr val="CC7A00"/>
      </a:accent5>
      <a:accent6>
        <a:srgbClr val="808080"/>
      </a:accent6>
      <a:hlink>
        <a:srgbClr val="0A1B2B"/>
      </a:hlink>
      <a:folHlink>
        <a:srgbClr val="925700"/>
      </a:folHlink>
    </a:clrScheme>
    <a:fontScheme name="Curren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A1B2B"/>
        </a:dk2>
        <a:lt2>
          <a:srgbClr val="FFFFFF"/>
        </a:lt2>
        <a:accent1>
          <a:srgbClr val="899BAD"/>
        </a:accent1>
        <a:accent2>
          <a:srgbClr val="14385C"/>
        </a:accent2>
        <a:accent3>
          <a:srgbClr val="0A1B2B"/>
        </a:accent3>
        <a:accent4>
          <a:srgbClr val="925700"/>
        </a:accent4>
        <a:accent5>
          <a:srgbClr val="CC7A00"/>
        </a:accent5>
        <a:accent6>
          <a:srgbClr val="808080"/>
        </a:accent6>
        <a:hlink>
          <a:srgbClr val="0A1B2B"/>
        </a:hlink>
        <a:folHlink>
          <a:srgbClr val="925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F_TXH057 v1.potx" id="{C7B25912-820A-4CC7-9F26-5296FC6452BC}" vid="{10674697-C81D-49B7-BE8C-6D4AA08EE58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E61B671B636448B105FF4F6D7DFAFB" ma:contentTypeVersion="1" ma:contentTypeDescription="Create a new document." ma:contentTypeScope="" ma:versionID="c6ce54c5da8504e2f3a32a590b1542e2">
  <xsd:schema xmlns:xsd="http://www.w3.org/2001/XMLSchema" xmlns:xs="http://www.w3.org/2001/XMLSchema" xmlns:p="http://schemas.microsoft.com/office/2006/metadata/properties" xmlns:ns2="4330f931-10a5-416c-823c-3006a63f53e6" targetNamespace="http://schemas.microsoft.com/office/2006/metadata/properties" ma:root="true" ma:fieldsID="acb8c3c6fca0679b6025f24cd4a5b2d6" ns2:_="">
    <xsd:import namespace="4330f931-10a5-416c-823c-3006a63f53e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30f931-10a5-416c-823c-3006a63f53e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4330f931-10a5-416c-823c-3006a63f53e6">YSVYXERJEEH6-1243926510-6262</_dlc_DocId>
    <_dlc_DocIdUrl xmlns="4330f931-10a5-416c-823c-3006a63f53e6">
      <Url>http://tr.hgac.net/pdp/_layouts/15/DocIdRedir.aspx?ID=YSVYXERJEEH6-1243926510-6262</Url>
      <Description>YSVYXERJEEH6-1243926510-6262</Description>
    </_dlc_DocIdUrl>
  </documentManagement>
</p:properties>
</file>

<file path=customXml/itemProps1.xml><?xml version="1.0" encoding="utf-8"?>
<ds:datastoreItem xmlns:ds="http://schemas.openxmlformats.org/officeDocument/2006/customXml" ds:itemID="{9967A2A4-CCCA-48FB-BFAA-D22CFE312721}"/>
</file>

<file path=customXml/itemProps2.xml><?xml version="1.0" encoding="utf-8"?>
<ds:datastoreItem xmlns:ds="http://schemas.openxmlformats.org/officeDocument/2006/customXml" ds:itemID="{349C5C5E-CD80-44FC-B75D-8C5FDB685E12}"/>
</file>

<file path=customXml/itemProps3.xml><?xml version="1.0" encoding="utf-8"?>
<ds:datastoreItem xmlns:ds="http://schemas.openxmlformats.org/officeDocument/2006/customXml" ds:itemID="{E0AF0FA1-AC1F-4E2D-A3E4-5B50085A8365}"/>
</file>

<file path=customXml/itemProps4.xml><?xml version="1.0" encoding="utf-8"?>
<ds:datastoreItem xmlns:ds="http://schemas.openxmlformats.org/officeDocument/2006/customXml" ds:itemID="{8A047E3B-1217-4283-9838-BD5522BD12DB}"/>
</file>

<file path=docProps/app.xml><?xml version="1.0" encoding="utf-8"?>
<Properties xmlns="http://schemas.openxmlformats.org/officeDocument/2006/extended-properties" xmlns:vt="http://schemas.openxmlformats.org/officeDocument/2006/docPropsVTypes">
  <Template>CF_TXH057 v1</Template>
  <TotalTime>0</TotalTime>
  <Words>2596</Words>
  <Application>Microsoft Office PowerPoint</Application>
  <PresentationFormat>On-screen Show (16:9)</PresentationFormat>
  <Paragraphs>611</Paragraphs>
  <Slides>38</Slides>
  <Notes>38</Notes>
  <HiddenSlides>0</HiddenSlides>
  <MMClips>0</MMClips>
  <ScaleCrop>false</ScaleCrop>
  <HeadingPairs>
    <vt:vector size="6" baseType="variant"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54" baseType="lpstr">
      <vt:lpstr>CF_TXH057</vt:lpstr>
      <vt:lpstr>TDOT_CF_TXH045 v1</vt:lpstr>
      <vt:lpstr>1_CF_TXH057</vt:lpstr>
      <vt:lpstr>2_CF_TXH057</vt:lpstr>
      <vt:lpstr>3_CF_TXH057</vt:lpstr>
      <vt:lpstr>4_CF_TXH057</vt:lpstr>
      <vt:lpstr>5_CF_TXH057</vt:lpstr>
      <vt:lpstr>6_CF_TXH057</vt:lpstr>
      <vt:lpstr>7_CF_TXH057</vt:lpstr>
      <vt:lpstr>8_CF_TXH057</vt:lpstr>
      <vt:lpstr>9_CF_TXH057</vt:lpstr>
      <vt:lpstr>10_CF_TXH057</vt:lpstr>
      <vt:lpstr>11_CF_TXH057</vt:lpstr>
      <vt:lpstr>12_CF_TXH057</vt:lpstr>
      <vt:lpstr>13_CF_TXH057</vt:lpstr>
      <vt:lpstr>think-cell Slide</vt:lpstr>
      <vt:lpstr>Project Development &amp; Delivery at TxDOT</vt:lpstr>
      <vt:lpstr>Key learning objectives </vt:lpstr>
      <vt:lpstr>Contents</vt:lpstr>
      <vt:lpstr>What is project development and delivery?</vt:lpstr>
      <vt:lpstr>What is project development and delivery?</vt:lpstr>
      <vt:lpstr>PowerPoint Presentation</vt:lpstr>
      <vt:lpstr>Where do new processes fit?</vt:lpstr>
      <vt:lpstr>Where do new processes fit?</vt:lpstr>
      <vt:lpstr>Where do new processes fit?</vt:lpstr>
      <vt:lpstr>Contents</vt:lpstr>
      <vt:lpstr>Role of Performance Based Planning (PBP) </vt:lpstr>
      <vt:lpstr>Role of Performance Based Planning </vt:lpstr>
      <vt:lpstr>Performance assessment in project selection</vt:lpstr>
      <vt:lpstr>Examples of Potential Key Performance Measures</vt:lpstr>
      <vt:lpstr>Stakeholders in Performance Based Planning</vt:lpstr>
      <vt:lpstr>Contents</vt:lpstr>
      <vt:lpstr>Importance of QRP for successful portfolio management</vt:lpstr>
      <vt:lpstr>What is the Quarterly Review Process (QRP)?</vt:lpstr>
      <vt:lpstr>Importance of QRP for successful portfolio management</vt:lpstr>
      <vt:lpstr>Stakeholders in Quarterly Review Process (QRP)</vt:lpstr>
      <vt:lpstr>Example risks in managing the Department’s portfolio through QRP</vt:lpstr>
      <vt:lpstr>Contents</vt:lpstr>
      <vt:lpstr>Successful project delivery through PD&amp;G </vt:lpstr>
      <vt:lpstr>Successful project delivery through PD&amp;G</vt:lpstr>
      <vt:lpstr>PD&amp;G stakeholders</vt:lpstr>
      <vt:lpstr>Example risks to successful delivery of projects through PD&amp;G</vt:lpstr>
      <vt:lpstr>Contents</vt:lpstr>
      <vt:lpstr>First phase – Project initiation/Planning</vt:lpstr>
      <vt:lpstr>PowerPoint Presentation</vt:lpstr>
      <vt:lpstr>PowerPoint Presentation</vt:lpstr>
      <vt:lpstr>PowerPoint Presentation</vt:lpstr>
      <vt:lpstr>PowerPoint Presentation</vt:lpstr>
      <vt:lpstr>Summary and Review</vt:lpstr>
      <vt:lpstr>Key learning objectives </vt:lpstr>
      <vt:lpstr>Key learning objectives </vt:lpstr>
      <vt:lpstr>Key learning objectives </vt:lpstr>
      <vt:lpstr>Key learning objectives </vt:lpstr>
      <vt:lpstr>Questions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5-09-09T11:04:28Z</cp:lastPrinted>
  <dcterms:created xsi:type="dcterms:W3CDTF">2017-02-20T20:54:05Z</dcterms:created>
  <dcterms:modified xsi:type="dcterms:W3CDTF">2019-10-01T14:57:24Z</dcterms:modified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E61B671B636448B105FF4F6D7DFAFB</vt:lpwstr>
  </property>
  <property fmtid="{D5CDD505-2E9C-101B-9397-08002B2CF9AE}" pid="3" name="_dlc_DocIdItemGuid">
    <vt:lpwstr>a3c8a006-6844-4f31-858a-c737fe4d309b</vt:lpwstr>
  </property>
</Properties>
</file>